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notesSlides/notesSlide1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10"/>
  </p:notesMasterIdLst>
  <p:handoutMasterIdLst>
    <p:handoutMasterId r:id="rId11"/>
  </p:handoutMasterIdLst>
  <p:sldIdLst>
    <p:sldId id="256" r:id="rId2"/>
    <p:sldId id="257" r:id="rId3"/>
    <p:sldId id="258" r:id="rId4"/>
    <p:sldId id="259" r:id="rId5"/>
    <p:sldId id="260" r:id="rId6"/>
    <p:sldId id="261" r:id="rId7"/>
    <p:sldId id="262" r:id="rId8"/>
    <p:sldId id="263" r:id="rId9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orient="horz" pos="999">
          <p15:clr>
            <a:srgbClr val="A4A3A4"/>
          </p15:clr>
        </p15:guide>
        <p15:guide id="3" orient="horz" pos="3667">
          <p15:clr>
            <a:srgbClr val="A4A3A4"/>
          </p15:clr>
        </p15:guide>
        <p15:guide id="4" pos="2880">
          <p15:clr>
            <a:srgbClr val="A4A3A4"/>
          </p15:clr>
        </p15:guide>
        <p15:guide id="5" pos="192" userDrawn="1">
          <p15:clr>
            <a:srgbClr val="A4A3A4"/>
          </p15:clr>
        </p15:guide>
        <p15:guide id="6" pos="5568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gus Purwanto" initials="AP" lastIdx="1" clrIdx="0">
    <p:extLst>
      <p:ext uri="{19B8F6BF-5375-455C-9EA6-DF929625EA0E}">
        <p15:presenceInfo xmlns:p15="http://schemas.microsoft.com/office/powerpoint/2012/main" userId="8cd0c91e6d52a58a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E99E09"/>
    <a:srgbClr val="0D65AC"/>
    <a:srgbClr val="2A9B18"/>
    <a:srgbClr val="F0B71F"/>
    <a:srgbClr val="CE202A"/>
    <a:srgbClr val="7F7F7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60"/>
  </p:normalViewPr>
  <p:slideViewPr>
    <p:cSldViewPr snapToGrid="0">
      <p:cViewPr varScale="1">
        <p:scale>
          <a:sx n="79" d="100"/>
          <a:sy n="79" d="100"/>
        </p:scale>
        <p:origin x="102" y="882"/>
      </p:cViewPr>
      <p:guideLst>
        <p:guide orient="horz" pos="2160"/>
        <p:guide orient="horz" pos="999"/>
        <p:guide orient="horz" pos="3667"/>
        <p:guide pos="2880"/>
        <p:guide pos="192"/>
        <p:guide pos="5568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 showGuides="1">
      <p:cViewPr varScale="1">
        <p:scale>
          <a:sx n="89" d="100"/>
          <a:sy n="89" d="100"/>
        </p:scale>
        <p:origin x="912" y="84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commentAuthors" Target="commentAuthors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AA66AC8-81B4-413B-B674-7A9C348F4482}" type="datetime1">
              <a:rPr lang="en-US" smtClean="0"/>
              <a:t>12/10/201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09AAAE3-99B7-49B7-9185-439CADD8679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75559569"/>
      </p:ext>
    </p:extLst>
  </p:cSld>
  <p:clrMap bg1="lt1" tx1="dk1" bg2="lt2" tx2="dk2" accent1="accent1" accent2="accent2" accent3="accent3" accent4="accent4" accent5="accent5" accent6="accent6" hlink="hlink" folHlink="folHlink"/>
  <p:hf ft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DD318AE-1831-4179-A42F-B34C4BA1E665}" type="datetime1">
              <a:rPr lang="en-US" smtClean="0"/>
              <a:t>12/10/201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746611E-B935-47DE-996F-C272FBE23AA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59740784"/>
      </p:ext>
    </p:extLst>
  </p:cSld>
  <p:clrMap bg1="lt1" tx1="dk1" bg2="lt2" tx2="dk2" accent1="accent1" accent2="accent2" accent3="accent3" accent4="accent4" accent5="accent5" accent6="accent6" hlink="hlink" folHlink="folHlink"/>
  <p:hf ftr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fld id="{EE7B40A2-5602-4D2E-8EA7-B8560F5B9618}" type="datetime1">
              <a:rPr lang="en-US" smtClean="0"/>
              <a:t>12/10/2013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46611E-B935-47DE-996F-C272FBE23AA1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4589044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28650" y="866381"/>
            <a:ext cx="7891272" cy="258532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ctr">
              <a:buNone/>
              <a:defRPr sz="1200"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Your footnote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cxnSp>
        <p:nvCxnSpPr>
          <p:cNvPr id="10" name="Straight Connector 9"/>
          <p:cNvCxnSpPr/>
          <p:nvPr userDrawn="1">
            <p:custDataLst>
              <p:tags r:id="rId1"/>
            </p:custDataLst>
          </p:nvPr>
        </p:nvCxnSpPr>
        <p:spPr>
          <a:xfrm>
            <a:off x="3348567" y="1136829"/>
            <a:ext cx="2328333" cy="0"/>
          </a:xfrm>
          <a:prstGeom prst="line">
            <a:avLst/>
          </a:prstGeom>
          <a:ln w="12700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Title 10"/>
          <p:cNvSpPr>
            <a:spLocks noGrp="1"/>
          </p:cNvSpPr>
          <p:nvPr>
            <p:ph type="title" hasCustomPrompt="1"/>
          </p:nvPr>
        </p:nvSpPr>
        <p:spPr>
          <a:xfrm>
            <a:off x="628650" y="404716"/>
            <a:ext cx="7886700" cy="461665"/>
          </a:xfrm>
          <a:prstGeom prst="rect">
            <a:avLst/>
          </a:prstGeom>
        </p:spPr>
        <p:txBody>
          <a:bodyPr anchor="ctr">
            <a:spAutoFit/>
          </a:bodyPr>
          <a:lstStyle>
            <a:lvl1pPr algn="ctr">
              <a:lnSpc>
                <a:spcPct val="100000"/>
              </a:lnSpc>
              <a:defRPr sz="2400">
                <a:latin typeface="+mn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92125" y="6356351"/>
            <a:ext cx="2057400" cy="365125"/>
          </a:xfrm>
        </p:spPr>
        <p:txBody>
          <a:bodyPr/>
          <a:lstStyle/>
          <a:p>
            <a:fld id="{AACE8A1A-EF06-42BD-8183-7D22FECA910D}" type="slidenum">
              <a:rPr lang="en-US" smtClean="0"/>
              <a:pPr/>
              <a:t>‹#›</a:t>
            </a:fld>
            <a:r>
              <a:rPr lang="en-US" dirty="0" smtClean="0"/>
              <a:t>|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9201850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28650" y="866381"/>
            <a:ext cx="7891272" cy="258532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ctr">
              <a:buNone/>
              <a:defRPr sz="120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Your footnote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CE8A1A-EF06-42BD-8183-7D22FECA910D}" type="slidenum">
              <a:rPr lang="en-US" smtClean="0"/>
              <a:pPr/>
              <a:t>‹#›</a:t>
            </a:fld>
            <a:r>
              <a:rPr lang="en-US" dirty="0" smtClean="0"/>
              <a:t>|</a:t>
            </a:r>
            <a:endParaRPr lang="en-US" dirty="0"/>
          </a:p>
        </p:txBody>
      </p:sp>
      <p:cxnSp>
        <p:nvCxnSpPr>
          <p:cNvPr id="10" name="Straight Connector 9"/>
          <p:cNvCxnSpPr/>
          <p:nvPr userDrawn="1">
            <p:custDataLst>
              <p:tags r:id="rId1"/>
            </p:custDataLst>
          </p:nvPr>
        </p:nvCxnSpPr>
        <p:spPr>
          <a:xfrm>
            <a:off x="3348567" y="1136829"/>
            <a:ext cx="2328333" cy="0"/>
          </a:xfrm>
          <a:prstGeom prst="line">
            <a:avLst/>
          </a:prstGeom>
          <a:ln w="1270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Title 10"/>
          <p:cNvSpPr>
            <a:spLocks noGrp="1"/>
          </p:cNvSpPr>
          <p:nvPr>
            <p:ph type="title" hasCustomPrompt="1"/>
          </p:nvPr>
        </p:nvSpPr>
        <p:spPr>
          <a:xfrm>
            <a:off x="628650" y="404716"/>
            <a:ext cx="7886700" cy="461665"/>
          </a:xfrm>
          <a:prstGeom prst="rect">
            <a:avLst/>
          </a:prstGeom>
        </p:spPr>
        <p:txBody>
          <a:bodyPr anchor="ctr">
            <a:spAutoFit/>
          </a:bodyPr>
          <a:lstStyle>
            <a:lvl1pPr algn="ctr">
              <a:lnSpc>
                <a:spcPct val="100000"/>
              </a:lnSpc>
              <a:defRPr sz="2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33970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5" Type="http://schemas.openxmlformats.org/officeDocument/2006/relationships/tags" Target="../tags/tag2.xml"/><Relationship Id="rId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" name="Group 18"/>
          <p:cNvGrpSpPr/>
          <p:nvPr userDrawn="1"/>
        </p:nvGrpSpPr>
        <p:grpSpPr>
          <a:xfrm>
            <a:off x="-114856" y="0"/>
            <a:ext cx="9271556" cy="6858000"/>
            <a:chOff x="-114856" y="0"/>
            <a:chExt cx="9271556" cy="6858000"/>
          </a:xfrm>
        </p:grpSpPr>
        <p:sp>
          <p:nvSpPr>
            <p:cNvPr id="14" name="Rectangle 13"/>
            <p:cNvSpPr/>
            <p:nvPr userDrawn="1">
              <p:custDataLst>
                <p:tags r:id="rId4"/>
              </p:custDataLst>
            </p:nvPr>
          </p:nvSpPr>
          <p:spPr>
            <a:xfrm>
              <a:off x="0" y="0"/>
              <a:ext cx="9156700" cy="6858000"/>
            </a:xfrm>
            <a:prstGeom prst="rect">
              <a:avLst/>
            </a:prstGeom>
            <a:gradFill flip="none" rotWithShape="1">
              <a:gsLst>
                <a:gs pos="0">
                  <a:schemeClr val="bg1">
                    <a:lumMod val="85000"/>
                  </a:schemeClr>
                </a:gs>
                <a:gs pos="100000">
                  <a:schemeClr val="bg1">
                    <a:lumMod val="95000"/>
                  </a:schemeClr>
                </a:gs>
              </a:gsLst>
              <a:lin ang="17820000" scaled="0"/>
              <a:tileRect/>
            </a:gra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/>
            </a:p>
          </p:txBody>
        </p:sp>
        <p:grpSp>
          <p:nvGrpSpPr>
            <p:cNvPr id="15" name="Group 14"/>
            <p:cNvGrpSpPr/>
            <p:nvPr userDrawn="1">
              <p:custDataLst>
                <p:tags r:id="rId5"/>
              </p:custDataLst>
            </p:nvPr>
          </p:nvGrpSpPr>
          <p:grpSpPr>
            <a:xfrm>
              <a:off x="0" y="0"/>
              <a:ext cx="9156700" cy="6858000"/>
              <a:chOff x="0" y="0"/>
              <a:chExt cx="9156700" cy="6858000"/>
            </a:xfrm>
          </p:grpSpPr>
          <p:sp>
            <p:nvSpPr>
              <p:cNvPr id="16" name="Rectangle 15"/>
              <p:cNvSpPr/>
              <p:nvPr userDrawn="1"/>
            </p:nvSpPr>
            <p:spPr>
              <a:xfrm>
                <a:off x="0" y="0"/>
                <a:ext cx="9144000" cy="6858000"/>
              </a:xfrm>
              <a:prstGeom prst="rect">
                <a:avLst/>
              </a:prstGeom>
              <a:gradFill>
                <a:gsLst>
                  <a:gs pos="100000">
                    <a:schemeClr val="bg1"/>
                  </a:gs>
                  <a:gs pos="1000">
                    <a:schemeClr val="bg1">
                      <a:lumMod val="95000"/>
                    </a:schemeClr>
                  </a:gs>
                </a:gsLst>
              </a:gra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US"/>
              </a:p>
            </p:txBody>
          </p:sp>
          <p:sp>
            <p:nvSpPr>
              <p:cNvPr id="17" name="Rectangle 16"/>
              <p:cNvSpPr/>
              <p:nvPr userDrawn="1"/>
            </p:nvSpPr>
            <p:spPr>
              <a:xfrm>
                <a:off x="12700" y="3848100"/>
                <a:ext cx="9144000" cy="3008313"/>
              </a:xfrm>
              <a:prstGeom prst="rect">
                <a:avLst/>
              </a:prstGeom>
              <a:solidFill>
                <a:schemeClr val="bg1">
                  <a:lumMod val="95000"/>
                  <a:alpha val="49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US"/>
              </a:p>
            </p:txBody>
          </p:sp>
        </p:grpSp>
        <p:cxnSp>
          <p:nvCxnSpPr>
            <p:cNvPr id="18" name="Straight Connector 17"/>
            <p:cNvCxnSpPr/>
            <p:nvPr userDrawn="1">
              <p:custDataLst>
                <p:tags r:id="rId6"/>
              </p:custDataLst>
            </p:nvPr>
          </p:nvCxnSpPr>
          <p:spPr>
            <a:xfrm>
              <a:off x="-114856" y="3554413"/>
              <a:ext cx="9254067" cy="0"/>
            </a:xfrm>
            <a:prstGeom prst="line">
              <a:avLst/>
            </a:prstGeom>
            <a:ln>
              <a:gradFill flip="none" rotWithShape="1">
                <a:gsLst>
                  <a:gs pos="0">
                    <a:schemeClr val="bg1">
                      <a:lumMod val="95000"/>
                      <a:alpha val="0"/>
                    </a:schemeClr>
                  </a:gs>
                  <a:gs pos="53000">
                    <a:schemeClr val="bg1">
                      <a:lumMod val="95000"/>
                    </a:schemeClr>
                  </a:gs>
                  <a:gs pos="100000">
                    <a:schemeClr val="bg1">
                      <a:lumMod val="95000"/>
                      <a:alpha val="0"/>
                    </a:schemeClr>
                  </a:gs>
                </a:gsLst>
                <a:lin ang="0" scaled="1"/>
                <a:tileRect/>
              </a:gradFill>
            </a:ln>
            <a:effectLst>
              <a:outerShdw blurRad="40005" dist="19939" dir="5400000" sx="102000" sy="102000" algn="tl" rotWithShape="0">
                <a:srgbClr val="000000">
                  <a:alpha val="16000"/>
                </a:srgbClr>
              </a:outerShdw>
              <a:softEdge rad="12700"/>
            </a:effec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600825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mtClean="0"/>
              <a:t>Your footnot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92125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ACE8A1A-EF06-42BD-8183-7D22FECA910D}" type="slidenum">
              <a:rPr lang="en-US" smtClean="0"/>
              <a:pPr/>
              <a:t>‹#›</a:t>
            </a:fld>
            <a:r>
              <a:rPr lang="en-US" dirty="0" smtClean="0"/>
              <a:t>|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049984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2.png"/><Relationship Id="rId2" Type="http://schemas.openxmlformats.org/officeDocument/2006/relationships/tags" Target="../tags/tag6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7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8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9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7" name="Rectangle 196"/>
          <p:cNvSpPr/>
          <p:nvPr/>
        </p:nvSpPr>
        <p:spPr>
          <a:xfrm>
            <a:off x="5290045" y="1680977"/>
            <a:ext cx="2409059" cy="4260999"/>
          </a:xfrm>
          <a:prstGeom prst="rect">
            <a:avLst/>
          </a:prstGeom>
          <a:gradFill>
            <a:gsLst>
              <a:gs pos="0">
                <a:srgbClr val="2A9B18">
                  <a:alpha val="51000"/>
                </a:srgbClr>
              </a:gs>
              <a:gs pos="58000">
                <a:schemeClr val="accent1">
                  <a:tint val="50000"/>
                  <a:shade val="100000"/>
                  <a:satMod val="350000"/>
                  <a:alpha val="0"/>
                </a:schemeClr>
              </a:gs>
            </a:gsLst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Rectangle 2"/>
          <p:cNvSpPr/>
          <p:nvPr/>
        </p:nvSpPr>
        <p:spPr>
          <a:xfrm>
            <a:off x="1354498" y="1680977"/>
            <a:ext cx="3725576" cy="4260999"/>
          </a:xfrm>
          <a:prstGeom prst="rect">
            <a:avLst/>
          </a:prstGeom>
          <a:gradFill>
            <a:gsLst>
              <a:gs pos="0">
                <a:schemeClr val="accent1">
                  <a:tint val="100000"/>
                  <a:shade val="100000"/>
                  <a:satMod val="130000"/>
                  <a:alpha val="39000"/>
                </a:schemeClr>
              </a:gs>
              <a:gs pos="58000">
                <a:schemeClr val="accent1">
                  <a:tint val="50000"/>
                  <a:shade val="100000"/>
                  <a:satMod val="350000"/>
                  <a:alpha val="0"/>
                </a:schemeClr>
              </a:gs>
            </a:gsLst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Subtitle 3"/>
          <p:cNvSpPr>
            <a:spLocks noGrp="1"/>
          </p:cNvSpPr>
          <p:nvPr>
            <p:ph type="subTitle" idx="1"/>
          </p:nvPr>
        </p:nvSpPr>
        <p:spPr>
          <a:xfrm>
            <a:off x="628650" y="866381"/>
            <a:ext cx="7891272" cy="243785"/>
          </a:xfrm>
        </p:spPr>
        <p:txBody>
          <a:bodyPr/>
          <a:lstStyle/>
          <a:p>
            <a:pPr>
              <a:lnSpc>
                <a:spcPct val="80000"/>
              </a:lnSpc>
            </a:pPr>
            <a:r>
              <a:rPr lang="en-US"/>
              <a:t>Replace this text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437962"/>
            <a:ext cx="7886700" cy="395173"/>
          </a:xfrm>
        </p:spPr>
        <p:txBody>
          <a:bodyPr/>
          <a:lstStyle/>
          <a:p>
            <a:pPr>
              <a:lnSpc>
                <a:spcPct val="80000"/>
              </a:lnSpc>
            </a:pPr>
            <a:r>
              <a:rPr lang="en-US"/>
              <a:t>BUSINESS EXCELLENCE MODEL</a:t>
            </a:r>
            <a:endParaRPr lang="en-US" dirty="0"/>
          </a:p>
        </p:txBody>
      </p:sp>
      <p:sp>
        <p:nvSpPr>
          <p:cNvPr id="13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5C11E9-EA40-D54F-953A-82A4C72DAAAD}" type="slidenum">
              <a:rPr lang="en-US" smtClean="0"/>
              <a:t>1</a:t>
            </a:fld>
            <a:r>
              <a:rPr lang="en-US" dirty="0" smtClean="0"/>
              <a:t> I</a:t>
            </a:r>
            <a:endParaRPr lang="en-US" dirty="0"/>
          </a:p>
        </p:txBody>
      </p:sp>
      <p:grpSp>
        <p:nvGrpSpPr>
          <p:cNvPr id="21" name="Gruppe 16"/>
          <p:cNvGrpSpPr/>
          <p:nvPr/>
        </p:nvGrpSpPr>
        <p:grpSpPr bwMode="auto">
          <a:xfrm>
            <a:off x="1735160" y="2070429"/>
            <a:ext cx="5440363" cy="2911611"/>
            <a:chOff x="4961114" y="1953641"/>
            <a:chExt cx="2856700" cy="1528862"/>
          </a:xfrm>
          <a:gradFill>
            <a:gsLst>
              <a:gs pos="0">
                <a:srgbClr val="376092"/>
              </a:gs>
              <a:gs pos="100000">
                <a:srgbClr val="17375E"/>
              </a:gs>
            </a:gsLst>
            <a:lin ang="5400000" scaled="0"/>
          </a:gradFill>
        </p:grpSpPr>
        <p:sp>
          <p:nvSpPr>
            <p:cNvPr id="28" name="Rektangel 11"/>
            <p:cNvSpPr/>
            <p:nvPr/>
          </p:nvSpPr>
          <p:spPr>
            <a:xfrm>
              <a:off x="4961114" y="2013627"/>
              <a:ext cx="2762656" cy="107004"/>
            </a:xfrm>
            <a:prstGeom prst="rect">
              <a:avLst/>
            </a:prstGeom>
            <a:grpFill/>
            <a:ln w="9525" cap="flat" cmpd="sng" algn="ctr">
              <a:noFill/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" lastClr="FFFFFF"/>
                </a:solidFill>
                <a:latin typeface="Calibri"/>
                <a:cs typeface="+mn-cs"/>
              </a:endParaRPr>
            </a:p>
          </p:txBody>
        </p:sp>
        <p:sp>
          <p:nvSpPr>
            <p:cNvPr id="29" name="Rektangel 12"/>
            <p:cNvSpPr/>
            <p:nvPr/>
          </p:nvSpPr>
          <p:spPr>
            <a:xfrm>
              <a:off x="5055158" y="2671864"/>
              <a:ext cx="2762656" cy="107004"/>
            </a:xfrm>
            <a:prstGeom prst="rect">
              <a:avLst/>
            </a:prstGeom>
            <a:grpFill/>
            <a:ln w="9525" cap="flat" cmpd="sng" algn="ctr">
              <a:noFill/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" lastClr="FFFFFF"/>
                </a:solidFill>
                <a:latin typeface="Calibri"/>
                <a:cs typeface="+mn-cs"/>
              </a:endParaRPr>
            </a:p>
          </p:txBody>
        </p:sp>
        <p:sp>
          <p:nvSpPr>
            <p:cNvPr id="30" name="Rektangel 13"/>
            <p:cNvSpPr/>
            <p:nvPr/>
          </p:nvSpPr>
          <p:spPr>
            <a:xfrm>
              <a:off x="4993549" y="3375499"/>
              <a:ext cx="2762656" cy="107004"/>
            </a:xfrm>
            <a:prstGeom prst="rect">
              <a:avLst/>
            </a:prstGeom>
            <a:grpFill/>
            <a:ln w="9525" cap="flat" cmpd="sng" algn="ctr">
              <a:noFill/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" lastClr="FFFFFF"/>
                </a:solidFill>
                <a:latin typeface="Calibri"/>
                <a:cs typeface="+mn-cs"/>
              </a:endParaRPr>
            </a:p>
          </p:txBody>
        </p:sp>
        <p:sp>
          <p:nvSpPr>
            <p:cNvPr id="31" name="Rektangel 14"/>
            <p:cNvSpPr/>
            <p:nvPr/>
          </p:nvSpPr>
          <p:spPr>
            <a:xfrm rot="5400000">
              <a:off x="6479442" y="2583513"/>
              <a:ext cx="1228928" cy="111853"/>
            </a:xfrm>
            <a:prstGeom prst="rect">
              <a:avLst/>
            </a:prstGeom>
            <a:grpFill/>
            <a:ln w="9525" cap="flat" cmpd="sng" algn="ctr">
              <a:noFill/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" lastClr="FFFFFF"/>
                </a:solidFill>
                <a:latin typeface="Calibri"/>
                <a:cs typeface="+mn-cs"/>
              </a:endParaRPr>
            </a:p>
          </p:txBody>
        </p:sp>
        <p:sp>
          <p:nvSpPr>
            <p:cNvPr id="32" name="Rektangel 15"/>
            <p:cNvSpPr/>
            <p:nvPr/>
          </p:nvSpPr>
          <p:spPr>
            <a:xfrm rot="5400000">
              <a:off x="5104600" y="2512178"/>
              <a:ext cx="1228928" cy="111853"/>
            </a:xfrm>
            <a:prstGeom prst="rect">
              <a:avLst/>
            </a:prstGeom>
            <a:grpFill/>
            <a:ln w="9525" cap="flat" cmpd="sng" algn="ctr">
              <a:noFill/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" lastClr="FFFFFF"/>
                </a:solidFill>
                <a:latin typeface="Calibri"/>
                <a:cs typeface="+mn-cs"/>
              </a:endParaRPr>
            </a:p>
          </p:txBody>
        </p:sp>
      </p:grpSp>
      <p:sp>
        <p:nvSpPr>
          <p:cNvPr id="22" name="Rektangel 2"/>
          <p:cNvSpPr/>
          <p:nvPr/>
        </p:nvSpPr>
        <p:spPr bwMode="auto">
          <a:xfrm>
            <a:off x="1355198" y="1591766"/>
            <a:ext cx="1129640" cy="3946044"/>
          </a:xfrm>
          <a:prstGeom prst="rect">
            <a:avLst/>
          </a:prstGeom>
          <a:gradFill rotWithShape="1">
            <a:gsLst>
              <a:gs pos="0">
                <a:schemeClr val="bg1">
                  <a:lumMod val="95000"/>
                </a:schemeClr>
              </a:gs>
              <a:gs pos="100000">
                <a:srgbClr val="D9D9D9"/>
              </a:gs>
            </a:gsLst>
            <a:lin ang="5400000"/>
          </a:gradFill>
          <a:ln w="9525">
            <a:solidFill>
              <a:schemeClr val="bg1"/>
            </a:solidFill>
            <a:miter lim="800000"/>
            <a:headEnd/>
            <a:tailEnd/>
          </a:ln>
          <a:effectLst>
            <a:outerShdw blurRad="40000" dist="23000" dir="5400000" rotWithShape="0">
              <a:srgbClr val="808080">
                <a:alpha val="34998"/>
              </a:srgbClr>
            </a:outerShdw>
          </a:effectLst>
        </p:spPr>
        <p:txBody>
          <a:bodyPr anchor="ctr"/>
          <a:lstStyle/>
          <a:p>
            <a:pPr marL="85725"/>
            <a:endParaRPr lang="da-DK" sz="1600" b="1">
              <a:solidFill>
                <a:srgbClr val="C60000"/>
              </a:solidFill>
              <a:latin typeface="Arial"/>
              <a:cs typeface="Arial"/>
            </a:endParaRPr>
          </a:p>
        </p:txBody>
      </p:sp>
      <p:sp>
        <p:nvSpPr>
          <p:cNvPr id="23" name="Rektangel 3"/>
          <p:cNvSpPr/>
          <p:nvPr/>
        </p:nvSpPr>
        <p:spPr bwMode="auto">
          <a:xfrm>
            <a:off x="3915438" y="1591766"/>
            <a:ext cx="1164636" cy="3946044"/>
          </a:xfrm>
          <a:prstGeom prst="rect">
            <a:avLst/>
          </a:prstGeom>
          <a:gradFill rotWithShape="1">
            <a:gsLst>
              <a:gs pos="0">
                <a:schemeClr val="bg1">
                  <a:lumMod val="95000"/>
                </a:schemeClr>
              </a:gs>
              <a:gs pos="100000">
                <a:srgbClr val="D9D9D9"/>
              </a:gs>
            </a:gsLst>
            <a:lin ang="5400000"/>
          </a:gradFill>
          <a:ln w="9525">
            <a:solidFill>
              <a:schemeClr val="bg1"/>
            </a:solidFill>
            <a:miter lim="800000"/>
            <a:headEnd/>
            <a:tailEnd/>
          </a:ln>
          <a:effectLst>
            <a:outerShdw blurRad="40000" dist="23000" dir="5400000" rotWithShape="0">
              <a:srgbClr val="808080">
                <a:alpha val="34998"/>
              </a:srgbClr>
            </a:outerShdw>
          </a:effectLst>
        </p:spPr>
        <p:txBody>
          <a:bodyPr anchor="ctr"/>
          <a:lstStyle/>
          <a:p>
            <a:pPr marL="85725"/>
            <a:endParaRPr lang="da-DK" sz="1600" b="1">
              <a:solidFill>
                <a:srgbClr val="C60000"/>
              </a:solidFill>
              <a:latin typeface="Arial"/>
              <a:cs typeface="Arial"/>
            </a:endParaRPr>
          </a:p>
        </p:txBody>
      </p:sp>
      <p:sp>
        <p:nvSpPr>
          <p:cNvPr id="24" name="Rektangel 4"/>
          <p:cNvSpPr/>
          <p:nvPr/>
        </p:nvSpPr>
        <p:spPr bwMode="auto">
          <a:xfrm>
            <a:off x="6530269" y="1591766"/>
            <a:ext cx="1168835" cy="3946044"/>
          </a:xfrm>
          <a:prstGeom prst="rect">
            <a:avLst/>
          </a:prstGeom>
          <a:gradFill rotWithShape="1">
            <a:gsLst>
              <a:gs pos="0">
                <a:schemeClr val="bg1">
                  <a:lumMod val="95000"/>
                </a:schemeClr>
              </a:gs>
              <a:gs pos="100000">
                <a:srgbClr val="D9D9D9"/>
              </a:gs>
            </a:gsLst>
            <a:lin ang="5400000"/>
          </a:gradFill>
          <a:ln w="9525">
            <a:solidFill>
              <a:schemeClr val="bg1"/>
            </a:solidFill>
            <a:miter lim="800000"/>
            <a:headEnd/>
            <a:tailEnd/>
          </a:ln>
          <a:effectLst>
            <a:outerShdw blurRad="40000" dist="23000" dir="5400000" rotWithShape="0">
              <a:srgbClr val="808080">
                <a:alpha val="34998"/>
              </a:srgbClr>
            </a:outerShdw>
          </a:effectLst>
        </p:spPr>
        <p:txBody>
          <a:bodyPr anchor="ctr"/>
          <a:lstStyle/>
          <a:p>
            <a:pPr marL="85725"/>
            <a:endParaRPr lang="da-DK" sz="1600" b="1">
              <a:solidFill>
                <a:srgbClr val="C60000"/>
              </a:solidFill>
              <a:latin typeface="Arial"/>
              <a:cs typeface="Arial"/>
            </a:endParaRPr>
          </a:p>
        </p:txBody>
      </p:sp>
      <p:sp>
        <p:nvSpPr>
          <p:cNvPr id="25" name="Rektangel 8"/>
          <p:cNvSpPr/>
          <p:nvPr/>
        </p:nvSpPr>
        <p:spPr bwMode="auto">
          <a:xfrm>
            <a:off x="2675213" y="1572169"/>
            <a:ext cx="1049853" cy="1142239"/>
          </a:xfrm>
          <a:prstGeom prst="rect">
            <a:avLst/>
          </a:prstGeom>
          <a:gradFill rotWithShape="1">
            <a:gsLst>
              <a:gs pos="0">
                <a:schemeClr val="bg1">
                  <a:lumMod val="95000"/>
                </a:schemeClr>
              </a:gs>
              <a:gs pos="100000">
                <a:srgbClr val="D9D9D9"/>
              </a:gs>
            </a:gsLst>
            <a:lin ang="5400000"/>
          </a:gradFill>
          <a:ln w="9525">
            <a:solidFill>
              <a:schemeClr val="bg1"/>
            </a:solidFill>
            <a:miter lim="800000"/>
            <a:headEnd/>
            <a:tailEnd/>
          </a:ln>
          <a:effectLst>
            <a:outerShdw blurRad="40000" dist="23000" dir="5400000" rotWithShape="0">
              <a:srgbClr val="808080">
                <a:alpha val="34998"/>
              </a:srgbClr>
            </a:outerShdw>
          </a:effectLst>
        </p:spPr>
        <p:txBody>
          <a:bodyPr anchor="ctr"/>
          <a:lstStyle/>
          <a:p>
            <a:pPr marL="85725"/>
            <a:endParaRPr lang="da-DK" sz="1600" b="1">
              <a:solidFill>
                <a:srgbClr val="C60000"/>
              </a:solidFill>
              <a:latin typeface="Arial"/>
              <a:cs typeface="Arial"/>
            </a:endParaRPr>
          </a:p>
        </p:txBody>
      </p:sp>
      <p:sp>
        <p:nvSpPr>
          <p:cNvPr id="26" name="Rektangel 9"/>
          <p:cNvSpPr/>
          <p:nvPr/>
        </p:nvSpPr>
        <p:spPr bwMode="auto">
          <a:xfrm>
            <a:off x="2668214" y="2962173"/>
            <a:ext cx="1051253" cy="1143639"/>
          </a:xfrm>
          <a:prstGeom prst="rect">
            <a:avLst/>
          </a:prstGeom>
          <a:gradFill rotWithShape="1">
            <a:gsLst>
              <a:gs pos="0">
                <a:schemeClr val="bg1">
                  <a:lumMod val="95000"/>
                </a:schemeClr>
              </a:gs>
              <a:gs pos="100000">
                <a:srgbClr val="D9D9D9"/>
              </a:gs>
            </a:gsLst>
            <a:lin ang="5400000"/>
          </a:gradFill>
          <a:ln w="9525">
            <a:solidFill>
              <a:schemeClr val="bg1"/>
            </a:solidFill>
            <a:miter lim="800000"/>
            <a:headEnd/>
            <a:tailEnd/>
          </a:ln>
          <a:effectLst>
            <a:outerShdw blurRad="40000" dist="23000" dir="5400000" rotWithShape="0">
              <a:srgbClr val="808080">
                <a:alpha val="34998"/>
              </a:srgbClr>
            </a:outerShdw>
          </a:effectLst>
        </p:spPr>
        <p:txBody>
          <a:bodyPr anchor="ctr"/>
          <a:lstStyle/>
          <a:p>
            <a:pPr marL="85725"/>
            <a:endParaRPr lang="da-DK" sz="1600" b="1">
              <a:solidFill>
                <a:srgbClr val="C60000"/>
              </a:solidFill>
              <a:latin typeface="Arial"/>
              <a:cs typeface="Arial"/>
            </a:endParaRPr>
          </a:p>
        </p:txBody>
      </p:sp>
      <p:sp>
        <p:nvSpPr>
          <p:cNvPr id="27" name="Rektangel 10"/>
          <p:cNvSpPr/>
          <p:nvPr/>
        </p:nvSpPr>
        <p:spPr bwMode="auto">
          <a:xfrm>
            <a:off x="2686411" y="4382973"/>
            <a:ext cx="1051251" cy="1142239"/>
          </a:xfrm>
          <a:prstGeom prst="rect">
            <a:avLst/>
          </a:prstGeom>
          <a:gradFill rotWithShape="1">
            <a:gsLst>
              <a:gs pos="0">
                <a:schemeClr val="bg1">
                  <a:lumMod val="95000"/>
                </a:schemeClr>
              </a:gs>
              <a:gs pos="100000">
                <a:srgbClr val="D9D9D9"/>
              </a:gs>
            </a:gsLst>
            <a:lin ang="5400000"/>
          </a:gradFill>
          <a:ln w="9525">
            <a:solidFill>
              <a:schemeClr val="bg1"/>
            </a:solidFill>
            <a:miter lim="800000"/>
            <a:headEnd/>
            <a:tailEnd/>
          </a:ln>
          <a:effectLst>
            <a:outerShdw blurRad="40000" dist="23000" dir="5400000" rotWithShape="0">
              <a:srgbClr val="808080">
                <a:alpha val="34998"/>
              </a:srgbClr>
            </a:outerShdw>
          </a:effectLst>
        </p:spPr>
        <p:txBody>
          <a:bodyPr anchor="ctr"/>
          <a:lstStyle/>
          <a:p>
            <a:pPr marL="85725"/>
            <a:endParaRPr lang="da-DK" sz="1600" b="1">
              <a:solidFill>
                <a:srgbClr val="C60000"/>
              </a:solidFill>
              <a:latin typeface="Arial"/>
              <a:cs typeface="Arial"/>
            </a:endParaRPr>
          </a:p>
        </p:txBody>
      </p:sp>
      <p:sp>
        <p:nvSpPr>
          <p:cNvPr id="18" name="Rektangel 22"/>
          <p:cNvSpPr/>
          <p:nvPr/>
        </p:nvSpPr>
        <p:spPr bwMode="auto">
          <a:xfrm>
            <a:off x="5277445" y="1583367"/>
            <a:ext cx="1049852" cy="1142239"/>
          </a:xfrm>
          <a:prstGeom prst="rect">
            <a:avLst/>
          </a:prstGeom>
          <a:gradFill rotWithShape="1">
            <a:gsLst>
              <a:gs pos="0">
                <a:schemeClr val="bg1">
                  <a:lumMod val="95000"/>
                </a:schemeClr>
              </a:gs>
              <a:gs pos="100000">
                <a:srgbClr val="D9D9D9"/>
              </a:gs>
            </a:gsLst>
            <a:lin ang="5400000"/>
          </a:gradFill>
          <a:ln w="9525">
            <a:solidFill>
              <a:schemeClr val="bg1"/>
            </a:solidFill>
            <a:miter lim="800000"/>
            <a:headEnd/>
            <a:tailEnd/>
          </a:ln>
          <a:effectLst>
            <a:outerShdw blurRad="40000" dist="23000" dir="5400000" rotWithShape="0">
              <a:srgbClr val="808080">
                <a:alpha val="34998"/>
              </a:srgbClr>
            </a:outerShdw>
          </a:effectLst>
        </p:spPr>
        <p:txBody>
          <a:bodyPr anchor="ctr"/>
          <a:lstStyle/>
          <a:p>
            <a:pPr marL="85725"/>
            <a:endParaRPr lang="da-DK" sz="1600" b="1">
              <a:solidFill>
                <a:srgbClr val="C60000"/>
              </a:solidFill>
              <a:latin typeface="Arial"/>
              <a:cs typeface="Arial"/>
            </a:endParaRPr>
          </a:p>
        </p:txBody>
      </p:sp>
      <p:sp>
        <p:nvSpPr>
          <p:cNvPr id="19" name="Rektangel 23"/>
          <p:cNvSpPr/>
          <p:nvPr/>
        </p:nvSpPr>
        <p:spPr bwMode="auto">
          <a:xfrm>
            <a:off x="5271847" y="2962174"/>
            <a:ext cx="1049852" cy="1143638"/>
          </a:xfrm>
          <a:prstGeom prst="rect">
            <a:avLst/>
          </a:prstGeom>
          <a:gradFill rotWithShape="1">
            <a:gsLst>
              <a:gs pos="0">
                <a:schemeClr val="bg1">
                  <a:lumMod val="95000"/>
                </a:schemeClr>
              </a:gs>
              <a:gs pos="100000">
                <a:srgbClr val="D9D9D9"/>
              </a:gs>
            </a:gsLst>
            <a:lin ang="5400000"/>
          </a:gradFill>
          <a:ln w="9525">
            <a:solidFill>
              <a:schemeClr val="bg1"/>
            </a:solidFill>
            <a:miter lim="800000"/>
            <a:headEnd/>
            <a:tailEnd/>
          </a:ln>
          <a:effectLst>
            <a:outerShdw blurRad="40000" dist="23000" dir="5400000" rotWithShape="0">
              <a:srgbClr val="808080">
                <a:alpha val="34998"/>
              </a:srgbClr>
            </a:outerShdw>
          </a:effectLst>
        </p:spPr>
        <p:txBody>
          <a:bodyPr anchor="ctr"/>
          <a:lstStyle/>
          <a:p>
            <a:pPr marL="85725"/>
            <a:endParaRPr lang="da-DK" sz="1600" b="1">
              <a:solidFill>
                <a:srgbClr val="C60000"/>
              </a:solidFill>
              <a:latin typeface="Arial"/>
              <a:cs typeface="Arial"/>
            </a:endParaRPr>
          </a:p>
        </p:txBody>
      </p:sp>
      <p:sp>
        <p:nvSpPr>
          <p:cNvPr id="20" name="Rektangel 24"/>
          <p:cNvSpPr/>
          <p:nvPr/>
        </p:nvSpPr>
        <p:spPr bwMode="auto">
          <a:xfrm>
            <a:off x="5290045" y="4382973"/>
            <a:ext cx="1049852" cy="1142239"/>
          </a:xfrm>
          <a:prstGeom prst="rect">
            <a:avLst/>
          </a:prstGeom>
          <a:gradFill rotWithShape="1">
            <a:gsLst>
              <a:gs pos="0">
                <a:schemeClr val="bg1">
                  <a:lumMod val="95000"/>
                </a:schemeClr>
              </a:gs>
              <a:gs pos="100000">
                <a:srgbClr val="D9D9D9"/>
              </a:gs>
            </a:gsLst>
            <a:lin ang="5400000"/>
          </a:gradFill>
          <a:ln w="9525">
            <a:solidFill>
              <a:schemeClr val="bg1"/>
            </a:solidFill>
            <a:miter lim="800000"/>
            <a:headEnd/>
            <a:tailEnd/>
          </a:ln>
          <a:effectLst>
            <a:outerShdw blurRad="40000" dist="23000" dir="5400000" rotWithShape="0">
              <a:srgbClr val="808080">
                <a:alpha val="34998"/>
              </a:srgbClr>
            </a:outerShdw>
          </a:effectLst>
        </p:spPr>
        <p:txBody>
          <a:bodyPr anchor="ctr"/>
          <a:lstStyle/>
          <a:p>
            <a:pPr marL="85725"/>
            <a:endParaRPr lang="da-DK" sz="1600" b="1">
              <a:solidFill>
                <a:srgbClr val="C60000"/>
              </a:solidFill>
              <a:latin typeface="Arial"/>
              <a:cs typeface="Arial"/>
            </a:endParaRPr>
          </a:p>
        </p:txBody>
      </p:sp>
      <p:sp>
        <p:nvSpPr>
          <p:cNvPr id="33" name="Tekstboks 21"/>
          <p:cNvSpPr txBox="1">
            <a:spLocks noChangeArrowheads="1"/>
          </p:cNvSpPr>
          <p:nvPr/>
        </p:nvSpPr>
        <p:spPr bwMode="auto">
          <a:xfrm>
            <a:off x="1354498" y="1593167"/>
            <a:ext cx="1131040" cy="2449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-112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-112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-112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-112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-112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12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12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12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12" charset="0"/>
              </a:defRPr>
            </a:lvl9pPr>
          </a:lstStyle>
          <a:p>
            <a:pPr algn="ctr"/>
            <a:r>
              <a:rPr lang="da-DK" sz="1200" dirty="0"/>
              <a:t>LEADERSHIP</a:t>
            </a:r>
          </a:p>
        </p:txBody>
      </p:sp>
      <p:sp>
        <p:nvSpPr>
          <p:cNvPr id="34" name="Tekstboks 26"/>
          <p:cNvSpPr txBox="1">
            <a:spLocks noChangeArrowheads="1"/>
          </p:cNvSpPr>
          <p:nvPr/>
        </p:nvSpPr>
        <p:spPr bwMode="auto">
          <a:xfrm>
            <a:off x="3898640" y="1597366"/>
            <a:ext cx="1185632" cy="2435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-112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-112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-112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-112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-112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12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12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12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12" charset="0"/>
              </a:defRPr>
            </a:lvl9pPr>
          </a:lstStyle>
          <a:p>
            <a:pPr algn="ctr"/>
            <a:r>
              <a:rPr lang="da-DK" sz="1200"/>
              <a:t>PROCESSES</a:t>
            </a:r>
          </a:p>
        </p:txBody>
      </p:sp>
      <p:sp>
        <p:nvSpPr>
          <p:cNvPr id="35" name="Tekstboks 27"/>
          <p:cNvSpPr txBox="1">
            <a:spLocks noChangeArrowheads="1"/>
          </p:cNvSpPr>
          <p:nvPr/>
        </p:nvSpPr>
        <p:spPr bwMode="auto">
          <a:xfrm>
            <a:off x="2686411" y="4370375"/>
            <a:ext cx="1049852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-112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-112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-112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-112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-112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12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12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12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12" charset="0"/>
              </a:defRPr>
            </a:lvl9pPr>
          </a:lstStyle>
          <a:p>
            <a:pPr algn="ctr"/>
            <a:r>
              <a:rPr lang="da-DK" sz="1200" dirty="0" smtClean="0"/>
              <a:t>RESOURCES</a:t>
            </a:r>
            <a:endParaRPr lang="da-DK" sz="1200" dirty="0"/>
          </a:p>
        </p:txBody>
      </p:sp>
      <p:sp>
        <p:nvSpPr>
          <p:cNvPr id="36" name="Tekstboks 28"/>
          <p:cNvSpPr txBox="1">
            <a:spLocks noChangeArrowheads="1"/>
          </p:cNvSpPr>
          <p:nvPr/>
        </p:nvSpPr>
        <p:spPr bwMode="auto">
          <a:xfrm>
            <a:off x="2655615" y="2987370"/>
            <a:ext cx="1075048" cy="4073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-112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-112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-112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-112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-112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12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12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12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12" charset="0"/>
              </a:defRPr>
            </a:lvl9pPr>
          </a:lstStyle>
          <a:p>
            <a:pPr algn="ctr"/>
            <a:r>
              <a:rPr lang="da-DK" sz="1200"/>
              <a:t>POLICY &amp; STRATEGY</a:t>
            </a:r>
          </a:p>
        </p:txBody>
      </p:sp>
      <p:sp>
        <p:nvSpPr>
          <p:cNvPr id="37" name="Tekstboks 29"/>
          <p:cNvSpPr txBox="1">
            <a:spLocks noChangeArrowheads="1"/>
          </p:cNvSpPr>
          <p:nvPr/>
        </p:nvSpPr>
        <p:spPr bwMode="auto">
          <a:xfrm>
            <a:off x="2686411" y="1579632"/>
            <a:ext cx="1024655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-112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-112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-112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-112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-112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12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12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12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12" charset="0"/>
              </a:defRPr>
            </a:lvl9pPr>
          </a:lstStyle>
          <a:p>
            <a:pPr algn="ctr"/>
            <a:r>
              <a:rPr lang="da-DK" sz="1000" dirty="0"/>
              <a:t>PEOPLE MANAGEMENT</a:t>
            </a:r>
          </a:p>
        </p:txBody>
      </p:sp>
      <p:sp>
        <p:nvSpPr>
          <p:cNvPr id="38" name="Tekstboks 30"/>
          <p:cNvSpPr txBox="1">
            <a:spLocks noChangeArrowheads="1"/>
          </p:cNvSpPr>
          <p:nvPr/>
        </p:nvSpPr>
        <p:spPr bwMode="auto">
          <a:xfrm>
            <a:off x="6523269" y="1601566"/>
            <a:ext cx="1184233" cy="2449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-112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-112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-112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-112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-112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12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12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12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12" charset="0"/>
              </a:defRPr>
            </a:lvl9pPr>
          </a:lstStyle>
          <a:p>
            <a:pPr algn="ctr"/>
            <a:r>
              <a:rPr lang="da-DK" sz="1200"/>
              <a:t>BUSINESS RESULTS</a:t>
            </a:r>
          </a:p>
        </p:txBody>
      </p:sp>
      <p:sp>
        <p:nvSpPr>
          <p:cNvPr id="39" name="Tekstboks 31"/>
          <p:cNvSpPr txBox="1">
            <a:spLocks noChangeArrowheads="1"/>
          </p:cNvSpPr>
          <p:nvPr/>
        </p:nvSpPr>
        <p:spPr bwMode="auto">
          <a:xfrm>
            <a:off x="5291443" y="4367575"/>
            <a:ext cx="1052651" cy="4073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-112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-112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-112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-112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-112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12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12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12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12" charset="0"/>
              </a:defRPr>
            </a:lvl9pPr>
          </a:lstStyle>
          <a:p>
            <a:pPr algn="ctr"/>
            <a:r>
              <a:rPr lang="da-DK" sz="1200"/>
              <a:t>IMPACT ON SOCIETY</a:t>
            </a:r>
          </a:p>
        </p:txBody>
      </p:sp>
      <p:sp>
        <p:nvSpPr>
          <p:cNvPr id="40" name="Tekstboks 32"/>
          <p:cNvSpPr txBox="1">
            <a:spLocks noChangeArrowheads="1"/>
          </p:cNvSpPr>
          <p:nvPr/>
        </p:nvSpPr>
        <p:spPr bwMode="auto">
          <a:xfrm>
            <a:off x="5269046" y="2945376"/>
            <a:ext cx="1030255" cy="4073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-112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-112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-112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-112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-112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12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12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12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12" charset="0"/>
              </a:defRPr>
            </a:lvl9pPr>
          </a:lstStyle>
          <a:p>
            <a:pPr algn="ctr"/>
            <a:r>
              <a:rPr lang="da-DK" sz="1000" dirty="0"/>
              <a:t>CUSTOMER SATISFACTION</a:t>
            </a:r>
          </a:p>
        </p:txBody>
      </p:sp>
      <p:sp>
        <p:nvSpPr>
          <p:cNvPr id="41" name="Tekstboks 33"/>
          <p:cNvSpPr txBox="1">
            <a:spLocks noChangeArrowheads="1"/>
          </p:cNvSpPr>
          <p:nvPr/>
        </p:nvSpPr>
        <p:spPr bwMode="auto">
          <a:xfrm>
            <a:off x="5269046" y="1565171"/>
            <a:ext cx="1063850" cy="4073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-112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-112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-112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-112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-112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12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12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12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12" charset="0"/>
              </a:defRPr>
            </a:lvl9pPr>
          </a:lstStyle>
          <a:p>
            <a:pPr algn="ctr"/>
            <a:r>
              <a:rPr lang="da-DK" sz="1200"/>
              <a:t>PEOPLE SATISFACTION</a:t>
            </a:r>
          </a:p>
        </p:txBody>
      </p:sp>
      <p:grpSp>
        <p:nvGrpSpPr>
          <p:cNvPr id="42" name="Gruppe 130"/>
          <p:cNvGrpSpPr>
            <a:grpSpLocks/>
          </p:cNvGrpSpPr>
          <p:nvPr/>
        </p:nvGrpSpPr>
        <p:grpSpPr bwMode="auto">
          <a:xfrm>
            <a:off x="5418825" y="3344319"/>
            <a:ext cx="775491" cy="772691"/>
            <a:chOff x="-2446697" y="642918"/>
            <a:chExt cx="3661446" cy="3643320"/>
          </a:xfrm>
        </p:grpSpPr>
        <p:sp>
          <p:nvSpPr>
            <p:cNvPr id="43" name="Freeform 225"/>
            <p:cNvSpPr>
              <a:spLocks/>
            </p:cNvSpPr>
            <p:nvPr/>
          </p:nvSpPr>
          <p:spPr bwMode="auto">
            <a:xfrm>
              <a:off x="550130" y="1579426"/>
              <a:ext cx="18126" cy="18126"/>
            </a:xfrm>
            <a:custGeom>
              <a:avLst/>
              <a:gdLst>
                <a:gd name="T0" fmla="*/ 2147483647 w 6"/>
                <a:gd name="T1" fmla="*/ 0 h 6"/>
                <a:gd name="T2" fmla="*/ 0 w 6"/>
                <a:gd name="T3" fmla="*/ 2147483647 h 6"/>
                <a:gd name="T4" fmla="*/ 2147483647 w 6"/>
                <a:gd name="T5" fmla="*/ 2147483647 h 6"/>
                <a:gd name="T6" fmla="*/ 2147483647 w 6"/>
                <a:gd name="T7" fmla="*/ 0 h 6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6"/>
                <a:gd name="T13" fmla="*/ 0 h 6"/>
                <a:gd name="T14" fmla="*/ 6 w 6"/>
                <a:gd name="T15" fmla="*/ 6 h 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6" h="6">
                  <a:moveTo>
                    <a:pt x="6" y="0"/>
                  </a:moveTo>
                  <a:lnTo>
                    <a:pt x="0" y="4"/>
                  </a:lnTo>
                  <a:lnTo>
                    <a:pt x="6" y="6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A1C6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latin typeface="Calibri" pitchFamily="-112" charset="0"/>
              </a:endParaRPr>
            </a:p>
          </p:txBody>
        </p:sp>
        <p:sp>
          <p:nvSpPr>
            <p:cNvPr id="44" name="Freeform 226"/>
            <p:cNvSpPr>
              <a:spLocks/>
            </p:cNvSpPr>
            <p:nvPr/>
          </p:nvSpPr>
          <p:spPr bwMode="auto">
            <a:xfrm>
              <a:off x="84897" y="1869442"/>
              <a:ext cx="205428" cy="72504"/>
            </a:xfrm>
            <a:custGeom>
              <a:avLst/>
              <a:gdLst>
                <a:gd name="T0" fmla="*/ 2147483647 w 68"/>
                <a:gd name="T1" fmla="*/ 2147483647 h 24"/>
                <a:gd name="T2" fmla="*/ 2147483647 w 68"/>
                <a:gd name="T3" fmla="*/ 2147483647 h 24"/>
                <a:gd name="T4" fmla="*/ 2147483647 w 68"/>
                <a:gd name="T5" fmla="*/ 0 h 24"/>
                <a:gd name="T6" fmla="*/ 2147483647 w 68"/>
                <a:gd name="T7" fmla="*/ 0 h 24"/>
                <a:gd name="T8" fmla="*/ 2147483647 w 68"/>
                <a:gd name="T9" fmla="*/ 2147483647 h 24"/>
                <a:gd name="T10" fmla="*/ 0 w 68"/>
                <a:gd name="T11" fmla="*/ 2147483647 h 24"/>
                <a:gd name="T12" fmla="*/ 0 w 68"/>
                <a:gd name="T13" fmla="*/ 2147483647 h 24"/>
                <a:gd name="T14" fmla="*/ 2147483647 w 68"/>
                <a:gd name="T15" fmla="*/ 2147483647 h 24"/>
                <a:gd name="T16" fmla="*/ 2147483647 w 68"/>
                <a:gd name="T17" fmla="*/ 2147483647 h 24"/>
                <a:gd name="T18" fmla="*/ 2147483647 w 68"/>
                <a:gd name="T19" fmla="*/ 2147483647 h 24"/>
                <a:gd name="T20" fmla="*/ 2147483647 w 68"/>
                <a:gd name="T21" fmla="*/ 2147483647 h 24"/>
                <a:gd name="T22" fmla="*/ 2147483647 w 68"/>
                <a:gd name="T23" fmla="*/ 2147483647 h 24"/>
                <a:gd name="T24" fmla="*/ 2147483647 w 68"/>
                <a:gd name="T25" fmla="*/ 2147483647 h 24"/>
                <a:gd name="T26" fmla="*/ 2147483647 w 68"/>
                <a:gd name="T27" fmla="*/ 2147483647 h 24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68"/>
                <a:gd name="T43" fmla="*/ 0 h 24"/>
                <a:gd name="T44" fmla="*/ 68 w 68"/>
                <a:gd name="T45" fmla="*/ 24 h 24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68" h="24">
                  <a:moveTo>
                    <a:pt x="38" y="8"/>
                  </a:moveTo>
                  <a:lnTo>
                    <a:pt x="38" y="6"/>
                  </a:lnTo>
                  <a:lnTo>
                    <a:pt x="38" y="0"/>
                  </a:lnTo>
                  <a:lnTo>
                    <a:pt x="24" y="0"/>
                  </a:lnTo>
                  <a:lnTo>
                    <a:pt x="8" y="8"/>
                  </a:lnTo>
                  <a:lnTo>
                    <a:pt x="0" y="12"/>
                  </a:lnTo>
                  <a:lnTo>
                    <a:pt x="0" y="24"/>
                  </a:lnTo>
                  <a:lnTo>
                    <a:pt x="22" y="18"/>
                  </a:lnTo>
                  <a:lnTo>
                    <a:pt x="38" y="24"/>
                  </a:lnTo>
                  <a:lnTo>
                    <a:pt x="54" y="24"/>
                  </a:lnTo>
                  <a:lnTo>
                    <a:pt x="68" y="18"/>
                  </a:lnTo>
                  <a:lnTo>
                    <a:pt x="44" y="12"/>
                  </a:lnTo>
                  <a:lnTo>
                    <a:pt x="54" y="2"/>
                  </a:lnTo>
                  <a:lnTo>
                    <a:pt x="38" y="8"/>
                  </a:lnTo>
                  <a:close/>
                </a:path>
              </a:pathLst>
            </a:custGeom>
            <a:solidFill>
              <a:srgbClr val="A1C6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latin typeface="Calibri" pitchFamily="-112" charset="0"/>
              </a:endParaRPr>
            </a:p>
          </p:txBody>
        </p:sp>
        <p:sp>
          <p:nvSpPr>
            <p:cNvPr id="45" name="Freeform 228"/>
            <p:cNvSpPr>
              <a:spLocks/>
            </p:cNvSpPr>
            <p:nvPr/>
          </p:nvSpPr>
          <p:spPr bwMode="auto">
            <a:xfrm>
              <a:off x="544088" y="1591510"/>
              <a:ext cx="6042" cy="6042"/>
            </a:xfrm>
            <a:custGeom>
              <a:avLst/>
              <a:gdLst>
                <a:gd name="T0" fmla="*/ 2147483647 w 2"/>
                <a:gd name="T1" fmla="*/ 0 h 2"/>
                <a:gd name="T2" fmla="*/ 0 w 2"/>
                <a:gd name="T3" fmla="*/ 0 h 2"/>
                <a:gd name="T4" fmla="*/ 0 w 2"/>
                <a:gd name="T5" fmla="*/ 2147483647 h 2"/>
                <a:gd name="T6" fmla="*/ 2147483647 w 2"/>
                <a:gd name="T7" fmla="*/ 0 h 2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"/>
                <a:gd name="T13" fmla="*/ 0 h 2"/>
                <a:gd name="T14" fmla="*/ 2 w 2"/>
                <a:gd name="T15" fmla="*/ 2 h 2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" h="2">
                  <a:moveTo>
                    <a:pt x="2" y="0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A1C6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latin typeface="Calibri" pitchFamily="-112" charset="0"/>
              </a:endParaRPr>
            </a:p>
          </p:txBody>
        </p:sp>
        <p:sp>
          <p:nvSpPr>
            <p:cNvPr id="46" name="Freeform 256"/>
            <p:cNvSpPr>
              <a:spLocks/>
            </p:cNvSpPr>
            <p:nvPr/>
          </p:nvSpPr>
          <p:spPr bwMode="auto">
            <a:xfrm>
              <a:off x="-138657" y="642918"/>
              <a:ext cx="610241" cy="827753"/>
            </a:xfrm>
            <a:custGeom>
              <a:avLst/>
              <a:gdLst>
                <a:gd name="T0" fmla="*/ 2147483647 w 202"/>
                <a:gd name="T1" fmla="*/ 2147483647 h 274"/>
                <a:gd name="T2" fmla="*/ 0 w 202"/>
                <a:gd name="T3" fmla="*/ 2147483647 h 274"/>
                <a:gd name="T4" fmla="*/ 0 w 202"/>
                <a:gd name="T5" fmla="*/ 2147483647 h 274"/>
                <a:gd name="T6" fmla="*/ 0 w 202"/>
                <a:gd name="T7" fmla="*/ 2147483647 h 274"/>
                <a:gd name="T8" fmla="*/ 2147483647 w 202"/>
                <a:gd name="T9" fmla="*/ 2147483647 h 274"/>
                <a:gd name="T10" fmla="*/ 2147483647 w 202"/>
                <a:gd name="T11" fmla="*/ 2147483647 h 274"/>
                <a:gd name="T12" fmla="*/ 2147483647 w 202"/>
                <a:gd name="T13" fmla="*/ 2147483647 h 274"/>
                <a:gd name="T14" fmla="*/ 2147483647 w 202"/>
                <a:gd name="T15" fmla="*/ 2147483647 h 274"/>
                <a:gd name="T16" fmla="*/ 2147483647 w 202"/>
                <a:gd name="T17" fmla="*/ 2147483647 h 274"/>
                <a:gd name="T18" fmla="*/ 2147483647 w 202"/>
                <a:gd name="T19" fmla="*/ 2147483647 h 274"/>
                <a:gd name="T20" fmla="*/ 2147483647 w 202"/>
                <a:gd name="T21" fmla="*/ 2147483647 h 274"/>
                <a:gd name="T22" fmla="*/ 2147483647 w 202"/>
                <a:gd name="T23" fmla="*/ 2147483647 h 274"/>
                <a:gd name="T24" fmla="*/ 2147483647 w 202"/>
                <a:gd name="T25" fmla="*/ 2147483647 h 274"/>
                <a:gd name="T26" fmla="*/ 2147483647 w 202"/>
                <a:gd name="T27" fmla="*/ 2147483647 h 274"/>
                <a:gd name="T28" fmla="*/ 2147483647 w 202"/>
                <a:gd name="T29" fmla="*/ 2147483647 h 274"/>
                <a:gd name="T30" fmla="*/ 2147483647 w 202"/>
                <a:gd name="T31" fmla="*/ 2147483647 h 274"/>
                <a:gd name="T32" fmla="*/ 2147483647 w 202"/>
                <a:gd name="T33" fmla="*/ 2147483647 h 274"/>
                <a:gd name="T34" fmla="*/ 2147483647 w 202"/>
                <a:gd name="T35" fmla="*/ 2147483647 h 274"/>
                <a:gd name="T36" fmla="*/ 2147483647 w 202"/>
                <a:gd name="T37" fmla="*/ 2147483647 h 274"/>
                <a:gd name="T38" fmla="*/ 2147483647 w 202"/>
                <a:gd name="T39" fmla="*/ 2147483647 h 274"/>
                <a:gd name="T40" fmla="*/ 2147483647 w 202"/>
                <a:gd name="T41" fmla="*/ 2147483647 h 274"/>
                <a:gd name="T42" fmla="*/ 2147483647 w 202"/>
                <a:gd name="T43" fmla="*/ 2147483647 h 274"/>
                <a:gd name="T44" fmla="*/ 2147483647 w 202"/>
                <a:gd name="T45" fmla="*/ 2147483647 h 274"/>
                <a:gd name="T46" fmla="*/ 2147483647 w 202"/>
                <a:gd name="T47" fmla="*/ 2147483647 h 274"/>
                <a:gd name="T48" fmla="*/ 2147483647 w 202"/>
                <a:gd name="T49" fmla="*/ 2147483647 h 274"/>
                <a:gd name="T50" fmla="*/ 2147483647 w 202"/>
                <a:gd name="T51" fmla="*/ 2147483647 h 274"/>
                <a:gd name="T52" fmla="*/ 2147483647 w 202"/>
                <a:gd name="T53" fmla="*/ 2147483647 h 274"/>
                <a:gd name="T54" fmla="*/ 2147483647 w 202"/>
                <a:gd name="T55" fmla="*/ 2147483647 h 274"/>
                <a:gd name="T56" fmla="*/ 2147483647 w 202"/>
                <a:gd name="T57" fmla="*/ 2147483647 h 274"/>
                <a:gd name="T58" fmla="*/ 2147483647 w 202"/>
                <a:gd name="T59" fmla="*/ 2147483647 h 274"/>
                <a:gd name="T60" fmla="*/ 2147483647 w 202"/>
                <a:gd name="T61" fmla="*/ 2147483647 h 274"/>
                <a:gd name="T62" fmla="*/ 2147483647 w 202"/>
                <a:gd name="T63" fmla="*/ 2147483647 h 274"/>
                <a:gd name="T64" fmla="*/ 2147483647 w 202"/>
                <a:gd name="T65" fmla="*/ 2147483647 h 274"/>
                <a:gd name="T66" fmla="*/ 2147483647 w 202"/>
                <a:gd name="T67" fmla="*/ 2147483647 h 274"/>
                <a:gd name="T68" fmla="*/ 2147483647 w 202"/>
                <a:gd name="T69" fmla="*/ 2147483647 h 274"/>
                <a:gd name="T70" fmla="*/ 2147483647 w 202"/>
                <a:gd name="T71" fmla="*/ 2147483647 h 274"/>
                <a:gd name="T72" fmla="*/ 2147483647 w 202"/>
                <a:gd name="T73" fmla="*/ 2147483647 h 274"/>
                <a:gd name="T74" fmla="*/ 2147483647 w 202"/>
                <a:gd name="T75" fmla="*/ 2147483647 h 274"/>
                <a:gd name="T76" fmla="*/ 2147483647 w 202"/>
                <a:gd name="T77" fmla="*/ 2147483647 h 274"/>
                <a:gd name="T78" fmla="*/ 2147483647 w 202"/>
                <a:gd name="T79" fmla="*/ 2147483647 h 274"/>
                <a:gd name="T80" fmla="*/ 2147483647 w 202"/>
                <a:gd name="T81" fmla="*/ 2147483647 h 274"/>
                <a:gd name="T82" fmla="*/ 2147483647 w 202"/>
                <a:gd name="T83" fmla="*/ 2147483647 h 274"/>
                <a:gd name="T84" fmla="*/ 2147483647 w 202"/>
                <a:gd name="T85" fmla="*/ 2147483647 h 274"/>
                <a:gd name="T86" fmla="*/ 2147483647 w 202"/>
                <a:gd name="T87" fmla="*/ 2147483647 h 274"/>
                <a:gd name="T88" fmla="*/ 2147483647 w 202"/>
                <a:gd name="T89" fmla="*/ 2147483647 h 274"/>
                <a:gd name="T90" fmla="*/ 2147483647 w 202"/>
                <a:gd name="T91" fmla="*/ 2147483647 h 274"/>
                <a:gd name="T92" fmla="*/ 2147483647 w 202"/>
                <a:gd name="T93" fmla="*/ 2147483647 h 274"/>
                <a:gd name="T94" fmla="*/ 2147483647 w 202"/>
                <a:gd name="T95" fmla="*/ 2147483647 h 274"/>
                <a:gd name="T96" fmla="*/ 2147483647 w 202"/>
                <a:gd name="T97" fmla="*/ 2147483647 h 274"/>
                <a:gd name="T98" fmla="*/ 2147483647 w 202"/>
                <a:gd name="T99" fmla="*/ 2147483647 h 274"/>
                <a:gd name="T100" fmla="*/ 2147483647 w 202"/>
                <a:gd name="T101" fmla="*/ 2147483647 h 274"/>
                <a:gd name="T102" fmla="*/ 2147483647 w 202"/>
                <a:gd name="T103" fmla="*/ 2147483647 h 274"/>
                <a:gd name="T104" fmla="*/ 2147483647 w 202"/>
                <a:gd name="T105" fmla="*/ 2147483647 h 274"/>
                <a:gd name="T106" fmla="*/ 2147483647 w 202"/>
                <a:gd name="T107" fmla="*/ 2147483647 h 274"/>
                <a:gd name="T108" fmla="*/ 2147483647 w 202"/>
                <a:gd name="T109" fmla="*/ 2147483647 h 274"/>
                <a:gd name="T110" fmla="*/ 2147483647 w 202"/>
                <a:gd name="T111" fmla="*/ 2147483647 h 274"/>
                <a:gd name="T112" fmla="*/ 2147483647 w 202"/>
                <a:gd name="T113" fmla="*/ 2147483647 h 274"/>
                <a:gd name="T114" fmla="*/ 2147483647 w 202"/>
                <a:gd name="T115" fmla="*/ 0 h 274"/>
                <a:gd name="T116" fmla="*/ 2147483647 w 202"/>
                <a:gd name="T117" fmla="*/ 2147483647 h 274"/>
                <a:gd name="T118" fmla="*/ 2147483647 w 202"/>
                <a:gd name="T119" fmla="*/ 2147483647 h 274"/>
                <a:gd name="T120" fmla="*/ 2147483647 w 202"/>
                <a:gd name="T121" fmla="*/ 2147483647 h 274"/>
                <a:gd name="T122" fmla="*/ 2147483647 w 202"/>
                <a:gd name="T123" fmla="*/ 2147483647 h 274"/>
                <a:gd name="T124" fmla="*/ 2147483647 w 202"/>
                <a:gd name="T125" fmla="*/ 2147483647 h 274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202"/>
                <a:gd name="T190" fmla="*/ 0 h 274"/>
                <a:gd name="T191" fmla="*/ 202 w 202"/>
                <a:gd name="T192" fmla="*/ 274 h 274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202" h="274">
                  <a:moveTo>
                    <a:pt x="6" y="46"/>
                  </a:moveTo>
                  <a:lnTo>
                    <a:pt x="4" y="50"/>
                  </a:lnTo>
                  <a:lnTo>
                    <a:pt x="2" y="52"/>
                  </a:lnTo>
                  <a:lnTo>
                    <a:pt x="0" y="58"/>
                  </a:lnTo>
                  <a:lnTo>
                    <a:pt x="0" y="62"/>
                  </a:lnTo>
                  <a:lnTo>
                    <a:pt x="0" y="64"/>
                  </a:lnTo>
                  <a:lnTo>
                    <a:pt x="0" y="68"/>
                  </a:lnTo>
                  <a:lnTo>
                    <a:pt x="0" y="72"/>
                  </a:lnTo>
                  <a:lnTo>
                    <a:pt x="2" y="74"/>
                  </a:lnTo>
                  <a:lnTo>
                    <a:pt x="2" y="78"/>
                  </a:lnTo>
                  <a:lnTo>
                    <a:pt x="4" y="80"/>
                  </a:lnTo>
                  <a:lnTo>
                    <a:pt x="8" y="84"/>
                  </a:lnTo>
                  <a:lnTo>
                    <a:pt x="12" y="86"/>
                  </a:lnTo>
                  <a:lnTo>
                    <a:pt x="14" y="88"/>
                  </a:lnTo>
                  <a:lnTo>
                    <a:pt x="14" y="90"/>
                  </a:lnTo>
                  <a:lnTo>
                    <a:pt x="16" y="94"/>
                  </a:lnTo>
                  <a:lnTo>
                    <a:pt x="12" y="114"/>
                  </a:lnTo>
                  <a:lnTo>
                    <a:pt x="12" y="118"/>
                  </a:lnTo>
                  <a:lnTo>
                    <a:pt x="10" y="120"/>
                  </a:lnTo>
                  <a:lnTo>
                    <a:pt x="10" y="124"/>
                  </a:lnTo>
                  <a:lnTo>
                    <a:pt x="10" y="126"/>
                  </a:lnTo>
                  <a:lnTo>
                    <a:pt x="10" y="130"/>
                  </a:lnTo>
                  <a:lnTo>
                    <a:pt x="10" y="132"/>
                  </a:lnTo>
                  <a:lnTo>
                    <a:pt x="12" y="136"/>
                  </a:lnTo>
                  <a:lnTo>
                    <a:pt x="14" y="140"/>
                  </a:lnTo>
                  <a:lnTo>
                    <a:pt x="14" y="144"/>
                  </a:lnTo>
                  <a:lnTo>
                    <a:pt x="14" y="146"/>
                  </a:lnTo>
                  <a:lnTo>
                    <a:pt x="14" y="150"/>
                  </a:lnTo>
                  <a:lnTo>
                    <a:pt x="8" y="164"/>
                  </a:lnTo>
                  <a:lnTo>
                    <a:pt x="8" y="168"/>
                  </a:lnTo>
                  <a:lnTo>
                    <a:pt x="6" y="176"/>
                  </a:lnTo>
                  <a:lnTo>
                    <a:pt x="6" y="180"/>
                  </a:lnTo>
                  <a:lnTo>
                    <a:pt x="10" y="182"/>
                  </a:lnTo>
                  <a:lnTo>
                    <a:pt x="12" y="182"/>
                  </a:lnTo>
                  <a:lnTo>
                    <a:pt x="16" y="184"/>
                  </a:lnTo>
                  <a:lnTo>
                    <a:pt x="18" y="184"/>
                  </a:lnTo>
                  <a:lnTo>
                    <a:pt x="22" y="186"/>
                  </a:lnTo>
                  <a:lnTo>
                    <a:pt x="22" y="192"/>
                  </a:lnTo>
                  <a:lnTo>
                    <a:pt x="24" y="196"/>
                  </a:lnTo>
                  <a:lnTo>
                    <a:pt x="24" y="198"/>
                  </a:lnTo>
                  <a:lnTo>
                    <a:pt x="26" y="200"/>
                  </a:lnTo>
                  <a:lnTo>
                    <a:pt x="26" y="204"/>
                  </a:lnTo>
                  <a:lnTo>
                    <a:pt x="26" y="206"/>
                  </a:lnTo>
                  <a:lnTo>
                    <a:pt x="28" y="210"/>
                  </a:lnTo>
                  <a:lnTo>
                    <a:pt x="32" y="214"/>
                  </a:lnTo>
                  <a:lnTo>
                    <a:pt x="34" y="218"/>
                  </a:lnTo>
                  <a:lnTo>
                    <a:pt x="34" y="220"/>
                  </a:lnTo>
                  <a:lnTo>
                    <a:pt x="36" y="224"/>
                  </a:lnTo>
                  <a:lnTo>
                    <a:pt x="36" y="228"/>
                  </a:lnTo>
                  <a:lnTo>
                    <a:pt x="36" y="232"/>
                  </a:lnTo>
                  <a:lnTo>
                    <a:pt x="36" y="234"/>
                  </a:lnTo>
                  <a:lnTo>
                    <a:pt x="38" y="238"/>
                  </a:lnTo>
                  <a:lnTo>
                    <a:pt x="40" y="240"/>
                  </a:lnTo>
                  <a:lnTo>
                    <a:pt x="46" y="244"/>
                  </a:lnTo>
                  <a:lnTo>
                    <a:pt x="50" y="244"/>
                  </a:lnTo>
                  <a:lnTo>
                    <a:pt x="54" y="244"/>
                  </a:lnTo>
                  <a:lnTo>
                    <a:pt x="64" y="244"/>
                  </a:lnTo>
                  <a:lnTo>
                    <a:pt x="68" y="244"/>
                  </a:lnTo>
                  <a:lnTo>
                    <a:pt x="72" y="244"/>
                  </a:lnTo>
                  <a:lnTo>
                    <a:pt x="76" y="242"/>
                  </a:lnTo>
                  <a:lnTo>
                    <a:pt x="80" y="242"/>
                  </a:lnTo>
                  <a:lnTo>
                    <a:pt x="86" y="242"/>
                  </a:lnTo>
                  <a:lnTo>
                    <a:pt x="90" y="242"/>
                  </a:lnTo>
                  <a:lnTo>
                    <a:pt x="92" y="244"/>
                  </a:lnTo>
                  <a:lnTo>
                    <a:pt x="94" y="244"/>
                  </a:lnTo>
                  <a:lnTo>
                    <a:pt x="96" y="248"/>
                  </a:lnTo>
                  <a:lnTo>
                    <a:pt x="104" y="266"/>
                  </a:lnTo>
                  <a:lnTo>
                    <a:pt x="106" y="270"/>
                  </a:lnTo>
                  <a:lnTo>
                    <a:pt x="106" y="274"/>
                  </a:lnTo>
                  <a:lnTo>
                    <a:pt x="108" y="274"/>
                  </a:lnTo>
                  <a:lnTo>
                    <a:pt x="110" y="274"/>
                  </a:lnTo>
                  <a:lnTo>
                    <a:pt x="144" y="256"/>
                  </a:lnTo>
                  <a:lnTo>
                    <a:pt x="152" y="250"/>
                  </a:lnTo>
                  <a:lnTo>
                    <a:pt x="160" y="244"/>
                  </a:lnTo>
                  <a:lnTo>
                    <a:pt x="178" y="226"/>
                  </a:lnTo>
                  <a:lnTo>
                    <a:pt x="180" y="222"/>
                  </a:lnTo>
                  <a:lnTo>
                    <a:pt x="188" y="210"/>
                  </a:lnTo>
                  <a:lnTo>
                    <a:pt x="190" y="206"/>
                  </a:lnTo>
                  <a:lnTo>
                    <a:pt x="192" y="202"/>
                  </a:lnTo>
                  <a:lnTo>
                    <a:pt x="192" y="198"/>
                  </a:lnTo>
                  <a:lnTo>
                    <a:pt x="192" y="196"/>
                  </a:lnTo>
                  <a:lnTo>
                    <a:pt x="192" y="192"/>
                  </a:lnTo>
                  <a:lnTo>
                    <a:pt x="192" y="182"/>
                  </a:lnTo>
                  <a:lnTo>
                    <a:pt x="190" y="178"/>
                  </a:lnTo>
                  <a:lnTo>
                    <a:pt x="190" y="166"/>
                  </a:lnTo>
                  <a:lnTo>
                    <a:pt x="190" y="156"/>
                  </a:lnTo>
                  <a:lnTo>
                    <a:pt x="192" y="150"/>
                  </a:lnTo>
                  <a:lnTo>
                    <a:pt x="198" y="136"/>
                  </a:lnTo>
                  <a:lnTo>
                    <a:pt x="200" y="132"/>
                  </a:lnTo>
                  <a:lnTo>
                    <a:pt x="202" y="118"/>
                  </a:lnTo>
                  <a:lnTo>
                    <a:pt x="202" y="114"/>
                  </a:lnTo>
                  <a:lnTo>
                    <a:pt x="196" y="72"/>
                  </a:lnTo>
                  <a:lnTo>
                    <a:pt x="196" y="68"/>
                  </a:lnTo>
                  <a:lnTo>
                    <a:pt x="192" y="60"/>
                  </a:lnTo>
                  <a:lnTo>
                    <a:pt x="186" y="46"/>
                  </a:lnTo>
                  <a:lnTo>
                    <a:pt x="174" y="28"/>
                  </a:lnTo>
                  <a:lnTo>
                    <a:pt x="166" y="20"/>
                  </a:lnTo>
                  <a:lnTo>
                    <a:pt x="158" y="14"/>
                  </a:lnTo>
                  <a:lnTo>
                    <a:pt x="154" y="12"/>
                  </a:lnTo>
                  <a:lnTo>
                    <a:pt x="150" y="10"/>
                  </a:lnTo>
                  <a:lnTo>
                    <a:pt x="146" y="10"/>
                  </a:lnTo>
                  <a:lnTo>
                    <a:pt x="142" y="8"/>
                  </a:lnTo>
                  <a:lnTo>
                    <a:pt x="140" y="6"/>
                  </a:lnTo>
                  <a:lnTo>
                    <a:pt x="136" y="4"/>
                  </a:lnTo>
                  <a:lnTo>
                    <a:pt x="132" y="2"/>
                  </a:lnTo>
                  <a:lnTo>
                    <a:pt x="128" y="2"/>
                  </a:lnTo>
                  <a:lnTo>
                    <a:pt x="112" y="0"/>
                  </a:lnTo>
                  <a:lnTo>
                    <a:pt x="102" y="0"/>
                  </a:lnTo>
                  <a:lnTo>
                    <a:pt x="88" y="2"/>
                  </a:lnTo>
                  <a:lnTo>
                    <a:pt x="74" y="8"/>
                  </a:lnTo>
                  <a:lnTo>
                    <a:pt x="56" y="14"/>
                  </a:lnTo>
                  <a:lnTo>
                    <a:pt x="46" y="20"/>
                  </a:lnTo>
                  <a:lnTo>
                    <a:pt x="42" y="22"/>
                  </a:lnTo>
                  <a:lnTo>
                    <a:pt x="36" y="26"/>
                  </a:lnTo>
                  <a:lnTo>
                    <a:pt x="34" y="28"/>
                  </a:lnTo>
                  <a:lnTo>
                    <a:pt x="26" y="34"/>
                  </a:lnTo>
                  <a:lnTo>
                    <a:pt x="24" y="36"/>
                  </a:lnTo>
                  <a:lnTo>
                    <a:pt x="16" y="40"/>
                  </a:lnTo>
                  <a:lnTo>
                    <a:pt x="6" y="4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latin typeface="Calibri" pitchFamily="-112" charset="0"/>
              </a:endParaRPr>
            </a:p>
          </p:txBody>
        </p:sp>
        <p:sp>
          <p:nvSpPr>
            <p:cNvPr id="47" name="Freeform 257"/>
            <p:cNvSpPr>
              <a:spLocks/>
            </p:cNvSpPr>
            <p:nvPr/>
          </p:nvSpPr>
          <p:spPr bwMode="auto">
            <a:xfrm>
              <a:off x="-289706" y="1247117"/>
              <a:ext cx="1226524" cy="2422838"/>
            </a:xfrm>
            <a:custGeom>
              <a:avLst/>
              <a:gdLst>
                <a:gd name="T0" fmla="*/ 2147483647 w 406"/>
                <a:gd name="T1" fmla="*/ 2147483647 h 802"/>
                <a:gd name="T2" fmla="*/ 2147483647 w 406"/>
                <a:gd name="T3" fmla="*/ 2147483647 h 802"/>
                <a:gd name="T4" fmla="*/ 2147483647 w 406"/>
                <a:gd name="T5" fmla="*/ 0 h 802"/>
                <a:gd name="T6" fmla="*/ 2147483647 w 406"/>
                <a:gd name="T7" fmla="*/ 2147483647 h 802"/>
                <a:gd name="T8" fmla="*/ 2147483647 w 406"/>
                <a:gd name="T9" fmla="*/ 2147483647 h 802"/>
                <a:gd name="T10" fmla="*/ 2147483647 w 406"/>
                <a:gd name="T11" fmla="*/ 2147483647 h 802"/>
                <a:gd name="T12" fmla="*/ 2147483647 w 406"/>
                <a:gd name="T13" fmla="*/ 2147483647 h 802"/>
                <a:gd name="T14" fmla="*/ 2147483647 w 406"/>
                <a:gd name="T15" fmla="*/ 2147483647 h 802"/>
                <a:gd name="T16" fmla="*/ 2147483647 w 406"/>
                <a:gd name="T17" fmla="*/ 2147483647 h 802"/>
                <a:gd name="T18" fmla="*/ 2147483647 w 406"/>
                <a:gd name="T19" fmla="*/ 2147483647 h 802"/>
                <a:gd name="T20" fmla="*/ 2147483647 w 406"/>
                <a:gd name="T21" fmla="*/ 2147483647 h 802"/>
                <a:gd name="T22" fmla="*/ 2147483647 w 406"/>
                <a:gd name="T23" fmla="*/ 2147483647 h 802"/>
                <a:gd name="T24" fmla="*/ 2147483647 w 406"/>
                <a:gd name="T25" fmla="*/ 2147483647 h 802"/>
                <a:gd name="T26" fmla="*/ 2147483647 w 406"/>
                <a:gd name="T27" fmla="*/ 2147483647 h 802"/>
                <a:gd name="T28" fmla="*/ 2147483647 w 406"/>
                <a:gd name="T29" fmla="*/ 2147483647 h 802"/>
                <a:gd name="T30" fmla="*/ 2147483647 w 406"/>
                <a:gd name="T31" fmla="*/ 2147483647 h 802"/>
                <a:gd name="T32" fmla="*/ 2147483647 w 406"/>
                <a:gd name="T33" fmla="*/ 2147483647 h 802"/>
                <a:gd name="T34" fmla="*/ 2147483647 w 406"/>
                <a:gd name="T35" fmla="*/ 2147483647 h 802"/>
                <a:gd name="T36" fmla="*/ 2147483647 w 406"/>
                <a:gd name="T37" fmla="*/ 2147483647 h 802"/>
                <a:gd name="T38" fmla="*/ 2147483647 w 406"/>
                <a:gd name="T39" fmla="*/ 2147483647 h 802"/>
                <a:gd name="T40" fmla="*/ 2147483647 w 406"/>
                <a:gd name="T41" fmla="*/ 2147483647 h 802"/>
                <a:gd name="T42" fmla="*/ 2147483647 w 406"/>
                <a:gd name="T43" fmla="*/ 2147483647 h 802"/>
                <a:gd name="T44" fmla="*/ 0 w 406"/>
                <a:gd name="T45" fmla="*/ 2147483647 h 802"/>
                <a:gd name="T46" fmla="*/ 2147483647 w 406"/>
                <a:gd name="T47" fmla="*/ 2147483647 h 802"/>
                <a:gd name="T48" fmla="*/ 2147483647 w 406"/>
                <a:gd name="T49" fmla="*/ 2147483647 h 802"/>
                <a:gd name="T50" fmla="*/ 2147483647 w 406"/>
                <a:gd name="T51" fmla="*/ 2147483647 h 802"/>
                <a:gd name="T52" fmla="*/ 2147483647 w 406"/>
                <a:gd name="T53" fmla="*/ 2147483647 h 802"/>
                <a:gd name="T54" fmla="*/ 2147483647 w 406"/>
                <a:gd name="T55" fmla="*/ 2147483647 h 802"/>
                <a:gd name="T56" fmla="*/ 2147483647 w 406"/>
                <a:gd name="T57" fmla="*/ 2147483647 h 802"/>
                <a:gd name="T58" fmla="*/ 2147483647 w 406"/>
                <a:gd name="T59" fmla="*/ 2147483647 h 802"/>
                <a:gd name="T60" fmla="*/ 2147483647 w 406"/>
                <a:gd name="T61" fmla="*/ 2147483647 h 802"/>
                <a:gd name="T62" fmla="*/ 2147483647 w 406"/>
                <a:gd name="T63" fmla="*/ 2147483647 h 802"/>
                <a:gd name="T64" fmla="*/ 2147483647 w 406"/>
                <a:gd name="T65" fmla="*/ 2147483647 h 802"/>
                <a:gd name="T66" fmla="*/ 2147483647 w 406"/>
                <a:gd name="T67" fmla="*/ 2147483647 h 802"/>
                <a:gd name="T68" fmla="*/ 2147483647 w 406"/>
                <a:gd name="T69" fmla="*/ 2147483647 h 802"/>
                <a:gd name="T70" fmla="*/ 2147483647 w 406"/>
                <a:gd name="T71" fmla="*/ 2147483647 h 802"/>
                <a:gd name="T72" fmla="*/ 2147483647 w 406"/>
                <a:gd name="T73" fmla="*/ 2147483647 h 802"/>
                <a:gd name="T74" fmla="*/ 2147483647 w 406"/>
                <a:gd name="T75" fmla="*/ 2147483647 h 802"/>
                <a:gd name="T76" fmla="*/ 2147483647 w 406"/>
                <a:gd name="T77" fmla="*/ 2147483647 h 802"/>
                <a:gd name="T78" fmla="*/ 2147483647 w 406"/>
                <a:gd name="T79" fmla="*/ 2147483647 h 802"/>
                <a:gd name="T80" fmla="*/ 2147483647 w 406"/>
                <a:gd name="T81" fmla="*/ 2147483647 h 802"/>
                <a:gd name="T82" fmla="*/ 2147483647 w 406"/>
                <a:gd name="T83" fmla="*/ 2147483647 h 802"/>
                <a:gd name="T84" fmla="*/ 2147483647 w 406"/>
                <a:gd name="T85" fmla="*/ 2147483647 h 802"/>
                <a:gd name="T86" fmla="*/ 2147483647 w 406"/>
                <a:gd name="T87" fmla="*/ 2147483647 h 802"/>
                <a:gd name="T88" fmla="*/ 2147483647 w 406"/>
                <a:gd name="T89" fmla="*/ 2147483647 h 802"/>
                <a:gd name="T90" fmla="*/ 2147483647 w 406"/>
                <a:gd name="T91" fmla="*/ 2147483647 h 802"/>
                <a:gd name="T92" fmla="*/ 2147483647 w 406"/>
                <a:gd name="T93" fmla="*/ 2147483647 h 802"/>
                <a:gd name="T94" fmla="*/ 2147483647 w 406"/>
                <a:gd name="T95" fmla="*/ 2147483647 h 802"/>
                <a:gd name="T96" fmla="*/ 2147483647 w 406"/>
                <a:gd name="T97" fmla="*/ 2147483647 h 802"/>
                <a:gd name="T98" fmla="*/ 2147483647 w 406"/>
                <a:gd name="T99" fmla="*/ 2147483647 h 802"/>
                <a:gd name="T100" fmla="*/ 2147483647 w 406"/>
                <a:gd name="T101" fmla="*/ 2147483647 h 802"/>
                <a:gd name="T102" fmla="*/ 2147483647 w 406"/>
                <a:gd name="T103" fmla="*/ 2147483647 h 80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406"/>
                <a:gd name="T157" fmla="*/ 0 h 802"/>
                <a:gd name="T158" fmla="*/ 406 w 406"/>
                <a:gd name="T159" fmla="*/ 802 h 80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406" h="802">
                  <a:moveTo>
                    <a:pt x="254" y="16"/>
                  </a:moveTo>
                  <a:lnTo>
                    <a:pt x="254" y="16"/>
                  </a:lnTo>
                  <a:lnTo>
                    <a:pt x="248" y="12"/>
                  </a:lnTo>
                  <a:lnTo>
                    <a:pt x="246" y="10"/>
                  </a:lnTo>
                  <a:lnTo>
                    <a:pt x="242" y="8"/>
                  </a:lnTo>
                  <a:lnTo>
                    <a:pt x="238" y="4"/>
                  </a:lnTo>
                  <a:lnTo>
                    <a:pt x="238" y="2"/>
                  </a:lnTo>
                  <a:lnTo>
                    <a:pt x="240" y="0"/>
                  </a:lnTo>
                  <a:lnTo>
                    <a:pt x="236" y="2"/>
                  </a:lnTo>
                  <a:lnTo>
                    <a:pt x="214" y="14"/>
                  </a:lnTo>
                  <a:lnTo>
                    <a:pt x="210" y="16"/>
                  </a:lnTo>
                  <a:lnTo>
                    <a:pt x="188" y="38"/>
                  </a:lnTo>
                  <a:lnTo>
                    <a:pt x="184" y="42"/>
                  </a:lnTo>
                  <a:lnTo>
                    <a:pt x="172" y="54"/>
                  </a:lnTo>
                  <a:lnTo>
                    <a:pt x="170" y="58"/>
                  </a:lnTo>
                  <a:lnTo>
                    <a:pt x="158" y="66"/>
                  </a:lnTo>
                  <a:lnTo>
                    <a:pt x="154" y="70"/>
                  </a:lnTo>
                  <a:lnTo>
                    <a:pt x="150" y="76"/>
                  </a:lnTo>
                  <a:lnTo>
                    <a:pt x="150" y="80"/>
                  </a:lnTo>
                  <a:lnTo>
                    <a:pt x="148" y="90"/>
                  </a:lnTo>
                  <a:lnTo>
                    <a:pt x="146" y="94"/>
                  </a:lnTo>
                  <a:lnTo>
                    <a:pt x="142" y="98"/>
                  </a:lnTo>
                  <a:lnTo>
                    <a:pt x="140" y="102"/>
                  </a:lnTo>
                  <a:lnTo>
                    <a:pt x="138" y="108"/>
                  </a:lnTo>
                  <a:lnTo>
                    <a:pt x="136" y="112"/>
                  </a:lnTo>
                  <a:lnTo>
                    <a:pt x="128" y="128"/>
                  </a:lnTo>
                  <a:lnTo>
                    <a:pt x="126" y="132"/>
                  </a:lnTo>
                  <a:lnTo>
                    <a:pt x="114" y="160"/>
                  </a:lnTo>
                  <a:lnTo>
                    <a:pt x="114" y="164"/>
                  </a:lnTo>
                  <a:lnTo>
                    <a:pt x="98" y="188"/>
                  </a:lnTo>
                  <a:lnTo>
                    <a:pt x="96" y="190"/>
                  </a:lnTo>
                  <a:lnTo>
                    <a:pt x="86" y="230"/>
                  </a:lnTo>
                  <a:lnTo>
                    <a:pt x="74" y="282"/>
                  </a:lnTo>
                  <a:lnTo>
                    <a:pt x="68" y="304"/>
                  </a:lnTo>
                  <a:lnTo>
                    <a:pt x="64" y="318"/>
                  </a:lnTo>
                  <a:lnTo>
                    <a:pt x="58" y="332"/>
                  </a:lnTo>
                  <a:lnTo>
                    <a:pt x="54" y="344"/>
                  </a:lnTo>
                  <a:lnTo>
                    <a:pt x="48" y="380"/>
                  </a:lnTo>
                  <a:lnTo>
                    <a:pt x="48" y="384"/>
                  </a:lnTo>
                  <a:lnTo>
                    <a:pt x="32" y="450"/>
                  </a:lnTo>
                  <a:lnTo>
                    <a:pt x="32" y="454"/>
                  </a:lnTo>
                  <a:lnTo>
                    <a:pt x="38" y="494"/>
                  </a:lnTo>
                  <a:lnTo>
                    <a:pt x="38" y="498"/>
                  </a:lnTo>
                  <a:lnTo>
                    <a:pt x="34" y="510"/>
                  </a:lnTo>
                  <a:lnTo>
                    <a:pt x="32" y="514"/>
                  </a:lnTo>
                  <a:lnTo>
                    <a:pt x="30" y="538"/>
                  </a:lnTo>
                  <a:lnTo>
                    <a:pt x="30" y="542"/>
                  </a:lnTo>
                  <a:lnTo>
                    <a:pt x="26" y="600"/>
                  </a:lnTo>
                  <a:lnTo>
                    <a:pt x="26" y="604"/>
                  </a:lnTo>
                  <a:lnTo>
                    <a:pt x="20" y="646"/>
                  </a:lnTo>
                  <a:lnTo>
                    <a:pt x="20" y="650"/>
                  </a:lnTo>
                  <a:lnTo>
                    <a:pt x="10" y="712"/>
                  </a:lnTo>
                  <a:lnTo>
                    <a:pt x="10" y="716"/>
                  </a:lnTo>
                  <a:lnTo>
                    <a:pt x="10" y="728"/>
                  </a:lnTo>
                  <a:lnTo>
                    <a:pt x="8" y="732"/>
                  </a:lnTo>
                  <a:lnTo>
                    <a:pt x="6" y="742"/>
                  </a:lnTo>
                  <a:lnTo>
                    <a:pt x="4" y="746"/>
                  </a:lnTo>
                  <a:lnTo>
                    <a:pt x="2" y="764"/>
                  </a:lnTo>
                  <a:lnTo>
                    <a:pt x="2" y="768"/>
                  </a:lnTo>
                  <a:lnTo>
                    <a:pt x="0" y="778"/>
                  </a:lnTo>
                  <a:lnTo>
                    <a:pt x="0" y="782"/>
                  </a:lnTo>
                  <a:lnTo>
                    <a:pt x="4" y="790"/>
                  </a:lnTo>
                  <a:lnTo>
                    <a:pt x="8" y="792"/>
                  </a:lnTo>
                  <a:lnTo>
                    <a:pt x="58" y="792"/>
                  </a:lnTo>
                  <a:lnTo>
                    <a:pt x="62" y="792"/>
                  </a:lnTo>
                  <a:lnTo>
                    <a:pt x="68" y="792"/>
                  </a:lnTo>
                  <a:lnTo>
                    <a:pt x="82" y="790"/>
                  </a:lnTo>
                  <a:lnTo>
                    <a:pt x="90" y="792"/>
                  </a:lnTo>
                  <a:lnTo>
                    <a:pt x="96" y="792"/>
                  </a:lnTo>
                  <a:lnTo>
                    <a:pt x="102" y="796"/>
                  </a:lnTo>
                  <a:lnTo>
                    <a:pt x="102" y="800"/>
                  </a:lnTo>
                  <a:lnTo>
                    <a:pt x="106" y="802"/>
                  </a:lnTo>
                  <a:lnTo>
                    <a:pt x="114" y="802"/>
                  </a:lnTo>
                  <a:lnTo>
                    <a:pt x="138" y="800"/>
                  </a:lnTo>
                  <a:lnTo>
                    <a:pt x="178" y="794"/>
                  </a:lnTo>
                  <a:lnTo>
                    <a:pt x="252" y="784"/>
                  </a:lnTo>
                  <a:lnTo>
                    <a:pt x="256" y="782"/>
                  </a:lnTo>
                  <a:lnTo>
                    <a:pt x="268" y="780"/>
                  </a:lnTo>
                  <a:lnTo>
                    <a:pt x="272" y="780"/>
                  </a:lnTo>
                  <a:lnTo>
                    <a:pt x="282" y="780"/>
                  </a:lnTo>
                  <a:lnTo>
                    <a:pt x="286" y="780"/>
                  </a:lnTo>
                  <a:lnTo>
                    <a:pt x="304" y="780"/>
                  </a:lnTo>
                  <a:lnTo>
                    <a:pt x="308" y="780"/>
                  </a:lnTo>
                  <a:lnTo>
                    <a:pt x="322" y="780"/>
                  </a:lnTo>
                  <a:lnTo>
                    <a:pt x="326" y="778"/>
                  </a:lnTo>
                  <a:lnTo>
                    <a:pt x="334" y="776"/>
                  </a:lnTo>
                  <a:lnTo>
                    <a:pt x="338" y="776"/>
                  </a:lnTo>
                  <a:lnTo>
                    <a:pt x="346" y="774"/>
                  </a:lnTo>
                  <a:lnTo>
                    <a:pt x="350" y="772"/>
                  </a:lnTo>
                  <a:lnTo>
                    <a:pt x="354" y="772"/>
                  </a:lnTo>
                  <a:lnTo>
                    <a:pt x="358" y="772"/>
                  </a:lnTo>
                  <a:lnTo>
                    <a:pt x="376" y="770"/>
                  </a:lnTo>
                  <a:lnTo>
                    <a:pt x="380" y="768"/>
                  </a:lnTo>
                  <a:lnTo>
                    <a:pt x="396" y="766"/>
                  </a:lnTo>
                  <a:lnTo>
                    <a:pt x="398" y="764"/>
                  </a:lnTo>
                  <a:lnTo>
                    <a:pt x="390" y="662"/>
                  </a:lnTo>
                  <a:lnTo>
                    <a:pt x="384" y="580"/>
                  </a:lnTo>
                  <a:lnTo>
                    <a:pt x="380" y="546"/>
                  </a:lnTo>
                  <a:lnTo>
                    <a:pt x="376" y="522"/>
                  </a:lnTo>
                  <a:lnTo>
                    <a:pt x="370" y="508"/>
                  </a:lnTo>
                  <a:lnTo>
                    <a:pt x="370" y="504"/>
                  </a:lnTo>
                  <a:lnTo>
                    <a:pt x="374" y="484"/>
                  </a:lnTo>
                  <a:lnTo>
                    <a:pt x="374" y="480"/>
                  </a:lnTo>
                  <a:lnTo>
                    <a:pt x="382" y="450"/>
                  </a:lnTo>
                  <a:lnTo>
                    <a:pt x="382" y="446"/>
                  </a:lnTo>
                  <a:lnTo>
                    <a:pt x="382" y="434"/>
                  </a:lnTo>
                  <a:lnTo>
                    <a:pt x="382" y="430"/>
                  </a:lnTo>
                  <a:lnTo>
                    <a:pt x="384" y="414"/>
                  </a:lnTo>
                  <a:lnTo>
                    <a:pt x="384" y="410"/>
                  </a:lnTo>
                  <a:lnTo>
                    <a:pt x="386" y="390"/>
                  </a:lnTo>
                  <a:lnTo>
                    <a:pt x="386" y="386"/>
                  </a:lnTo>
                  <a:lnTo>
                    <a:pt x="386" y="376"/>
                  </a:lnTo>
                  <a:lnTo>
                    <a:pt x="386" y="372"/>
                  </a:lnTo>
                  <a:lnTo>
                    <a:pt x="386" y="364"/>
                  </a:lnTo>
                  <a:lnTo>
                    <a:pt x="386" y="360"/>
                  </a:lnTo>
                  <a:lnTo>
                    <a:pt x="386" y="356"/>
                  </a:lnTo>
                  <a:lnTo>
                    <a:pt x="386" y="352"/>
                  </a:lnTo>
                  <a:lnTo>
                    <a:pt x="388" y="340"/>
                  </a:lnTo>
                  <a:lnTo>
                    <a:pt x="390" y="336"/>
                  </a:lnTo>
                  <a:lnTo>
                    <a:pt x="396" y="322"/>
                  </a:lnTo>
                  <a:lnTo>
                    <a:pt x="398" y="318"/>
                  </a:lnTo>
                  <a:lnTo>
                    <a:pt x="402" y="300"/>
                  </a:lnTo>
                  <a:lnTo>
                    <a:pt x="406" y="278"/>
                  </a:lnTo>
                  <a:lnTo>
                    <a:pt x="406" y="244"/>
                  </a:lnTo>
                  <a:lnTo>
                    <a:pt x="406" y="214"/>
                  </a:lnTo>
                  <a:lnTo>
                    <a:pt x="402" y="184"/>
                  </a:lnTo>
                  <a:lnTo>
                    <a:pt x="396" y="172"/>
                  </a:lnTo>
                  <a:lnTo>
                    <a:pt x="394" y="168"/>
                  </a:lnTo>
                  <a:lnTo>
                    <a:pt x="390" y="150"/>
                  </a:lnTo>
                  <a:lnTo>
                    <a:pt x="388" y="146"/>
                  </a:lnTo>
                  <a:lnTo>
                    <a:pt x="382" y="126"/>
                  </a:lnTo>
                  <a:lnTo>
                    <a:pt x="380" y="122"/>
                  </a:lnTo>
                  <a:lnTo>
                    <a:pt x="376" y="116"/>
                  </a:lnTo>
                  <a:lnTo>
                    <a:pt x="366" y="102"/>
                  </a:lnTo>
                  <a:lnTo>
                    <a:pt x="352" y="84"/>
                  </a:lnTo>
                  <a:lnTo>
                    <a:pt x="344" y="78"/>
                  </a:lnTo>
                  <a:lnTo>
                    <a:pt x="334" y="70"/>
                  </a:lnTo>
                  <a:lnTo>
                    <a:pt x="306" y="52"/>
                  </a:lnTo>
                  <a:lnTo>
                    <a:pt x="296" y="44"/>
                  </a:lnTo>
                  <a:lnTo>
                    <a:pt x="292" y="42"/>
                  </a:lnTo>
                  <a:lnTo>
                    <a:pt x="270" y="26"/>
                  </a:lnTo>
                  <a:lnTo>
                    <a:pt x="268" y="22"/>
                  </a:lnTo>
                  <a:lnTo>
                    <a:pt x="254" y="1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latin typeface="Calibri" pitchFamily="-112" charset="0"/>
              </a:endParaRPr>
            </a:p>
          </p:txBody>
        </p:sp>
        <p:sp>
          <p:nvSpPr>
            <p:cNvPr id="48" name="Freeform 258"/>
            <p:cNvSpPr>
              <a:spLocks/>
            </p:cNvSpPr>
            <p:nvPr/>
          </p:nvSpPr>
          <p:spPr bwMode="auto">
            <a:xfrm>
              <a:off x="-688478" y="2262171"/>
              <a:ext cx="628367" cy="737123"/>
            </a:xfrm>
            <a:custGeom>
              <a:avLst/>
              <a:gdLst>
                <a:gd name="T0" fmla="*/ 2147483647 w 208"/>
                <a:gd name="T1" fmla="*/ 2147483647 h 244"/>
                <a:gd name="T2" fmla="*/ 2147483647 w 208"/>
                <a:gd name="T3" fmla="*/ 0 h 244"/>
                <a:gd name="T4" fmla="*/ 2147483647 w 208"/>
                <a:gd name="T5" fmla="*/ 2147483647 h 244"/>
                <a:gd name="T6" fmla="*/ 2147483647 w 208"/>
                <a:gd name="T7" fmla="*/ 2147483647 h 244"/>
                <a:gd name="T8" fmla="*/ 2147483647 w 208"/>
                <a:gd name="T9" fmla="*/ 2147483647 h 244"/>
                <a:gd name="T10" fmla="*/ 2147483647 w 208"/>
                <a:gd name="T11" fmla="*/ 2147483647 h 244"/>
                <a:gd name="T12" fmla="*/ 2147483647 w 208"/>
                <a:gd name="T13" fmla="*/ 2147483647 h 244"/>
                <a:gd name="T14" fmla="*/ 2147483647 w 208"/>
                <a:gd name="T15" fmla="*/ 2147483647 h 244"/>
                <a:gd name="T16" fmla="*/ 2147483647 w 208"/>
                <a:gd name="T17" fmla="*/ 2147483647 h 244"/>
                <a:gd name="T18" fmla="*/ 2147483647 w 208"/>
                <a:gd name="T19" fmla="*/ 2147483647 h 244"/>
                <a:gd name="T20" fmla="*/ 2147483647 w 208"/>
                <a:gd name="T21" fmla="*/ 2147483647 h 244"/>
                <a:gd name="T22" fmla="*/ 2147483647 w 208"/>
                <a:gd name="T23" fmla="*/ 2147483647 h 244"/>
                <a:gd name="T24" fmla="*/ 2147483647 w 208"/>
                <a:gd name="T25" fmla="*/ 2147483647 h 244"/>
                <a:gd name="T26" fmla="*/ 2147483647 w 208"/>
                <a:gd name="T27" fmla="*/ 2147483647 h 244"/>
                <a:gd name="T28" fmla="*/ 2147483647 w 208"/>
                <a:gd name="T29" fmla="*/ 2147483647 h 244"/>
                <a:gd name="T30" fmla="*/ 2147483647 w 208"/>
                <a:gd name="T31" fmla="*/ 2147483647 h 244"/>
                <a:gd name="T32" fmla="*/ 2147483647 w 208"/>
                <a:gd name="T33" fmla="*/ 2147483647 h 244"/>
                <a:gd name="T34" fmla="*/ 2147483647 w 208"/>
                <a:gd name="T35" fmla="*/ 2147483647 h 244"/>
                <a:gd name="T36" fmla="*/ 2147483647 w 208"/>
                <a:gd name="T37" fmla="*/ 2147483647 h 244"/>
                <a:gd name="T38" fmla="*/ 2147483647 w 208"/>
                <a:gd name="T39" fmla="*/ 2147483647 h 244"/>
                <a:gd name="T40" fmla="*/ 2147483647 w 208"/>
                <a:gd name="T41" fmla="*/ 2147483647 h 244"/>
                <a:gd name="T42" fmla="*/ 0 w 208"/>
                <a:gd name="T43" fmla="*/ 2147483647 h 244"/>
                <a:gd name="T44" fmla="*/ 0 w 208"/>
                <a:gd name="T45" fmla="*/ 2147483647 h 244"/>
                <a:gd name="T46" fmla="*/ 2147483647 w 208"/>
                <a:gd name="T47" fmla="*/ 2147483647 h 244"/>
                <a:gd name="T48" fmla="*/ 2147483647 w 208"/>
                <a:gd name="T49" fmla="*/ 2147483647 h 244"/>
                <a:gd name="T50" fmla="*/ 2147483647 w 208"/>
                <a:gd name="T51" fmla="*/ 2147483647 h 244"/>
                <a:gd name="T52" fmla="*/ 2147483647 w 208"/>
                <a:gd name="T53" fmla="*/ 2147483647 h 244"/>
                <a:gd name="T54" fmla="*/ 2147483647 w 208"/>
                <a:gd name="T55" fmla="*/ 2147483647 h 244"/>
                <a:gd name="T56" fmla="*/ 2147483647 w 208"/>
                <a:gd name="T57" fmla="*/ 2147483647 h 244"/>
                <a:gd name="T58" fmla="*/ 2147483647 w 208"/>
                <a:gd name="T59" fmla="*/ 2147483647 h 244"/>
                <a:gd name="T60" fmla="*/ 2147483647 w 208"/>
                <a:gd name="T61" fmla="*/ 2147483647 h 244"/>
                <a:gd name="T62" fmla="*/ 2147483647 w 208"/>
                <a:gd name="T63" fmla="*/ 2147483647 h 244"/>
                <a:gd name="T64" fmla="*/ 2147483647 w 208"/>
                <a:gd name="T65" fmla="*/ 2147483647 h 244"/>
                <a:gd name="T66" fmla="*/ 2147483647 w 208"/>
                <a:gd name="T67" fmla="*/ 2147483647 h 244"/>
                <a:gd name="T68" fmla="*/ 2147483647 w 208"/>
                <a:gd name="T69" fmla="*/ 2147483647 h 244"/>
                <a:gd name="T70" fmla="*/ 2147483647 w 208"/>
                <a:gd name="T71" fmla="*/ 2147483647 h 244"/>
                <a:gd name="T72" fmla="*/ 2147483647 w 208"/>
                <a:gd name="T73" fmla="*/ 2147483647 h 244"/>
                <a:gd name="T74" fmla="*/ 2147483647 w 208"/>
                <a:gd name="T75" fmla="*/ 2147483647 h 244"/>
                <a:gd name="T76" fmla="*/ 2147483647 w 208"/>
                <a:gd name="T77" fmla="*/ 2147483647 h 244"/>
                <a:gd name="T78" fmla="*/ 2147483647 w 208"/>
                <a:gd name="T79" fmla="*/ 2147483647 h 244"/>
                <a:gd name="T80" fmla="*/ 2147483647 w 208"/>
                <a:gd name="T81" fmla="*/ 2147483647 h 244"/>
                <a:gd name="T82" fmla="*/ 2147483647 w 208"/>
                <a:gd name="T83" fmla="*/ 2147483647 h 244"/>
                <a:gd name="T84" fmla="*/ 2147483647 w 208"/>
                <a:gd name="T85" fmla="*/ 2147483647 h 244"/>
                <a:gd name="T86" fmla="*/ 2147483647 w 208"/>
                <a:gd name="T87" fmla="*/ 2147483647 h 244"/>
                <a:gd name="T88" fmla="*/ 2147483647 w 208"/>
                <a:gd name="T89" fmla="*/ 2147483647 h 244"/>
                <a:gd name="T90" fmla="*/ 2147483647 w 208"/>
                <a:gd name="T91" fmla="*/ 2147483647 h 244"/>
                <a:gd name="T92" fmla="*/ 2147483647 w 208"/>
                <a:gd name="T93" fmla="*/ 2147483647 h 244"/>
                <a:gd name="T94" fmla="*/ 2147483647 w 208"/>
                <a:gd name="T95" fmla="*/ 2147483647 h 244"/>
                <a:gd name="T96" fmla="*/ 2147483647 w 208"/>
                <a:gd name="T97" fmla="*/ 2147483647 h 244"/>
                <a:gd name="T98" fmla="*/ 2147483647 w 208"/>
                <a:gd name="T99" fmla="*/ 2147483647 h 244"/>
                <a:gd name="T100" fmla="*/ 2147483647 w 208"/>
                <a:gd name="T101" fmla="*/ 2147483647 h 244"/>
                <a:gd name="T102" fmla="*/ 2147483647 w 208"/>
                <a:gd name="T103" fmla="*/ 2147483647 h 244"/>
                <a:gd name="T104" fmla="*/ 2147483647 w 208"/>
                <a:gd name="T105" fmla="*/ 2147483647 h 244"/>
                <a:gd name="T106" fmla="*/ 2147483647 w 208"/>
                <a:gd name="T107" fmla="*/ 2147483647 h 244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208"/>
                <a:gd name="T163" fmla="*/ 0 h 244"/>
                <a:gd name="T164" fmla="*/ 208 w 208"/>
                <a:gd name="T165" fmla="*/ 244 h 244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208" h="244">
                  <a:moveTo>
                    <a:pt x="188" y="36"/>
                  </a:moveTo>
                  <a:lnTo>
                    <a:pt x="188" y="36"/>
                  </a:lnTo>
                  <a:lnTo>
                    <a:pt x="184" y="36"/>
                  </a:lnTo>
                  <a:lnTo>
                    <a:pt x="208" y="0"/>
                  </a:lnTo>
                  <a:lnTo>
                    <a:pt x="196" y="12"/>
                  </a:lnTo>
                  <a:lnTo>
                    <a:pt x="172" y="38"/>
                  </a:lnTo>
                  <a:lnTo>
                    <a:pt x="164" y="44"/>
                  </a:lnTo>
                  <a:lnTo>
                    <a:pt x="162" y="48"/>
                  </a:lnTo>
                  <a:lnTo>
                    <a:pt x="154" y="54"/>
                  </a:lnTo>
                  <a:lnTo>
                    <a:pt x="150" y="56"/>
                  </a:lnTo>
                  <a:lnTo>
                    <a:pt x="134" y="72"/>
                  </a:lnTo>
                  <a:lnTo>
                    <a:pt x="130" y="74"/>
                  </a:lnTo>
                  <a:lnTo>
                    <a:pt x="116" y="84"/>
                  </a:lnTo>
                  <a:lnTo>
                    <a:pt x="112" y="86"/>
                  </a:lnTo>
                  <a:lnTo>
                    <a:pt x="100" y="96"/>
                  </a:lnTo>
                  <a:lnTo>
                    <a:pt x="96" y="98"/>
                  </a:lnTo>
                  <a:lnTo>
                    <a:pt x="86" y="104"/>
                  </a:lnTo>
                  <a:lnTo>
                    <a:pt x="66" y="114"/>
                  </a:lnTo>
                  <a:lnTo>
                    <a:pt x="64" y="116"/>
                  </a:lnTo>
                  <a:lnTo>
                    <a:pt x="54" y="122"/>
                  </a:lnTo>
                  <a:lnTo>
                    <a:pt x="50" y="124"/>
                  </a:lnTo>
                  <a:lnTo>
                    <a:pt x="32" y="134"/>
                  </a:lnTo>
                  <a:lnTo>
                    <a:pt x="30" y="136"/>
                  </a:lnTo>
                  <a:lnTo>
                    <a:pt x="22" y="140"/>
                  </a:lnTo>
                  <a:lnTo>
                    <a:pt x="18" y="140"/>
                  </a:lnTo>
                  <a:lnTo>
                    <a:pt x="12" y="144"/>
                  </a:lnTo>
                  <a:lnTo>
                    <a:pt x="10" y="146"/>
                  </a:lnTo>
                  <a:lnTo>
                    <a:pt x="4" y="146"/>
                  </a:lnTo>
                  <a:lnTo>
                    <a:pt x="0" y="148"/>
                  </a:lnTo>
                  <a:lnTo>
                    <a:pt x="0" y="152"/>
                  </a:lnTo>
                  <a:lnTo>
                    <a:pt x="0" y="168"/>
                  </a:lnTo>
                  <a:lnTo>
                    <a:pt x="2" y="186"/>
                  </a:lnTo>
                  <a:lnTo>
                    <a:pt x="4" y="194"/>
                  </a:lnTo>
                  <a:lnTo>
                    <a:pt x="4" y="200"/>
                  </a:lnTo>
                  <a:lnTo>
                    <a:pt x="4" y="204"/>
                  </a:lnTo>
                  <a:lnTo>
                    <a:pt x="6" y="216"/>
                  </a:lnTo>
                  <a:lnTo>
                    <a:pt x="10" y="230"/>
                  </a:lnTo>
                  <a:lnTo>
                    <a:pt x="12" y="234"/>
                  </a:lnTo>
                  <a:lnTo>
                    <a:pt x="14" y="236"/>
                  </a:lnTo>
                  <a:lnTo>
                    <a:pt x="18" y="240"/>
                  </a:lnTo>
                  <a:lnTo>
                    <a:pt x="20" y="242"/>
                  </a:lnTo>
                  <a:lnTo>
                    <a:pt x="24" y="244"/>
                  </a:lnTo>
                  <a:lnTo>
                    <a:pt x="32" y="244"/>
                  </a:lnTo>
                  <a:lnTo>
                    <a:pt x="40" y="244"/>
                  </a:lnTo>
                  <a:lnTo>
                    <a:pt x="52" y="240"/>
                  </a:lnTo>
                  <a:lnTo>
                    <a:pt x="54" y="236"/>
                  </a:lnTo>
                  <a:lnTo>
                    <a:pt x="54" y="234"/>
                  </a:lnTo>
                  <a:lnTo>
                    <a:pt x="58" y="230"/>
                  </a:lnTo>
                  <a:lnTo>
                    <a:pt x="64" y="226"/>
                  </a:lnTo>
                  <a:lnTo>
                    <a:pt x="68" y="222"/>
                  </a:lnTo>
                  <a:lnTo>
                    <a:pt x="76" y="220"/>
                  </a:lnTo>
                  <a:lnTo>
                    <a:pt x="86" y="216"/>
                  </a:lnTo>
                  <a:lnTo>
                    <a:pt x="90" y="216"/>
                  </a:lnTo>
                  <a:lnTo>
                    <a:pt x="92" y="214"/>
                  </a:lnTo>
                  <a:lnTo>
                    <a:pt x="112" y="202"/>
                  </a:lnTo>
                  <a:lnTo>
                    <a:pt x="132" y="194"/>
                  </a:lnTo>
                  <a:lnTo>
                    <a:pt x="136" y="192"/>
                  </a:lnTo>
                  <a:lnTo>
                    <a:pt x="164" y="184"/>
                  </a:lnTo>
                  <a:lnTo>
                    <a:pt x="168" y="182"/>
                  </a:lnTo>
                  <a:lnTo>
                    <a:pt x="178" y="182"/>
                  </a:lnTo>
                  <a:lnTo>
                    <a:pt x="180" y="180"/>
                  </a:lnTo>
                  <a:lnTo>
                    <a:pt x="182" y="180"/>
                  </a:lnTo>
                  <a:lnTo>
                    <a:pt x="188" y="168"/>
                  </a:lnTo>
                  <a:lnTo>
                    <a:pt x="196" y="152"/>
                  </a:lnTo>
                  <a:lnTo>
                    <a:pt x="200" y="126"/>
                  </a:lnTo>
                  <a:lnTo>
                    <a:pt x="202" y="110"/>
                  </a:lnTo>
                  <a:lnTo>
                    <a:pt x="204" y="90"/>
                  </a:lnTo>
                  <a:lnTo>
                    <a:pt x="202" y="66"/>
                  </a:lnTo>
                  <a:lnTo>
                    <a:pt x="194" y="50"/>
                  </a:lnTo>
                  <a:lnTo>
                    <a:pt x="188" y="3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latin typeface="Calibri" pitchFamily="-112" charset="0"/>
              </a:endParaRPr>
            </a:p>
          </p:txBody>
        </p:sp>
        <p:sp>
          <p:nvSpPr>
            <p:cNvPr id="49" name="Freeform 259"/>
            <p:cNvSpPr>
              <a:spLocks/>
            </p:cNvSpPr>
            <p:nvPr/>
          </p:nvSpPr>
          <p:spPr bwMode="auto">
            <a:xfrm>
              <a:off x="-2380235" y="1482755"/>
              <a:ext cx="827753" cy="1818639"/>
            </a:xfrm>
            <a:custGeom>
              <a:avLst/>
              <a:gdLst>
                <a:gd name="T0" fmla="*/ 2147483647 w 274"/>
                <a:gd name="T1" fmla="*/ 0 h 602"/>
                <a:gd name="T2" fmla="*/ 2147483647 w 274"/>
                <a:gd name="T3" fmla="*/ 2147483647 h 602"/>
                <a:gd name="T4" fmla="*/ 2147483647 w 274"/>
                <a:gd name="T5" fmla="*/ 2147483647 h 602"/>
                <a:gd name="T6" fmla="*/ 2147483647 w 274"/>
                <a:gd name="T7" fmla="*/ 2147483647 h 602"/>
                <a:gd name="T8" fmla="*/ 2147483647 w 274"/>
                <a:gd name="T9" fmla="*/ 2147483647 h 602"/>
                <a:gd name="T10" fmla="*/ 2147483647 w 274"/>
                <a:gd name="T11" fmla="*/ 2147483647 h 602"/>
                <a:gd name="T12" fmla="*/ 2147483647 w 274"/>
                <a:gd name="T13" fmla="*/ 2147483647 h 602"/>
                <a:gd name="T14" fmla="*/ 2147483647 w 274"/>
                <a:gd name="T15" fmla="*/ 2147483647 h 602"/>
                <a:gd name="T16" fmla="*/ 2147483647 w 274"/>
                <a:gd name="T17" fmla="*/ 2147483647 h 602"/>
                <a:gd name="T18" fmla="*/ 2147483647 w 274"/>
                <a:gd name="T19" fmla="*/ 2147483647 h 602"/>
                <a:gd name="T20" fmla="*/ 2147483647 w 274"/>
                <a:gd name="T21" fmla="*/ 2147483647 h 602"/>
                <a:gd name="T22" fmla="*/ 2147483647 w 274"/>
                <a:gd name="T23" fmla="*/ 2147483647 h 602"/>
                <a:gd name="T24" fmla="*/ 2147483647 w 274"/>
                <a:gd name="T25" fmla="*/ 2147483647 h 602"/>
                <a:gd name="T26" fmla="*/ 2147483647 w 274"/>
                <a:gd name="T27" fmla="*/ 2147483647 h 602"/>
                <a:gd name="T28" fmla="*/ 2147483647 w 274"/>
                <a:gd name="T29" fmla="*/ 2147483647 h 602"/>
                <a:gd name="T30" fmla="*/ 2147483647 w 274"/>
                <a:gd name="T31" fmla="*/ 2147483647 h 602"/>
                <a:gd name="T32" fmla="*/ 2147483647 w 274"/>
                <a:gd name="T33" fmla="*/ 2147483647 h 602"/>
                <a:gd name="T34" fmla="*/ 2147483647 w 274"/>
                <a:gd name="T35" fmla="*/ 2147483647 h 602"/>
                <a:gd name="T36" fmla="*/ 2147483647 w 274"/>
                <a:gd name="T37" fmla="*/ 2147483647 h 602"/>
                <a:gd name="T38" fmla="*/ 2147483647 w 274"/>
                <a:gd name="T39" fmla="*/ 2147483647 h 602"/>
                <a:gd name="T40" fmla="*/ 2147483647 w 274"/>
                <a:gd name="T41" fmla="*/ 2147483647 h 602"/>
                <a:gd name="T42" fmla="*/ 2147483647 w 274"/>
                <a:gd name="T43" fmla="*/ 2147483647 h 602"/>
                <a:gd name="T44" fmla="*/ 2147483647 w 274"/>
                <a:gd name="T45" fmla="*/ 2147483647 h 602"/>
                <a:gd name="T46" fmla="*/ 2147483647 w 274"/>
                <a:gd name="T47" fmla="*/ 2147483647 h 602"/>
                <a:gd name="T48" fmla="*/ 2147483647 w 274"/>
                <a:gd name="T49" fmla="*/ 2147483647 h 602"/>
                <a:gd name="T50" fmla="*/ 2147483647 w 274"/>
                <a:gd name="T51" fmla="*/ 2147483647 h 602"/>
                <a:gd name="T52" fmla="*/ 2147483647 w 274"/>
                <a:gd name="T53" fmla="*/ 2147483647 h 602"/>
                <a:gd name="T54" fmla="*/ 2147483647 w 274"/>
                <a:gd name="T55" fmla="*/ 2147483647 h 602"/>
                <a:gd name="T56" fmla="*/ 2147483647 w 274"/>
                <a:gd name="T57" fmla="*/ 2147483647 h 602"/>
                <a:gd name="T58" fmla="*/ 0 w 274"/>
                <a:gd name="T59" fmla="*/ 2147483647 h 602"/>
                <a:gd name="T60" fmla="*/ 0 w 274"/>
                <a:gd name="T61" fmla="*/ 2147483647 h 602"/>
                <a:gd name="T62" fmla="*/ 0 w 274"/>
                <a:gd name="T63" fmla="*/ 2147483647 h 602"/>
                <a:gd name="T64" fmla="*/ 2147483647 w 274"/>
                <a:gd name="T65" fmla="*/ 2147483647 h 602"/>
                <a:gd name="T66" fmla="*/ 2147483647 w 274"/>
                <a:gd name="T67" fmla="*/ 2147483647 h 602"/>
                <a:gd name="T68" fmla="*/ 2147483647 w 274"/>
                <a:gd name="T69" fmla="*/ 2147483647 h 602"/>
                <a:gd name="T70" fmla="*/ 2147483647 w 274"/>
                <a:gd name="T71" fmla="*/ 2147483647 h 602"/>
                <a:gd name="T72" fmla="*/ 2147483647 w 274"/>
                <a:gd name="T73" fmla="*/ 2147483647 h 602"/>
                <a:gd name="T74" fmla="*/ 2147483647 w 274"/>
                <a:gd name="T75" fmla="*/ 2147483647 h 602"/>
                <a:gd name="T76" fmla="*/ 2147483647 w 274"/>
                <a:gd name="T77" fmla="*/ 2147483647 h 602"/>
                <a:gd name="T78" fmla="*/ 2147483647 w 274"/>
                <a:gd name="T79" fmla="*/ 2147483647 h 602"/>
                <a:gd name="T80" fmla="*/ 2147483647 w 274"/>
                <a:gd name="T81" fmla="*/ 2147483647 h 602"/>
                <a:gd name="T82" fmla="*/ 2147483647 w 274"/>
                <a:gd name="T83" fmla="*/ 2147483647 h 602"/>
                <a:gd name="T84" fmla="*/ 2147483647 w 274"/>
                <a:gd name="T85" fmla="*/ 2147483647 h 602"/>
                <a:gd name="T86" fmla="*/ 2147483647 w 274"/>
                <a:gd name="T87" fmla="*/ 2147483647 h 602"/>
                <a:gd name="T88" fmla="*/ 2147483647 w 274"/>
                <a:gd name="T89" fmla="*/ 2147483647 h 602"/>
                <a:gd name="T90" fmla="*/ 2147483647 w 274"/>
                <a:gd name="T91" fmla="*/ 2147483647 h 602"/>
                <a:gd name="T92" fmla="*/ 2147483647 w 274"/>
                <a:gd name="T93" fmla="*/ 2147483647 h 602"/>
                <a:gd name="T94" fmla="*/ 2147483647 w 274"/>
                <a:gd name="T95" fmla="*/ 2147483647 h 602"/>
                <a:gd name="T96" fmla="*/ 2147483647 w 274"/>
                <a:gd name="T97" fmla="*/ 2147483647 h 602"/>
                <a:gd name="T98" fmla="*/ 2147483647 w 274"/>
                <a:gd name="T99" fmla="*/ 2147483647 h 602"/>
                <a:gd name="T100" fmla="*/ 2147483647 w 274"/>
                <a:gd name="T101" fmla="*/ 2147483647 h 602"/>
                <a:gd name="T102" fmla="*/ 2147483647 w 274"/>
                <a:gd name="T103" fmla="*/ 2147483647 h 602"/>
                <a:gd name="T104" fmla="*/ 2147483647 w 274"/>
                <a:gd name="T105" fmla="*/ 2147483647 h 602"/>
                <a:gd name="T106" fmla="*/ 2147483647 w 274"/>
                <a:gd name="T107" fmla="*/ 2147483647 h 602"/>
                <a:gd name="T108" fmla="*/ 2147483647 w 274"/>
                <a:gd name="T109" fmla="*/ 2147483647 h 602"/>
                <a:gd name="T110" fmla="*/ 2147483647 w 274"/>
                <a:gd name="T111" fmla="*/ 2147483647 h 602"/>
                <a:gd name="T112" fmla="*/ 2147483647 w 274"/>
                <a:gd name="T113" fmla="*/ 2147483647 h 602"/>
                <a:gd name="T114" fmla="*/ 2147483647 w 274"/>
                <a:gd name="T115" fmla="*/ 2147483647 h 602"/>
                <a:gd name="T116" fmla="*/ 2147483647 w 274"/>
                <a:gd name="T117" fmla="*/ 2147483647 h 602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274"/>
                <a:gd name="T178" fmla="*/ 0 h 602"/>
                <a:gd name="T179" fmla="*/ 274 w 274"/>
                <a:gd name="T180" fmla="*/ 602 h 602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274" h="602">
                  <a:moveTo>
                    <a:pt x="124" y="0"/>
                  </a:moveTo>
                  <a:lnTo>
                    <a:pt x="124" y="0"/>
                  </a:lnTo>
                  <a:lnTo>
                    <a:pt x="120" y="2"/>
                  </a:lnTo>
                  <a:lnTo>
                    <a:pt x="116" y="4"/>
                  </a:lnTo>
                  <a:lnTo>
                    <a:pt x="108" y="40"/>
                  </a:lnTo>
                  <a:lnTo>
                    <a:pt x="108" y="44"/>
                  </a:lnTo>
                  <a:lnTo>
                    <a:pt x="98" y="64"/>
                  </a:lnTo>
                  <a:lnTo>
                    <a:pt x="96" y="68"/>
                  </a:lnTo>
                  <a:lnTo>
                    <a:pt x="80" y="88"/>
                  </a:lnTo>
                  <a:lnTo>
                    <a:pt x="52" y="140"/>
                  </a:lnTo>
                  <a:lnTo>
                    <a:pt x="50" y="144"/>
                  </a:lnTo>
                  <a:lnTo>
                    <a:pt x="46" y="152"/>
                  </a:lnTo>
                  <a:lnTo>
                    <a:pt x="46" y="154"/>
                  </a:lnTo>
                  <a:lnTo>
                    <a:pt x="44" y="172"/>
                  </a:lnTo>
                  <a:lnTo>
                    <a:pt x="42" y="180"/>
                  </a:lnTo>
                  <a:lnTo>
                    <a:pt x="42" y="194"/>
                  </a:lnTo>
                  <a:lnTo>
                    <a:pt x="42" y="238"/>
                  </a:lnTo>
                  <a:lnTo>
                    <a:pt x="42" y="256"/>
                  </a:lnTo>
                  <a:lnTo>
                    <a:pt x="42" y="268"/>
                  </a:lnTo>
                  <a:lnTo>
                    <a:pt x="44" y="282"/>
                  </a:lnTo>
                  <a:lnTo>
                    <a:pt x="44" y="294"/>
                  </a:lnTo>
                  <a:lnTo>
                    <a:pt x="44" y="298"/>
                  </a:lnTo>
                  <a:lnTo>
                    <a:pt x="48" y="328"/>
                  </a:lnTo>
                  <a:lnTo>
                    <a:pt x="48" y="360"/>
                  </a:lnTo>
                  <a:lnTo>
                    <a:pt x="48" y="386"/>
                  </a:lnTo>
                  <a:lnTo>
                    <a:pt x="46" y="394"/>
                  </a:lnTo>
                  <a:lnTo>
                    <a:pt x="42" y="404"/>
                  </a:lnTo>
                  <a:lnTo>
                    <a:pt x="36" y="460"/>
                  </a:lnTo>
                  <a:lnTo>
                    <a:pt x="36" y="464"/>
                  </a:lnTo>
                  <a:lnTo>
                    <a:pt x="32" y="476"/>
                  </a:lnTo>
                  <a:lnTo>
                    <a:pt x="24" y="494"/>
                  </a:lnTo>
                  <a:lnTo>
                    <a:pt x="24" y="498"/>
                  </a:lnTo>
                  <a:lnTo>
                    <a:pt x="18" y="514"/>
                  </a:lnTo>
                  <a:lnTo>
                    <a:pt x="12" y="534"/>
                  </a:lnTo>
                  <a:lnTo>
                    <a:pt x="6" y="580"/>
                  </a:lnTo>
                  <a:lnTo>
                    <a:pt x="4" y="584"/>
                  </a:lnTo>
                  <a:lnTo>
                    <a:pt x="0" y="594"/>
                  </a:lnTo>
                  <a:lnTo>
                    <a:pt x="0" y="596"/>
                  </a:lnTo>
                  <a:lnTo>
                    <a:pt x="64" y="596"/>
                  </a:lnTo>
                  <a:lnTo>
                    <a:pt x="144" y="596"/>
                  </a:lnTo>
                  <a:lnTo>
                    <a:pt x="148" y="596"/>
                  </a:lnTo>
                  <a:lnTo>
                    <a:pt x="208" y="600"/>
                  </a:lnTo>
                  <a:lnTo>
                    <a:pt x="212" y="600"/>
                  </a:lnTo>
                  <a:lnTo>
                    <a:pt x="230" y="600"/>
                  </a:lnTo>
                  <a:lnTo>
                    <a:pt x="234" y="598"/>
                  </a:lnTo>
                  <a:lnTo>
                    <a:pt x="268" y="602"/>
                  </a:lnTo>
                  <a:lnTo>
                    <a:pt x="270" y="600"/>
                  </a:lnTo>
                  <a:lnTo>
                    <a:pt x="274" y="586"/>
                  </a:lnTo>
                  <a:lnTo>
                    <a:pt x="274" y="582"/>
                  </a:lnTo>
                  <a:lnTo>
                    <a:pt x="264" y="550"/>
                  </a:lnTo>
                  <a:lnTo>
                    <a:pt x="264" y="546"/>
                  </a:lnTo>
                  <a:lnTo>
                    <a:pt x="260" y="460"/>
                  </a:lnTo>
                  <a:lnTo>
                    <a:pt x="260" y="456"/>
                  </a:lnTo>
                  <a:lnTo>
                    <a:pt x="256" y="400"/>
                  </a:lnTo>
                  <a:lnTo>
                    <a:pt x="256" y="396"/>
                  </a:lnTo>
                  <a:lnTo>
                    <a:pt x="254" y="386"/>
                  </a:lnTo>
                  <a:lnTo>
                    <a:pt x="256" y="374"/>
                  </a:lnTo>
                  <a:lnTo>
                    <a:pt x="258" y="366"/>
                  </a:lnTo>
                  <a:lnTo>
                    <a:pt x="258" y="360"/>
                  </a:lnTo>
                  <a:lnTo>
                    <a:pt x="260" y="352"/>
                  </a:lnTo>
                  <a:lnTo>
                    <a:pt x="268" y="318"/>
                  </a:lnTo>
                  <a:lnTo>
                    <a:pt x="274" y="290"/>
                  </a:lnTo>
                  <a:lnTo>
                    <a:pt x="274" y="286"/>
                  </a:lnTo>
                  <a:lnTo>
                    <a:pt x="252" y="186"/>
                  </a:lnTo>
                  <a:lnTo>
                    <a:pt x="250" y="182"/>
                  </a:lnTo>
                  <a:lnTo>
                    <a:pt x="238" y="158"/>
                  </a:lnTo>
                  <a:lnTo>
                    <a:pt x="236" y="154"/>
                  </a:lnTo>
                  <a:lnTo>
                    <a:pt x="204" y="102"/>
                  </a:lnTo>
                  <a:lnTo>
                    <a:pt x="202" y="100"/>
                  </a:lnTo>
                  <a:lnTo>
                    <a:pt x="180" y="70"/>
                  </a:lnTo>
                  <a:lnTo>
                    <a:pt x="178" y="68"/>
                  </a:lnTo>
                  <a:lnTo>
                    <a:pt x="164" y="58"/>
                  </a:lnTo>
                  <a:lnTo>
                    <a:pt x="162" y="56"/>
                  </a:lnTo>
                  <a:lnTo>
                    <a:pt x="12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latin typeface="Calibri" pitchFamily="-112" charset="0"/>
              </a:endParaRPr>
            </a:p>
          </p:txBody>
        </p:sp>
        <p:sp>
          <p:nvSpPr>
            <p:cNvPr id="50" name="Freeform 260"/>
            <p:cNvSpPr>
              <a:spLocks/>
            </p:cNvSpPr>
            <p:nvPr/>
          </p:nvSpPr>
          <p:spPr bwMode="auto">
            <a:xfrm>
              <a:off x="-1709574" y="2455515"/>
              <a:ext cx="839837" cy="586073"/>
            </a:xfrm>
            <a:custGeom>
              <a:avLst/>
              <a:gdLst>
                <a:gd name="T0" fmla="*/ 2147483647 w 278"/>
                <a:gd name="T1" fmla="*/ 2147483647 h 194"/>
                <a:gd name="T2" fmla="*/ 0 w 278"/>
                <a:gd name="T3" fmla="*/ 2147483647 h 194"/>
                <a:gd name="T4" fmla="*/ 2147483647 w 278"/>
                <a:gd name="T5" fmla="*/ 2147483647 h 194"/>
                <a:gd name="T6" fmla="*/ 2147483647 w 278"/>
                <a:gd name="T7" fmla="*/ 2147483647 h 194"/>
                <a:gd name="T8" fmla="*/ 2147483647 w 278"/>
                <a:gd name="T9" fmla="*/ 2147483647 h 194"/>
                <a:gd name="T10" fmla="*/ 2147483647 w 278"/>
                <a:gd name="T11" fmla="*/ 2147483647 h 194"/>
                <a:gd name="T12" fmla="*/ 2147483647 w 278"/>
                <a:gd name="T13" fmla="*/ 2147483647 h 194"/>
                <a:gd name="T14" fmla="*/ 2147483647 w 278"/>
                <a:gd name="T15" fmla="*/ 2147483647 h 194"/>
                <a:gd name="T16" fmla="*/ 2147483647 w 278"/>
                <a:gd name="T17" fmla="*/ 2147483647 h 194"/>
                <a:gd name="T18" fmla="*/ 2147483647 w 278"/>
                <a:gd name="T19" fmla="*/ 2147483647 h 194"/>
                <a:gd name="T20" fmla="*/ 2147483647 w 278"/>
                <a:gd name="T21" fmla="*/ 2147483647 h 194"/>
                <a:gd name="T22" fmla="*/ 2147483647 w 278"/>
                <a:gd name="T23" fmla="*/ 2147483647 h 194"/>
                <a:gd name="T24" fmla="*/ 2147483647 w 278"/>
                <a:gd name="T25" fmla="*/ 2147483647 h 194"/>
                <a:gd name="T26" fmla="*/ 2147483647 w 278"/>
                <a:gd name="T27" fmla="*/ 2147483647 h 194"/>
                <a:gd name="T28" fmla="*/ 2147483647 w 278"/>
                <a:gd name="T29" fmla="*/ 2147483647 h 194"/>
                <a:gd name="T30" fmla="*/ 2147483647 w 278"/>
                <a:gd name="T31" fmla="*/ 2147483647 h 194"/>
                <a:gd name="T32" fmla="*/ 2147483647 w 278"/>
                <a:gd name="T33" fmla="*/ 2147483647 h 194"/>
                <a:gd name="T34" fmla="*/ 2147483647 w 278"/>
                <a:gd name="T35" fmla="*/ 2147483647 h 194"/>
                <a:gd name="T36" fmla="*/ 2147483647 w 278"/>
                <a:gd name="T37" fmla="*/ 2147483647 h 194"/>
                <a:gd name="T38" fmla="*/ 2147483647 w 278"/>
                <a:gd name="T39" fmla="*/ 2147483647 h 194"/>
                <a:gd name="T40" fmla="*/ 2147483647 w 278"/>
                <a:gd name="T41" fmla="*/ 2147483647 h 194"/>
                <a:gd name="T42" fmla="*/ 2147483647 w 278"/>
                <a:gd name="T43" fmla="*/ 2147483647 h 194"/>
                <a:gd name="T44" fmla="*/ 2147483647 w 278"/>
                <a:gd name="T45" fmla="*/ 2147483647 h 194"/>
                <a:gd name="T46" fmla="*/ 2147483647 w 278"/>
                <a:gd name="T47" fmla="*/ 2147483647 h 194"/>
                <a:gd name="T48" fmla="*/ 2147483647 w 278"/>
                <a:gd name="T49" fmla="*/ 2147483647 h 194"/>
                <a:gd name="T50" fmla="*/ 2147483647 w 278"/>
                <a:gd name="T51" fmla="*/ 2147483647 h 194"/>
                <a:gd name="T52" fmla="*/ 2147483647 w 278"/>
                <a:gd name="T53" fmla="*/ 2147483647 h 194"/>
                <a:gd name="T54" fmla="*/ 2147483647 w 278"/>
                <a:gd name="T55" fmla="*/ 2147483647 h 194"/>
                <a:gd name="T56" fmla="*/ 2147483647 w 278"/>
                <a:gd name="T57" fmla="*/ 2147483647 h 194"/>
                <a:gd name="T58" fmla="*/ 2147483647 w 278"/>
                <a:gd name="T59" fmla="*/ 2147483647 h 194"/>
                <a:gd name="T60" fmla="*/ 2147483647 w 278"/>
                <a:gd name="T61" fmla="*/ 2147483647 h 194"/>
                <a:gd name="T62" fmla="*/ 2147483647 w 278"/>
                <a:gd name="T63" fmla="*/ 2147483647 h 194"/>
                <a:gd name="T64" fmla="*/ 2147483647 w 278"/>
                <a:gd name="T65" fmla="*/ 2147483647 h 194"/>
                <a:gd name="T66" fmla="*/ 2147483647 w 278"/>
                <a:gd name="T67" fmla="*/ 2147483647 h 194"/>
                <a:gd name="T68" fmla="*/ 2147483647 w 278"/>
                <a:gd name="T69" fmla="*/ 0 h 194"/>
                <a:gd name="T70" fmla="*/ 2147483647 w 278"/>
                <a:gd name="T71" fmla="*/ 0 h 194"/>
                <a:gd name="T72" fmla="*/ 2147483647 w 278"/>
                <a:gd name="T73" fmla="*/ 2147483647 h 194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278"/>
                <a:gd name="T112" fmla="*/ 0 h 194"/>
                <a:gd name="T113" fmla="*/ 278 w 278"/>
                <a:gd name="T114" fmla="*/ 194 h 194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278" h="194">
                  <a:moveTo>
                    <a:pt x="2" y="4"/>
                  </a:moveTo>
                  <a:lnTo>
                    <a:pt x="2" y="4"/>
                  </a:lnTo>
                  <a:lnTo>
                    <a:pt x="0" y="6"/>
                  </a:lnTo>
                  <a:lnTo>
                    <a:pt x="20" y="72"/>
                  </a:lnTo>
                  <a:lnTo>
                    <a:pt x="20" y="76"/>
                  </a:lnTo>
                  <a:lnTo>
                    <a:pt x="30" y="118"/>
                  </a:lnTo>
                  <a:lnTo>
                    <a:pt x="32" y="122"/>
                  </a:lnTo>
                  <a:lnTo>
                    <a:pt x="52" y="130"/>
                  </a:lnTo>
                  <a:lnTo>
                    <a:pt x="56" y="130"/>
                  </a:lnTo>
                  <a:lnTo>
                    <a:pt x="84" y="142"/>
                  </a:lnTo>
                  <a:lnTo>
                    <a:pt x="86" y="144"/>
                  </a:lnTo>
                  <a:lnTo>
                    <a:pt x="98" y="148"/>
                  </a:lnTo>
                  <a:lnTo>
                    <a:pt x="112" y="154"/>
                  </a:lnTo>
                  <a:lnTo>
                    <a:pt x="128" y="158"/>
                  </a:lnTo>
                  <a:lnTo>
                    <a:pt x="142" y="164"/>
                  </a:lnTo>
                  <a:lnTo>
                    <a:pt x="146" y="164"/>
                  </a:lnTo>
                  <a:lnTo>
                    <a:pt x="178" y="174"/>
                  </a:lnTo>
                  <a:lnTo>
                    <a:pt x="182" y="176"/>
                  </a:lnTo>
                  <a:lnTo>
                    <a:pt x="216" y="184"/>
                  </a:lnTo>
                  <a:lnTo>
                    <a:pt x="256" y="194"/>
                  </a:lnTo>
                  <a:lnTo>
                    <a:pt x="258" y="192"/>
                  </a:lnTo>
                  <a:lnTo>
                    <a:pt x="262" y="184"/>
                  </a:lnTo>
                  <a:lnTo>
                    <a:pt x="266" y="174"/>
                  </a:lnTo>
                  <a:lnTo>
                    <a:pt x="266" y="170"/>
                  </a:lnTo>
                  <a:lnTo>
                    <a:pt x="278" y="136"/>
                  </a:lnTo>
                  <a:lnTo>
                    <a:pt x="278" y="132"/>
                  </a:lnTo>
                  <a:lnTo>
                    <a:pt x="278" y="124"/>
                  </a:lnTo>
                  <a:lnTo>
                    <a:pt x="278" y="122"/>
                  </a:lnTo>
                  <a:lnTo>
                    <a:pt x="158" y="82"/>
                  </a:lnTo>
                  <a:lnTo>
                    <a:pt x="154" y="80"/>
                  </a:lnTo>
                  <a:lnTo>
                    <a:pt x="140" y="74"/>
                  </a:lnTo>
                  <a:lnTo>
                    <a:pt x="136" y="72"/>
                  </a:lnTo>
                  <a:lnTo>
                    <a:pt x="106" y="60"/>
                  </a:lnTo>
                  <a:lnTo>
                    <a:pt x="104" y="58"/>
                  </a:lnTo>
                  <a:lnTo>
                    <a:pt x="90" y="46"/>
                  </a:lnTo>
                  <a:lnTo>
                    <a:pt x="86" y="46"/>
                  </a:lnTo>
                  <a:lnTo>
                    <a:pt x="82" y="44"/>
                  </a:lnTo>
                  <a:lnTo>
                    <a:pt x="78" y="44"/>
                  </a:lnTo>
                  <a:lnTo>
                    <a:pt x="70" y="40"/>
                  </a:lnTo>
                  <a:lnTo>
                    <a:pt x="66" y="36"/>
                  </a:lnTo>
                  <a:lnTo>
                    <a:pt x="64" y="34"/>
                  </a:lnTo>
                  <a:lnTo>
                    <a:pt x="56" y="24"/>
                  </a:lnTo>
                  <a:lnTo>
                    <a:pt x="50" y="16"/>
                  </a:lnTo>
                  <a:lnTo>
                    <a:pt x="48" y="12"/>
                  </a:lnTo>
                  <a:lnTo>
                    <a:pt x="38" y="2"/>
                  </a:lnTo>
                  <a:lnTo>
                    <a:pt x="34" y="0"/>
                  </a:lnTo>
                  <a:lnTo>
                    <a:pt x="30" y="0"/>
                  </a:lnTo>
                  <a:lnTo>
                    <a:pt x="2" y="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latin typeface="Calibri" pitchFamily="-112" charset="0"/>
              </a:endParaRPr>
            </a:p>
          </p:txBody>
        </p:sp>
        <p:sp>
          <p:nvSpPr>
            <p:cNvPr id="51" name="Freeform 261"/>
            <p:cNvSpPr>
              <a:spLocks/>
            </p:cNvSpPr>
            <p:nvPr/>
          </p:nvSpPr>
          <p:spPr bwMode="auto">
            <a:xfrm>
              <a:off x="-912031" y="2727405"/>
              <a:ext cx="314183" cy="332309"/>
            </a:xfrm>
            <a:custGeom>
              <a:avLst/>
              <a:gdLst>
                <a:gd name="T0" fmla="*/ 2147483647 w 104"/>
                <a:gd name="T1" fmla="*/ 0 h 110"/>
                <a:gd name="T2" fmla="*/ 2147483647 w 104"/>
                <a:gd name="T3" fmla="*/ 0 h 110"/>
                <a:gd name="T4" fmla="*/ 2147483647 w 104"/>
                <a:gd name="T5" fmla="*/ 2147483647 h 110"/>
                <a:gd name="T6" fmla="*/ 2147483647 w 104"/>
                <a:gd name="T7" fmla="*/ 0 h 110"/>
                <a:gd name="T8" fmla="*/ 2147483647 w 104"/>
                <a:gd name="T9" fmla="*/ 0 h 110"/>
                <a:gd name="T10" fmla="*/ 2147483647 w 104"/>
                <a:gd name="T11" fmla="*/ 2147483647 h 110"/>
                <a:gd name="T12" fmla="*/ 2147483647 w 104"/>
                <a:gd name="T13" fmla="*/ 2147483647 h 110"/>
                <a:gd name="T14" fmla="*/ 2147483647 w 104"/>
                <a:gd name="T15" fmla="*/ 2147483647 h 110"/>
                <a:gd name="T16" fmla="*/ 2147483647 w 104"/>
                <a:gd name="T17" fmla="*/ 2147483647 h 110"/>
                <a:gd name="T18" fmla="*/ 2147483647 w 104"/>
                <a:gd name="T19" fmla="*/ 2147483647 h 110"/>
                <a:gd name="T20" fmla="*/ 2147483647 w 104"/>
                <a:gd name="T21" fmla="*/ 2147483647 h 110"/>
                <a:gd name="T22" fmla="*/ 2147483647 w 104"/>
                <a:gd name="T23" fmla="*/ 2147483647 h 110"/>
                <a:gd name="T24" fmla="*/ 0 w 104"/>
                <a:gd name="T25" fmla="*/ 2147483647 h 110"/>
                <a:gd name="T26" fmla="*/ 0 w 104"/>
                <a:gd name="T27" fmla="*/ 2147483647 h 110"/>
                <a:gd name="T28" fmla="*/ 2147483647 w 104"/>
                <a:gd name="T29" fmla="*/ 2147483647 h 110"/>
                <a:gd name="T30" fmla="*/ 2147483647 w 104"/>
                <a:gd name="T31" fmla="*/ 2147483647 h 110"/>
                <a:gd name="T32" fmla="*/ 2147483647 w 104"/>
                <a:gd name="T33" fmla="*/ 2147483647 h 110"/>
                <a:gd name="T34" fmla="*/ 2147483647 w 104"/>
                <a:gd name="T35" fmla="*/ 2147483647 h 110"/>
                <a:gd name="T36" fmla="*/ 2147483647 w 104"/>
                <a:gd name="T37" fmla="*/ 2147483647 h 110"/>
                <a:gd name="T38" fmla="*/ 2147483647 w 104"/>
                <a:gd name="T39" fmla="*/ 2147483647 h 110"/>
                <a:gd name="T40" fmla="*/ 2147483647 w 104"/>
                <a:gd name="T41" fmla="*/ 2147483647 h 110"/>
                <a:gd name="T42" fmla="*/ 2147483647 w 104"/>
                <a:gd name="T43" fmla="*/ 2147483647 h 110"/>
                <a:gd name="T44" fmla="*/ 2147483647 w 104"/>
                <a:gd name="T45" fmla="*/ 2147483647 h 110"/>
                <a:gd name="T46" fmla="*/ 2147483647 w 104"/>
                <a:gd name="T47" fmla="*/ 2147483647 h 110"/>
                <a:gd name="T48" fmla="*/ 2147483647 w 104"/>
                <a:gd name="T49" fmla="*/ 2147483647 h 110"/>
                <a:gd name="T50" fmla="*/ 2147483647 w 104"/>
                <a:gd name="T51" fmla="*/ 2147483647 h 110"/>
                <a:gd name="T52" fmla="*/ 2147483647 w 104"/>
                <a:gd name="T53" fmla="*/ 2147483647 h 110"/>
                <a:gd name="T54" fmla="*/ 2147483647 w 104"/>
                <a:gd name="T55" fmla="*/ 2147483647 h 110"/>
                <a:gd name="T56" fmla="*/ 2147483647 w 104"/>
                <a:gd name="T57" fmla="*/ 2147483647 h 110"/>
                <a:gd name="T58" fmla="*/ 2147483647 w 104"/>
                <a:gd name="T59" fmla="*/ 2147483647 h 110"/>
                <a:gd name="T60" fmla="*/ 2147483647 w 104"/>
                <a:gd name="T61" fmla="*/ 2147483647 h 110"/>
                <a:gd name="T62" fmla="*/ 2147483647 w 104"/>
                <a:gd name="T63" fmla="*/ 2147483647 h 110"/>
                <a:gd name="T64" fmla="*/ 2147483647 w 104"/>
                <a:gd name="T65" fmla="*/ 2147483647 h 110"/>
                <a:gd name="T66" fmla="*/ 2147483647 w 104"/>
                <a:gd name="T67" fmla="*/ 2147483647 h 110"/>
                <a:gd name="T68" fmla="*/ 2147483647 w 104"/>
                <a:gd name="T69" fmla="*/ 2147483647 h 110"/>
                <a:gd name="T70" fmla="*/ 2147483647 w 104"/>
                <a:gd name="T71" fmla="*/ 0 h 110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104"/>
                <a:gd name="T109" fmla="*/ 0 h 110"/>
                <a:gd name="T110" fmla="*/ 104 w 104"/>
                <a:gd name="T111" fmla="*/ 110 h 110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104" h="110">
                  <a:moveTo>
                    <a:pt x="74" y="0"/>
                  </a:moveTo>
                  <a:lnTo>
                    <a:pt x="74" y="0"/>
                  </a:lnTo>
                  <a:lnTo>
                    <a:pt x="70" y="0"/>
                  </a:lnTo>
                  <a:lnTo>
                    <a:pt x="64" y="2"/>
                  </a:lnTo>
                  <a:lnTo>
                    <a:pt x="56" y="2"/>
                  </a:lnTo>
                  <a:lnTo>
                    <a:pt x="48" y="0"/>
                  </a:lnTo>
                  <a:lnTo>
                    <a:pt x="46" y="0"/>
                  </a:lnTo>
                  <a:lnTo>
                    <a:pt x="42" y="0"/>
                  </a:lnTo>
                  <a:lnTo>
                    <a:pt x="36" y="2"/>
                  </a:lnTo>
                  <a:lnTo>
                    <a:pt x="28" y="6"/>
                  </a:lnTo>
                  <a:lnTo>
                    <a:pt x="14" y="18"/>
                  </a:lnTo>
                  <a:lnTo>
                    <a:pt x="6" y="26"/>
                  </a:lnTo>
                  <a:lnTo>
                    <a:pt x="4" y="30"/>
                  </a:lnTo>
                  <a:lnTo>
                    <a:pt x="4" y="36"/>
                  </a:lnTo>
                  <a:lnTo>
                    <a:pt x="4" y="42"/>
                  </a:lnTo>
                  <a:lnTo>
                    <a:pt x="4" y="48"/>
                  </a:lnTo>
                  <a:lnTo>
                    <a:pt x="2" y="56"/>
                  </a:lnTo>
                  <a:lnTo>
                    <a:pt x="0" y="64"/>
                  </a:lnTo>
                  <a:lnTo>
                    <a:pt x="0" y="68"/>
                  </a:lnTo>
                  <a:lnTo>
                    <a:pt x="0" y="72"/>
                  </a:lnTo>
                  <a:lnTo>
                    <a:pt x="6" y="80"/>
                  </a:lnTo>
                  <a:lnTo>
                    <a:pt x="14" y="88"/>
                  </a:lnTo>
                  <a:lnTo>
                    <a:pt x="14" y="92"/>
                  </a:lnTo>
                  <a:lnTo>
                    <a:pt x="16" y="98"/>
                  </a:lnTo>
                  <a:lnTo>
                    <a:pt x="22" y="100"/>
                  </a:lnTo>
                  <a:lnTo>
                    <a:pt x="28" y="102"/>
                  </a:lnTo>
                  <a:lnTo>
                    <a:pt x="30" y="102"/>
                  </a:lnTo>
                  <a:lnTo>
                    <a:pt x="38" y="106"/>
                  </a:lnTo>
                  <a:lnTo>
                    <a:pt x="44" y="110"/>
                  </a:lnTo>
                  <a:lnTo>
                    <a:pt x="52" y="110"/>
                  </a:lnTo>
                  <a:lnTo>
                    <a:pt x="56" y="110"/>
                  </a:lnTo>
                  <a:lnTo>
                    <a:pt x="58" y="106"/>
                  </a:lnTo>
                  <a:lnTo>
                    <a:pt x="64" y="100"/>
                  </a:lnTo>
                  <a:lnTo>
                    <a:pt x="70" y="92"/>
                  </a:lnTo>
                  <a:lnTo>
                    <a:pt x="78" y="86"/>
                  </a:lnTo>
                  <a:lnTo>
                    <a:pt x="92" y="80"/>
                  </a:lnTo>
                  <a:lnTo>
                    <a:pt x="98" y="78"/>
                  </a:lnTo>
                  <a:lnTo>
                    <a:pt x="102" y="72"/>
                  </a:lnTo>
                  <a:lnTo>
                    <a:pt x="104" y="66"/>
                  </a:lnTo>
                  <a:lnTo>
                    <a:pt x="104" y="60"/>
                  </a:lnTo>
                  <a:lnTo>
                    <a:pt x="102" y="46"/>
                  </a:lnTo>
                  <a:lnTo>
                    <a:pt x="100" y="34"/>
                  </a:lnTo>
                  <a:lnTo>
                    <a:pt x="94" y="24"/>
                  </a:lnTo>
                  <a:lnTo>
                    <a:pt x="90" y="16"/>
                  </a:lnTo>
                  <a:lnTo>
                    <a:pt x="84" y="6"/>
                  </a:lnTo>
                  <a:lnTo>
                    <a:pt x="80" y="2"/>
                  </a:lnTo>
                  <a:lnTo>
                    <a:pt x="78" y="2"/>
                  </a:lnTo>
                  <a:lnTo>
                    <a:pt x="7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latin typeface="Calibri" pitchFamily="-112" charset="0"/>
              </a:endParaRPr>
            </a:p>
          </p:txBody>
        </p:sp>
        <p:sp>
          <p:nvSpPr>
            <p:cNvPr id="52" name="Freeform 262"/>
            <p:cNvSpPr>
              <a:spLocks/>
            </p:cNvSpPr>
            <p:nvPr/>
          </p:nvSpPr>
          <p:spPr bwMode="auto">
            <a:xfrm>
              <a:off x="-2398361" y="987311"/>
              <a:ext cx="791501" cy="906299"/>
            </a:xfrm>
            <a:custGeom>
              <a:avLst/>
              <a:gdLst>
                <a:gd name="T0" fmla="*/ 2147483647 w 262"/>
                <a:gd name="T1" fmla="*/ 2147483647 h 300"/>
                <a:gd name="T2" fmla="*/ 2147483647 w 262"/>
                <a:gd name="T3" fmla="*/ 2147483647 h 300"/>
                <a:gd name="T4" fmla="*/ 2147483647 w 262"/>
                <a:gd name="T5" fmla="*/ 2147483647 h 300"/>
                <a:gd name="T6" fmla="*/ 2147483647 w 262"/>
                <a:gd name="T7" fmla="*/ 2147483647 h 300"/>
                <a:gd name="T8" fmla="*/ 2147483647 w 262"/>
                <a:gd name="T9" fmla="*/ 2147483647 h 300"/>
                <a:gd name="T10" fmla="*/ 2147483647 w 262"/>
                <a:gd name="T11" fmla="*/ 2147483647 h 300"/>
                <a:gd name="T12" fmla="*/ 2147483647 w 262"/>
                <a:gd name="T13" fmla="*/ 2147483647 h 300"/>
                <a:gd name="T14" fmla="*/ 2147483647 w 262"/>
                <a:gd name="T15" fmla="*/ 0 h 300"/>
                <a:gd name="T16" fmla="*/ 2147483647 w 262"/>
                <a:gd name="T17" fmla="*/ 2147483647 h 300"/>
                <a:gd name="T18" fmla="*/ 2147483647 w 262"/>
                <a:gd name="T19" fmla="*/ 2147483647 h 300"/>
                <a:gd name="T20" fmla="*/ 2147483647 w 262"/>
                <a:gd name="T21" fmla="*/ 2147483647 h 300"/>
                <a:gd name="T22" fmla="*/ 2147483647 w 262"/>
                <a:gd name="T23" fmla="*/ 2147483647 h 300"/>
                <a:gd name="T24" fmla="*/ 2147483647 w 262"/>
                <a:gd name="T25" fmla="*/ 2147483647 h 300"/>
                <a:gd name="T26" fmla="*/ 2147483647 w 262"/>
                <a:gd name="T27" fmla="*/ 2147483647 h 300"/>
                <a:gd name="T28" fmla="*/ 2147483647 w 262"/>
                <a:gd name="T29" fmla="*/ 2147483647 h 300"/>
                <a:gd name="T30" fmla="*/ 2147483647 w 262"/>
                <a:gd name="T31" fmla="*/ 2147483647 h 300"/>
                <a:gd name="T32" fmla="*/ 2147483647 w 262"/>
                <a:gd name="T33" fmla="*/ 2147483647 h 300"/>
                <a:gd name="T34" fmla="*/ 2147483647 w 262"/>
                <a:gd name="T35" fmla="*/ 2147483647 h 300"/>
                <a:gd name="T36" fmla="*/ 2147483647 w 262"/>
                <a:gd name="T37" fmla="*/ 2147483647 h 300"/>
                <a:gd name="T38" fmla="*/ 2147483647 w 262"/>
                <a:gd name="T39" fmla="*/ 2147483647 h 300"/>
                <a:gd name="T40" fmla="*/ 2147483647 w 262"/>
                <a:gd name="T41" fmla="*/ 2147483647 h 300"/>
                <a:gd name="T42" fmla="*/ 2147483647 w 262"/>
                <a:gd name="T43" fmla="*/ 2147483647 h 300"/>
                <a:gd name="T44" fmla="*/ 2147483647 w 262"/>
                <a:gd name="T45" fmla="*/ 2147483647 h 300"/>
                <a:gd name="T46" fmla="*/ 2147483647 w 262"/>
                <a:gd name="T47" fmla="*/ 2147483647 h 300"/>
                <a:gd name="T48" fmla="*/ 2147483647 w 262"/>
                <a:gd name="T49" fmla="*/ 2147483647 h 300"/>
                <a:gd name="T50" fmla="*/ 2147483647 w 262"/>
                <a:gd name="T51" fmla="*/ 2147483647 h 300"/>
                <a:gd name="T52" fmla="*/ 2147483647 w 262"/>
                <a:gd name="T53" fmla="*/ 2147483647 h 300"/>
                <a:gd name="T54" fmla="*/ 2147483647 w 262"/>
                <a:gd name="T55" fmla="*/ 2147483647 h 300"/>
                <a:gd name="T56" fmla="*/ 2147483647 w 262"/>
                <a:gd name="T57" fmla="*/ 2147483647 h 300"/>
                <a:gd name="T58" fmla="*/ 2147483647 w 262"/>
                <a:gd name="T59" fmla="*/ 2147483647 h 300"/>
                <a:gd name="T60" fmla="*/ 2147483647 w 262"/>
                <a:gd name="T61" fmla="*/ 2147483647 h 300"/>
                <a:gd name="T62" fmla="*/ 2147483647 w 262"/>
                <a:gd name="T63" fmla="*/ 2147483647 h 300"/>
                <a:gd name="T64" fmla="*/ 2147483647 w 262"/>
                <a:gd name="T65" fmla="*/ 2147483647 h 300"/>
                <a:gd name="T66" fmla="*/ 2147483647 w 262"/>
                <a:gd name="T67" fmla="*/ 2147483647 h 300"/>
                <a:gd name="T68" fmla="*/ 2147483647 w 262"/>
                <a:gd name="T69" fmla="*/ 2147483647 h 300"/>
                <a:gd name="T70" fmla="*/ 2147483647 w 262"/>
                <a:gd name="T71" fmla="*/ 2147483647 h 300"/>
                <a:gd name="T72" fmla="*/ 2147483647 w 262"/>
                <a:gd name="T73" fmla="*/ 2147483647 h 300"/>
                <a:gd name="T74" fmla="*/ 2147483647 w 262"/>
                <a:gd name="T75" fmla="*/ 2147483647 h 300"/>
                <a:gd name="T76" fmla="*/ 2147483647 w 262"/>
                <a:gd name="T77" fmla="*/ 2147483647 h 300"/>
                <a:gd name="T78" fmla="*/ 2147483647 w 262"/>
                <a:gd name="T79" fmla="*/ 2147483647 h 300"/>
                <a:gd name="T80" fmla="*/ 2147483647 w 262"/>
                <a:gd name="T81" fmla="*/ 2147483647 h 300"/>
                <a:gd name="T82" fmla="*/ 2147483647 w 262"/>
                <a:gd name="T83" fmla="*/ 2147483647 h 300"/>
                <a:gd name="T84" fmla="*/ 2147483647 w 262"/>
                <a:gd name="T85" fmla="*/ 2147483647 h 300"/>
                <a:gd name="T86" fmla="*/ 2147483647 w 262"/>
                <a:gd name="T87" fmla="*/ 2147483647 h 300"/>
                <a:gd name="T88" fmla="*/ 2147483647 w 262"/>
                <a:gd name="T89" fmla="*/ 2147483647 h 300"/>
                <a:gd name="T90" fmla="*/ 2147483647 w 262"/>
                <a:gd name="T91" fmla="*/ 2147483647 h 300"/>
                <a:gd name="T92" fmla="*/ 2147483647 w 262"/>
                <a:gd name="T93" fmla="*/ 2147483647 h 300"/>
                <a:gd name="T94" fmla="*/ 2147483647 w 262"/>
                <a:gd name="T95" fmla="*/ 2147483647 h 300"/>
                <a:gd name="T96" fmla="*/ 2147483647 w 262"/>
                <a:gd name="T97" fmla="*/ 2147483647 h 300"/>
                <a:gd name="T98" fmla="*/ 2147483647 w 262"/>
                <a:gd name="T99" fmla="*/ 2147483647 h 300"/>
                <a:gd name="T100" fmla="*/ 2147483647 w 262"/>
                <a:gd name="T101" fmla="*/ 2147483647 h 300"/>
                <a:gd name="T102" fmla="*/ 2147483647 w 262"/>
                <a:gd name="T103" fmla="*/ 2147483647 h 30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262"/>
                <a:gd name="T157" fmla="*/ 0 h 300"/>
                <a:gd name="T158" fmla="*/ 262 w 262"/>
                <a:gd name="T159" fmla="*/ 300 h 300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262" h="300">
                  <a:moveTo>
                    <a:pt x="262" y="114"/>
                  </a:moveTo>
                  <a:lnTo>
                    <a:pt x="252" y="102"/>
                  </a:lnTo>
                  <a:lnTo>
                    <a:pt x="250" y="100"/>
                  </a:lnTo>
                  <a:lnTo>
                    <a:pt x="246" y="96"/>
                  </a:lnTo>
                  <a:lnTo>
                    <a:pt x="244" y="94"/>
                  </a:lnTo>
                  <a:lnTo>
                    <a:pt x="240" y="88"/>
                  </a:lnTo>
                  <a:lnTo>
                    <a:pt x="240" y="84"/>
                  </a:lnTo>
                  <a:lnTo>
                    <a:pt x="240" y="72"/>
                  </a:lnTo>
                  <a:lnTo>
                    <a:pt x="238" y="60"/>
                  </a:lnTo>
                  <a:lnTo>
                    <a:pt x="222" y="38"/>
                  </a:lnTo>
                  <a:lnTo>
                    <a:pt x="218" y="30"/>
                  </a:lnTo>
                  <a:lnTo>
                    <a:pt x="214" y="28"/>
                  </a:lnTo>
                  <a:lnTo>
                    <a:pt x="212" y="22"/>
                  </a:lnTo>
                  <a:lnTo>
                    <a:pt x="210" y="18"/>
                  </a:lnTo>
                  <a:lnTo>
                    <a:pt x="208" y="12"/>
                  </a:lnTo>
                  <a:lnTo>
                    <a:pt x="202" y="6"/>
                  </a:lnTo>
                  <a:lnTo>
                    <a:pt x="196" y="2"/>
                  </a:lnTo>
                  <a:lnTo>
                    <a:pt x="192" y="0"/>
                  </a:lnTo>
                  <a:lnTo>
                    <a:pt x="162" y="0"/>
                  </a:lnTo>
                  <a:lnTo>
                    <a:pt x="130" y="2"/>
                  </a:lnTo>
                  <a:lnTo>
                    <a:pt x="128" y="4"/>
                  </a:lnTo>
                  <a:lnTo>
                    <a:pt x="88" y="32"/>
                  </a:lnTo>
                  <a:lnTo>
                    <a:pt x="86" y="36"/>
                  </a:lnTo>
                  <a:lnTo>
                    <a:pt x="82" y="46"/>
                  </a:lnTo>
                  <a:lnTo>
                    <a:pt x="80" y="50"/>
                  </a:lnTo>
                  <a:lnTo>
                    <a:pt x="80" y="62"/>
                  </a:lnTo>
                  <a:lnTo>
                    <a:pt x="80" y="66"/>
                  </a:lnTo>
                  <a:lnTo>
                    <a:pt x="78" y="74"/>
                  </a:lnTo>
                  <a:lnTo>
                    <a:pt x="76" y="78"/>
                  </a:lnTo>
                  <a:lnTo>
                    <a:pt x="74" y="90"/>
                  </a:lnTo>
                  <a:lnTo>
                    <a:pt x="72" y="94"/>
                  </a:lnTo>
                  <a:lnTo>
                    <a:pt x="70" y="96"/>
                  </a:lnTo>
                  <a:lnTo>
                    <a:pt x="48" y="96"/>
                  </a:lnTo>
                  <a:lnTo>
                    <a:pt x="44" y="98"/>
                  </a:lnTo>
                  <a:lnTo>
                    <a:pt x="32" y="104"/>
                  </a:lnTo>
                  <a:lnTo>
                    <a:pt x="28" y="108"/>
                  </a:lnTo>
                  <a:lnTo>
                    <a:pt x="22" y="112"/>
                  </a:lnTo>
                  <a:lnTo>
                    <a:pt x="16" y="120"/>
                  </a:lnTo>
                  <a:lnTo>
                    <a:pt x="12" y="126"/>
                  </a:lnTo>
                  <a:lnTo>
                    <a:pt x="12" y="130"/>
                  </a:lnTo>
                  <a:lnTo>
                    <a:pt x="8" y="158"/>
                  </a:lnTo>
                  <a:lnTo>
                    <a:pt x="8" y="176"/>
                  </a:lnTo>
                  <a:lnTo>
                    <a:pt x="10" y="188"/>
                  </a:lnTo>
                  <a:lnTo>
                    <a:pt x="10" y="196"/>
                  </a:lnTo>
                  <a:lnTo>
                    <a:pt x="14" y="202"/>
                  </a:lnTo>
                  <a:lnTo>
                    <a:pt x="16" y="208"/>
                  </a:lnTo>
                  <a:lnTo>
                    <a:pt x="18" y="214"/>
                  </a:lnTo>
                  <a:lnTo>
                    <a:pt x="28" y="244"/>
                  </a:lnTo>
                  <a:lnTo>
                    <a:pt x="30" y="260"/>
                  </a:lnTo>
                  <a:lnTo>
                    <a:pt x="30" y="268"/>
                  </a:lnTo>
                  <a:lnTo>
                    <a:pt x="28" y="272"/>
                  </a:lnTo>
                  <a:lnTo>
                    <a:pt x="24" y="278"/>
                  </a:lnTo>
                  <a:lnTo>
                    <a:pt x="18" y="286"/>
                  </a:lnTo>
                  <a:lnTo>
                    <a:pt x="16" y="288"/>
                  </a:lnTo>
                  <a:lnTo>
                    <a:pt x="14" y="290"/>
                  </a:lnTo>
                  <a:lnTo>
                    <a:pt x="10" y="292"/>
                  </a:lnTo>
                  <a:lnTo>
                    <a:pt x="2" y="294"/>
                  </a:lnTo>
                  <a:lnTo>
                    <a:pt x="0" y="294"/>
                  </a:lnTo>
                  <a:lnTo>
                    <a:pt x="2" y="294"/>
                  </a:lnTo>
                  <a:lnTo>
                    <a:pt x="8" y="298"/>
                  </a:lnTo>
                  <a:lnTo>
                    <a:pt x="18" y="300"/>
                  </a:lnTo>
                  <a:lnTo>
                    <a:pt x="28" y="298"/>
                  </a:lnTo>
                  <a:lnTo>
                    <a:pt x="34" y="294"/>
                  </a:lnTo>
                  <a:lnTo>
                    <a:pt x="36" y="292"/>
                  </a:lnTo>
                  <a:lnTo>
                    <a:pt x="46" y="282"/>
                  </a:lnTo>
                  <a:lnTo>
                    <a:pt x="52" y="274"/>
                  </a:lnTo>
                  <a:lnTo>
                    <a:pt x="58" y="266"/>
                  </a:lnTo>
                  <a:lnTo>
                    <a:pt x="62" y="258"/>
                  </a:lnTo>
                  <a:lnTo>
                    <a:pt x="64" y="250"/>
                  </a:lnTo>
                  <a:lnTo>
                    <a:pt x="64" y="246"/>
                  </a:lnTo>
                  <a:lnTo>
                    <a:pt x="64" y="238"/>
                  </a:lnTo>
                  <a:lnTo>
                    <a:pt x="64" y="218"/>
                  </a:lnTo>
                  <a:lnTo>
                    <a:pt x="64" y="196"/>
                  </a:lnTo>
                  <a:lnTo>
                    <a:pt x="62" y="182"/>
                  </a:lnTo>
                  <a:lnTo>
                    <a:pt x="56" y="156"/>
                  </a:lnTo>
                  <a:lnTo>
                    <a:pt x="52" y="150"/>
                  </a:lnTo>
                  <a:lnTo>
                    <a:pt x="50" y="146"/>
                  </a:lnTo>
                  <a:lnTo>
                    <a:pt x="50" y="140"/>
                  </a:lnTo>
                  <a:lnTo>
                    <a:pt x="48" y="134"/>
                  </a:lnTo>
                  <a:lnTo>
                    <a:pt x="48" y="132"/>
                  </a:lnTo>
                  <a:lnTo>
                    <a:pt x="50" y="130"/>
                  </a:lnTo>
                  <a:lnTo>
                    <a:pt x="56" y="124"/>
                  </a:lnTo>
                  <a:lnTo>
                    <a:pt x="60" y="120"/>
                  </a:lnTo>
                  <a:lnTo>
                    <a:pt x="66" y="118"/>
                  </a:lnTo>
                  <a:lnTo>
                    <a:pt x="74" y="118"/>
                  </a:lnTo>
                  <a:lnTo>
                    <a:pt x="74" y="120"/>
                  </a:lnTo>
                  <a:lnTo>
                    <a:pt x="76" y="124"/>
                  </a:lnTo>
                  <a:lnTo>
                    <a:pt x="76" y="134"/>
                  </a:lnTo>
                  <a:lnTo>
                    <a:pt x="78" y="142"/>
                  </a:lnTo>
                  <a:lnTo>
                    <a:pt x="80" y="152"/>
                  </a:lnTo>
                  <a:lnTo>
                    <a:pt x="84" y="162"/>
                  </a:lnTo>
                  <a:lnTo>
                    <a:pt x="92" y="170"/>
                  </a:lnTo>
                  <a:lnTo>
                    <a:pt x="102" y="178"/>
                  </a:lnTo>
                  <a:lnTo>
                    <a:pt x="108" y="180"/>
                  </a:lnTo>
                  <a:lnTo>
                    <a:pt x="116" y="180"/>
                  </a:lnTo>
                  <a:lnTo>
                    <a:pt x="120" y="180"/>
                  </a:lnTo>
                  <a:lnTo>
                    <a:pt x="122" y="184"/>
                  </a:lnTo>
                  <a:lnTo>
                    <a:pt x="120" y="198"/>
                  </a:lnTo>
                  <a:lnTo>
                    <a:pt x="124" y="208"/>
                  </a:lnTo>
                  <a:lnTo>
                    <a:pt x="152" y="212"/>
                  </a:lnTo>
                  <a:lnTo>
                    <a:pt x="154" y="214"/>
                  </a:lnTo>
                  <a:lnTo>
                    <a:pt x="146" y="242"/>
                  </a:lnTo>
                  <a:lnTo>
                    <a:pt x="142" y="262"/>
                  </a:lnTo>
                  <a:lnTo>
                    <a:pt x="140" y="270"/>
                  </a:lnTo>
                  <a:lnTo>
                    <a:pt x="156" y="266"/>
                  </a:lnTo>
                  <a:lnTo>
                    <a:pt x="172" y="262"/>
                  </a:lnTo>
                  <a:lnTo>
                    <a:pt x="174" y="262"/>
                  </a:lnTo>
                  <a:lnTo>
                    <a:pt x="176" y="262"/>
                  </a:lnTo>
                  <a:lnTo>
                    <a:pt x="196" y="218"/>
                  </a:lnTo>
                  <a:lnTo>
                    <a:pt x="210" y="196"/>
                  </a:lnTo>
                  <a:lnTo>
                    <a:pt x="220" y="188"/>
                  </a:lnTo>
                  <a:lnTo>
                    <a:pt x="226" y="186"/>
                  </a:lnTo>
                  <a:lnTo>
                    <a:pt x="238" y="184"/>
                  </a:lnTo>
                  <a:lnTo>
                    <a:pt x="246" y="184"/>
                  </a:lnTo>
                  <a:lnTo>
                    <a:pt x="252" y="182"/>
                  </a:lnTo>
                  <a:lnTo>
                    <a:pt x="254" y="180"/>
                  </a:lnTo>
                  <a:lnTo>
                    <a:pt x="256" y="178"/>
                  </a:lnTo>
                  <a:lnTo>
                    <a:pt x="256" y="160"/>
                  </a:lnTo>
                  <a:lnTo>
                    <a:pt x="256" y="156"/>
                  </a:lnTo>
                  <a:lnTo>
                    <a:pt x="256" y="150"/>
                  </a:lnTo>
                  <a:lnTo>
                    <a:pt x="258" y="150"/>
                  </a:lnTo>
                  <a:lnTo>
                    <a:pt x="258" y="146"/>
                  </a:lnTo>
                  <a:lnTo>
                    <a:pt x="256" y="144"/>
                  </a:lnTo>
                  <a:lnTo>
                    <a:pt x="258" y="140"/>
                  </a:lnTo>
                  <a:lnTo>
                    <a:pt x="258" y="136"/>
                  </a:lnTo>
                  <a:lnTo>
                    <a:pt x="256" y="134"/>
                  </a:lnTo>
                  <a:lnTo>
                    <a:pt x="256" y="130"/>
                  </a:lnTo>
                  <a:lnTo>
                    <a:pt x="254" y="126"/>
                  </a:lnTo>
                  <a:lnTo>
                    <a:pt x="256" y="124"/>
                  </a:lnTo>
                  <a:lnTo>
                    <a:pt x="258" y="122"/>
                  </a:lnTo>
                  <a:lnTo>
                    <a:pt x="260" y="120"/>
                  </a:lnTo>
                  <a:lnTo>
                    <a:pt x="262" y="116"/>
                  </a:lnTo>
                  <a:lnTo>
                    <a:pt x="262" y="11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latin typeface="Calibri" pitchFamily="-112" charset="0"/>
              </a:endParaRPr>
            </a:p>
          </p:txBody>
        </p:sp>
        <p:sp>
          <p:nvSpPr>
            <p:cNvPr id="53" name="Freeform 263"/>
            <p:cNvSpPr>
              <a:spLocks/>
            </p:cNvSpPr>
            <p:nvPr/>
          </p:nvSpPr>
          <p:spPr bwMode="auto">
            <a:xfrm>
              <a:off x="-66153" y="1247117"/>
              <a:ext cx="543779" cy="851921"/>
            </a:xfrm>
            <a:custGeom>
              <a:avLst/>
              <a:gdLst>
                <a:gd name="T0" fmla="*/ 2147483647 w 180"/>
                <a:gd name="T1" fmla="*/ 0 h 282"/>
                <a:gd name="T2" fmla="*/ 2147483647 w 180"/>
                <a:gd name="T3" fmla="*/ 2147483647 h 282"/>
                <a:gd name="T4" fmla="*/ 2147483647 w 180"/>
                <a:gd name="T5" fmla="*/ 2147483647 h 282"/>
                <a:gd name="T6" fmla="*/ 2147483647 w 180"/>
                <a:gd name="T7" fmla="*/ 2147483647 h 282"/>
                <a:gd name="T8" fmla="*/ 2147483647 w 180"/>
                <a:gd name="T9" fmla="*/ 2147483647 h 282"/>
                <a:gd name="T10" fmla="*/ 2147483647 w 180"/>
                <a:gd name="T11" fmla="*/ 2147483647 h 282"/>
                <a:gd name="T12" fmla="*/ 2147483647 w 180"/>
                <a:gd name="T13" fmla="*/ 2147483647 h 282"/>
                <a:gd name="T14" fmla="*/ 2147483647 w 180"/>
                <a:gd name="T15" fmla="*/ 2147483647 h 282"/>
                <a:gd name="T16" fmla="*/ 2147483647 w 180"/>
                <a:gd name="T17" fmla="*/ 2147483647 h 282"/>
                <a:gd name="T18" fmla="*/ 2147483647 w 180"/>
                <a:gd name="T19" fmla="*/ 2147483647 h 282"/>
                <a:gd name="T20" fmla="*/ 2147483647 w 180"/>
                <a:gd name="T21" fmla="*/ 2147483647 h 282"/>
                <a:gd name="T22" fmla="*/ 2147483647 w 180"/>
                <a:gd name="T23" fmla="*/ 2147483647 h 282"/>
                <a:gd name="T24" fmla="*/ 2147483647 w 180"/>
                <a:gd name="T25" fmla="*/ 2147483647 h 282"/>
                <a:gd name="T26" fmla="*/ 2147483647 w 180"/>
                <a:gd name="T27" fmla="*/ 2147483647 h 282"/>
                <a:gd name="T28" fmla="*/ 2147483647 w 180"/>
                <a:gd name="T29" fmla="*/ 2147483647 h 282"/>
                <a:gd name="T30" fmla="*/ 2147483647 w 180"/>
                <a:gd name="T31" fmla="*/ 2147483647 h 282"/>
                <a:gd name="T32" fmla="*/ 2147483647 w 180"/>
                <a:gd name="T33" fmla="*/ 2147483647 h 282"/>
                <a:gd name="T34" fmla="*/ 2147483647 w 180"/>
                <a:gd name="T35" fmla="*/ 2147483647 h 282"/>
                <a:gd name="T36" fmla="*/ 2147483647 w 180"/>
                <a:gd name="T37" fmla="*/ 2147483647 h 282"/>
                <a:gd name="T38" fmla="*/ 2147483647 w 180"/>
                <a:gd name="T39" fmla="*/ 2147483647 h 282"/>
                <a:gd name="T40" fmla="*/ 2147483647 w 180"/>
                <a:gd name="T41" fmla="*/ 2147483647 h 282"/>
                <a:gd name="T42" fmla="*/ 2147483647 w 180"/>
                <a:gd name="T43" fmla="*/ 2147483647 h 282"/>
                <a:gd name="T44" fmla="*/ 2147483647 w 180"/>
                <a:gd name="T45" fmla="*/ 2147483647 h 282"/>
                <a:gd name="T46" fmla="*/ 2147483647 w 180"/>
                <a:gd name="T47" fmla="*/ 2147483647 h 282"/>
                <a:gd name="T48" fmla="*/ 2147483647 w 180"/>
                <a:gd name="T49" fmla="*/ 2147483647 h 282"/>
                <a:gd name="T50" fmla="*/ 2147483647 w 180"/>
                <a:gd name="T51" fmla="*/ 2147483647 h 282"/>
                <a:gd name="T52" fmla="*/ 2147483647 w 180"/>
                <a:gd name="T53" fmla="*/ 2147483647 h 282"/>
                <a:gd name="T54" fmla="*/ 2147483647 w 180"/>
                <a:gd name="T55" fmla="*/ 2147483647 h 282"/>
                <a:gd name="T56" fmla="*/ 2147483647 w 180"/>
                <a:gd name="T57" fmla="*/ 2147483647 h 282"/>
                <a:gd name="T58" fmla="*/ 0 w 180"/>
                <a:gd name="T59" fmla="*/ 2147483647 h 282"/>
                <a:gd name="T60" fmla="*/ 2147483647 w 180"/>
                <a:gd name="T61" fmla="*/ 2147483647 h 282"/>
                <a:gd name="T62" fmla="*/ 2147483647 w 180"/>
                <a:gd name="T63" fmla="*/ 2147483647 h 282"/>
                <a:gd name="T64" fmla="*/ 2147483647 w 180"/>
                <a:gd name="T65" fmla="*/ 2147483647 h 282"/>
                <a:gd name="T66" fmla="*/ 2147483647 w 180"/>
                <a:gd name="T67" fmla="*/ 2147483647 h 282"/>
                <a:gd name="T68" fmla="*/ 2147483647 w 180"/>
                <a:gd name="T69" fmla="*/ 2147483647 h 282"/>
                <a:gd name="T70" fmla="*/ 2147483647 w 180"/>
                <a:gd name="T71" fmla="*/ 2147483647 h 282"/>
                <a:gd name="T72" fmla="*/ 2147483647 w 180"/>
                <a:gd name="T73" fmla="*/ 2147483647 h 282"/>
                <a:gd name="T74" fmla="*/ 2147483647 w 180"/>
                <a:gd name="T75" fmla="*/ 2147483647 h 282"/>
                <a:gd name="T76" fmla="*/ 2147483647 w 180"/>
                <a:gd name="T77" fmla="*/ 2147483647 h 282"/>
                <a:gd name="T78" fmla="*/ 2147483647 w 180"/>
                <a:gd name="T79" fmla="*/ 2147483647 h 282"/>
                <a:gd name="T80" fmla="*/ 2147483647 w 180"/>
                <a:gd name="T81" fmla="*/ 0 h 282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180"/>
                <a:gd name="T124" fmla="*/ 0 h 282"/>
                <a:gd name="T125" fmla="*/ 180 w 180"/>
                <a:gd name="T126" fmla="*/ 282 h 282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180" h="282">
                  <a:moveTo>
                    <a:pt x="166" y="0"/>
                  </a:moveTo>
                  <a:lnTo>
                    <a:pt x="104" y="60"/>
                  </a:lnTo>
                  <a:lnTo>
                    <a:pt x="96" y="58"/>
                  </a:lnTo>
                  <a:lnTo>
                    <a:pt x="84" y="66"/>
                  </a:lnTo>
                  <a:lnTo>
                    <a:pt x="82" y="70"/>
                  </a:lnTo>
                  <a:lnTo>
                    <a:pt x="78" y="82"/>
                  </a:lnTo>
                  <a:lnTo>
                    <a:pt x="72" y="94"/>
                  </a:lnTo>
                  <a:lnTo>
                    <a:pt x="68" y="100"/>
                  </a:lnTo>
                  <a:lnTo>
                    <a:pt x="64" y="108"/>
                  </a:lnTo>
                  <a:lnTo>
                    <a:pt x="62" y="112"/>
                  </a:lnTo>
                  <a:lnTo>
                    <a:pt x="60" y="118"/>
                  </a:lnTo>
                  <a:lnTo>
                    <a:pt x="56" y="124"/>
                  </a:lnTo>
                  <a:lnTo>
                    <a:pt x="54" y="128"/>
                  </a:lnTo>
                  <a:lnTo>
                    <a:pt x="52" y="130"/>
                  </a:lnTo>
                  <a:lnTo>
                    <a:pt x="48" y="136"/>
                  </a:lnTo>
                  <a:lnTo>
                    <a:pt x="46" y="146"/>
                  </a:lnTo>
                  <a:lnTo>
                    <a:pt x="34" y="160"/>
                  </a:lnTo>
                  <a:lnTo>
                    <a:pt x="30" y="164"/>
                  </a:lnTo>
                  <a:lnTo>
                    <a:pt x="26" y="172"/>
                  </a:lnTo>
                  <a:lnTo>
                    <a:pt x="26" y="178"/>
                  </a:lnTo>
                  <a:lnTo>
                    <a:pt x="30" y="186"/>
                  </a:lnTo>
                  <a:lnTo>
                    <a:pt x="34" y="198"/>
                  </a:lnTo>
                  <a:lnTo>
                    <a:pt x="20" y="216"/>
                  </a:lnTo>
                  <a:lnTo>
                    <a:pt x="20" y="244"/>
                  </a:lnTo>
                  <a:lnTo>
                    <a:pt x="0" y="282"/>
                  </a:lnTo>
                  <a:lnTo>
                    <a:pt x="52" y="194"/>
                  </a:lnTo>
                  <a:lnTo>
                    <a:pt x="70" y="162"/>
                  </a:lnTo>
                  <a:lnTo>
                    <a:pt x="92" y="128"/>
                  </a:lnTo>
                  <a:lnTo>
                    <a:pt x="102" y="94"/>
                  </a:lnTo>
                  <a:lnTo>
                    <a:pt x="112" y="82"/>
                  </a:lnTo>
                  <a:lnTo>
                    <a:pt x="120" y="78"/>
                  </a:lnTo>
                  <a:lnTo>
                    <a:pt x="134" y="60"/>
                  </a:lnTo>
                  <a:lnTo>
                    <a:pt x="180" y="16"/>
                  </a:lnTo>
                  <a:lnTo>
                    <a:pt x="16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latin typeface="Calibri" pitchFamily="-112" charset="0"/>
              </a:endParaRPr>
            </a:p>
          </p:txBody>
        </p:sp>
        <p:sp>
          <p:nvSpPr>
            <p:cNvPr id="54" name="Freeform 264"/>
            <p:cNvSpPr>
              <a:spLocks/>
            </p:cNvSpPr>
            <p:nvPr/>
          </p:nvSpPr>
          <p:spPr bwMode="auto">
            <a:xfrm>
              <a:off x="-90321" y="1392125"/>
              <a:ext cx="320225" cy="809627"/>
            </a:xfrm>
            <a:custGeom>
              <a:avLst/>
              <a:gdLst>
                <a:gd name="T0" fmla="*/ 2147483647 w 106"/>
                <a:gd name="T1" fmla="*/ 2147483647 h 268"/>
                <a:gd name="T2" fmla="*/ 2147483647 w 106"/>
                <a:gd name="T3" fmla="*/ 2147483647 h 268"/>
                <a:gd name="T4" fmla="*/ 2147483647 w 106"/>
                <a:gd name="T5" fmla="*/ 2147483647 h 268"/>
                <a:gd name="T6" fmla="*/ 2147483647 w 106"/>
                <a:gd name="T7" fmla="*/ 2147483647 h 268"/>
                <a:gd name="T8" fmla="*/ 2147483647 w 106"/>
                <a:gd name="T9" fmla="*/ 2147483647 h 268"/>
                <a:gd name="T10" fmla="*/ 2147483647 w 106"/>
                <a:gd name="T11" fmla="*/ 2147483647 h 268"/>
                <a:gd name="T12" fmla="*/ 2147483647 w 106"/>
                <a:gd name="T13" fmla="*/ 2147483647 h 268"/>
                <a:gd name="T14" fmla="*/ 2147483647 w 106"/>
                <a:gd name="T15" fmla="*/ 2147483647 h 268"/>
                <a:gd name="T16" fmla="*/ 2147483647 w 106"/>
                <a:gd name="T17" fmla="*/ 2147483647 h 268"/>
                <a:gd name="T18" fmla="*/ 2147483647 w 106"/>
                <a:gd name="T19" fmla="*/ 2147483647 h 268"/>
                <a:gd name="T20" fmla="*/ 2147483647 w 106"/>
                <a:gd name="T21" fmla="*/ 2147483647 h 268"/>
                <a:gd name="T22" fmla="*/ 2147483647 w 106"/>
                <a:gd name="T23" fmla="*/ 2147483647 h 268"/>
                <a:gd name="T24" fmla="*/ 2147483647 w 106"/>
                <a:gd name="T25" fmla="*/ 2147483647 h 268"/>
                <a:gd name="T26" fmla="*/ 2147483647 w 106"/>
                <a:gd name="T27" fmla="*/ 2147483647 h 268"/>
                <a:gd name="T28" fmla="*/ 2147483647 w 106"/>
                <a:gd name="T29" fmla="*/ 2147483647 h 268"/>
                <a:gd name="T30" fmla="*/ 2147483647 w 106"/>
                <a:gd name="T31" fmla="*/ 2147483647 h 268"/>
                <a:gd name="T32" fmla="*/ 2147483647 w 106"/>
                <a:gd name="T33" fmla="*/ 2147483647 h 268"/>
                <a:gd name="T34" fmla="*/ 2147483647 w 106"/>
                <a:gd name="T35" fmla="*/ 2147483647 h 268"/>
                <a:gd name="T36" fmla="*/ 0 w 106"/>
                <a:gd name="T37" fmla="*/ 2147483647 h 268"/>
                <a:gd name="T38" fmla="*/ 0 w 106"/>
                <a:gd name="T39" fmla="*/ 2147483647 h 268"/>
                <a:gd name="T40" fmla="*/ 0 w 106"/>
                <a:gd name="T41" fmla="*/ 2147483647 h 268"/>
                <a:gd name="T42" fmla="*/ 2147483647 w 106"/>
                <a:gd name="T43" fmla="*/ 2147483647 h 268"/>
                <a:gd name="T44" fmla="*/ 2147483647 w 106"/>
                <a:gd name="T45" fmla="*/ 2147483647 h 268"/>
                <a:gd name="T46" fmla="*/ 2147483647 w 106"/>
                <a:gd name="T47" fmla="*/ 2147483647 h 268"/>
                <a:gd name="T48" fmla="*/ 2147483647 w 106"/>
                <a:gd name="T49" fmla="*/ 2147483647 h 268"/>
                <a:gd name="T50" fmla="*/ 2147483647 w 106"/>
                <a:gd name="T51" fmla="*/ 2147483647 h 268"/>
                <a:gd name="T52" fmla="*/ 2147483647 w 106"/>
                <a:gd name="T53" fmla="*/ 2147483647 h 268"/>
                <a:gd name="T54" fmla="*/ 2147483647 w 106"/>
                <a:gd name="T55" fmla="*/ 2147483647 h 268"/>
                <a:gd name="T56" fmla="*/ 2147483647 w 106"/>
                <a:gd name="T57" fmla="*/ 2147483647 h 268"/>
                <a:gd name="T58" fmla="*/ 2147483647 w 106"/>
                <a:gd name="T59" fmla="*/ 2147483647 h 268"/>
                <a:gd name="T60" fmla="*/ 2147483647 w 106"/>
                <a:gd name="T61" fmla="*/ 2147483647 h 268"/>
                <a:gd name="T62" fmla="*/ 2147483647 w 106"/>
                <a:gd name="T63" fmla="*/ 2147483647 h 268"/>
                <a:gd name="T64" fmla="*/ 2147483647 w 106"/>
                <a:gd name="T65" fmla="*/ 2147483647 h 268"/>
                <a:gd name="T66" fmla="*/ 2147483647 w 106"/>
                <a:gd name="T67" fmla="*/ 2147483647 h 268"/>
                <a:gd name="T68" fmla="*/ 2147483647 w 106"/>
                <a:gd name="T69" fmla="*/ 2147483647 h 268"/>
                <a:gd name="T70" fmla="*/ 2147483647 w 106"/>
                <a:gd name="T71" fmla="*/ 2147483647 h 268"/>
                <a:gd name="T72" fmla="*/ 2147483647 w 106"/>
                <a:gd name="T73" fmla="*/ 2147483647 h 268"/>
                <a:gd name="T74" fmla="*/ 2147483647 w 106"/>
                <a:gd name="T75" fmla="*/ 2147483647 h 268"/>
                <a:gd name="T76" fmla="*/ 2147483647 w 106"/>
                <a:gd name="T77" fmla="*/ 2147483647 h 268"/>
                <a:gd name="T78" fmla="*/ 2147483647 w 106"/>
                <a:gd name="T79" fmla="*/ 2147483647 h 268"/>
                <a:gd name="T80" fmla="*/ 2147483647 w 106"/>
                <a:gd name="T81" fmla="*/ 2147483647 h 268"/>
                <a:gd name="T82" fmla="*/ 2147483647 w 106"/>
                <a:gd name="T83" fmla="*/ 2147483647 h 268"/>
                <a:gd name="T84" fmla="*/ 2147483647 w 106"/>
                <a:gd name="T85" fmla="*/ 2147483647 h 268"/>
                <a:gd name="T86" fmla="*/ 2147483647 w 106"/>
                <a:gd name="T87" fmla="*/ 0 h 268"/>
                <a:gd name="T88" fmla="*/ 2147483647 w 106"/>
                <a:gd name="T89" fmla="*/ 2147483647 h 268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106"/>
                <a:gd name="T136" fmla="*/ 0 h 268"/>
                <a:gd name="T137" fmla="*/ 106 w 106"/>
                <a:gd name="T138" fmla="*/ 268 h 268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106" h="268">
                  <a:moveTo>
                    <a:pt x="90" y="4"/>
                  </a:moveTo>
                  <a:lnTo>
                    <a:pt x="90" y="4"/>
                  </a:lnTo>
                  <a:lnTo>
                    <a:pt x="86" y="10"/>
                  </a:lnTo>
                  <a:lnTo>
                    <a:pt x="80" y="16"/>
                  </a:lnTo>
                  <a:lnTo>
                    <a:pt x="76" y="24"/>
                  </a:lnTo>
                  <a:lnTo>
                    <a:pt x="74" y="30"/>
                  </a:lnTo>
                  <a:lnTo>
                    <a:pt x="74" y="36"/>
                  </a:lnTo>
                  <a:lnTo>
                    <a:pt x="74" y="42"/>
                  </a:lnTo>
                  <a:lnTo>
                    <a:pt x="72" y="50"/>
                  </a:lnTo>
                  <a:lnTo>
                    <a:pt x="64" y="64"/>
                  </a:lnTo>
                  <a:lnTo>
                    <a:pt x="56" y="78"/>
                  </a:lnTo>
                  <a:lnTo>
                    <a:pt x="48" y="92"/>
                  </a:lnTo>
                  <a:lnTo>
                    <a:pt x="30" y="132"/>
                  </a:lnTo>
                  <a:lnTo>
                    <a:pt x="14" y="178"/>
                  </a:lnTo>
                  <a:lnTo>
                    <a:pt x="8" y="200"/>
                  </a:lnTo>
                  <a:lnTo>
                    <a:pt x="4" y="224"/>
                  </a:lnTo>
                  <a:lnTo>
                    <a:pt x="0" y="246"/>
                  </a:lnTo>
                  <a:lnTo>
                    <a:pt x="0" y="268"/>
                  </a:lnTo>
                  <a:lnTo>
                    <a:pt x="22" y="230"/>
                  </a:lnTo>
                  <a:lnTo>
                    <a:pt x="46" y="196"/>
                  </a:lnTo>
                  <a:lnTo>
                    <a:pt x="52" y="186"/>
                  </a:lnTo>
                  <a:lnTo>
                    <a:pt x="58" y="174"/>
                  </a:lnTo>
                  <a:lnTo>
                    <a:pt x="66" y="150"/>
                  </a:lnTo>
                  <a:lnTo>
                    <a:pt x="72" y="126"/>
                  </a:lnTo>
                  <a:lnTo>
                    <a:pt x="76" y="102"/>
                  </a:lnTo>
                  <a:lnTo>
                    <a:pt x="78" y="84"/>
                  </a:lnTo>
                  <a:lnTo>
                    <a:pt x="78" y="78"/>
                  </a:lnTo>
                  <a:lnTo>
                    <a:pt x="82" y="68"/>
                  </a:lnTo>
                  <a:lnTo>
                    <a:pt x="86" y="56"/>
                  </a:lnTo>
                  <a:lnTo>
                    <a:pt x="86" y="48"/>
                  </a:lnTo>
                  <a:lnTo>
                    <a:pt x="90" y="44"/>
                  </a:lnTo>
                  <a:lnTo>
                    <a:pt x="96" y="38"/>
                  </a:lnTo>
                  <a:lnTo>
                    <a:pt x="102" y="32"/>
                  </a:lnTo>
                  <a:lnTo>
                    <a:pt x="104" y="28"/>
                  </a:lnTo>
                  <a:lnTo>
                    <a:pt x="106" y="22"/>
                  </a:lnTo>
                  <a:lnTo>
                    <a:pt x="106" y="12"/>
                  </a:lnTo>
                  <a:lnTo>
                    <a:pt x="104" y="0"/>
                  </a:lnTo>
                  <a:lnTo>
                    <a:pt x="90" y="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latin typeface="Calibri" pitchFamily="-112" charset="0"/>
              </a:endParaRPr>
            </a:p>
          </p:txBody>
        </p:sp>
        <p:sp>
          <p:nvSpPr>
            <p:cNvPr id="55" name="Freeform 265"/>
            <p:cNvSpPr>
              <a:spLocks/>
            </p:cNvSpPr>
            <p:nvPr/>
          </p:nvSpPr>
          <p:spPr bwMode="auto">
            <a:xfrm>
              <a:off x="-126573" y="3555157"/>
              <a:ext cx="1341322" cy="731081"/>
            </a:xfrm>
            <a:custGeom>
              <a:avLst/>
              <a:gdLst>
                <a:gd name="T0" fmla="*/ 2147483647 w 444"/>
                <a:gd name="T1" fmla="*/ 2147483647 h 242"/>
                <a:gd name="T2" fmla="*/ 2147483647 w 444"/>
                <a:gd name="T3" fmla="*/ 2147483647 h 242"/>
                <a:gd name="T4" fmla="*/ 2147483647 w 444"/>
                <a:gd name="T5" fmla="*/ 2147483647 h 242"/>
                <a:gd name="T6" fmla="*/ 2147483647 w 444"/>
                <a:gd name="T7" fmla="*/ 2147483647 h 242"/>
                <a:gd name="T8" fmla="*/ 2147483647 w 444"/>
                <a:gd name="T9" fmla="*/ 2147483647 h 242"/>
                <a:gd name="T10" fmla="*/ 2147483647 w 444"/>
                <a:gd name="T11" fmla="*/ 2147483647 h 242"/>
                <a:gd name="T12" fmla="*/ 2147483647 w 444"/>
                <a:gd name="T13" fmla="*/ 2147483647 h 242"/>
                <a:gd name="T14" fmla="*/ 2147483647 w 444"/>
                <a:gd name="T15" fmla="*/ 0 h 242"/>
                <a:gd name="T16" fmla="*/ 2147483647 w 444"/>
                <a:gd name="T17" fmla="*/ 2147483647 h 242"/>
                <a:gd name="T18" fmla="*/ 2147483647 w 444"/>
                <a:gd name="T19" fmla="*/ 2147483647 h 242"/>
                <a:gd name="T20" fmla="*/ 2147483647 w 444"/>
                <a:gd name="T21" fmla="*/ 2147483647 h 242"/>
                <a:gd name="T22" fmla="*/ 2147483647 w 444"/>
                <a:gd name="T23" fmla="*/ 2147483647 h 242"/>
                <a:gd name="T24" fmla="*/ 2147483647 w 444"/>
                <a:gd name="T25" fmla="*/ 2147483647 h 242"/>
                <a:gd name="T26" fmla="*/ 2147483647 w 444"/>
                <a:gd name="T27" fmla="*/ 2147483647 h 242"/>
                <a:gd name="T28" fmla="*/ 2147483647 w 444"/>
                <a:gd name="T29" fmla="*/ 2147483647 h 242"/>
                <a:gd name="T30" fmla="*/ 0 w 444"/>
                <a:gd name="T31" fmla="*/ 2147483647 h 242"/>
                <a:gd name="T32" fmla="*/ 0 w 444"/>
                <a:gd name="T33" fmla="*/ 2147483647 h 242"/>
                <a:gd name="T34" fmla="*/ 0 w 444"/>
                <a:gd name="T35" fmla="*/ 2147483647 h 242"/>
                <a:gd name="T36" fmla="*/ 2147483647 w 444"/>
                <a:gd name="T37" fmla="*/ 2147483647 h 242"/>
                <a:gd name="T38" fmla="*/ 2147483647 w 444"/>
                <a:gd name="T39" fmla="*/ 2147483647 h 242"/>
                <a:gd name="T40" fmla="*/ 2147483647 w 444"/>
                <a:gd name="T41" fmla="*/ 2147483647 h 242"/>
                <a:gd name="T42" fmla="*/ 2147483647 w 444"/>
                <a:gd name="T43" fmla="*/ 2147483647 h 242"/>
                <a:gd name="T44" fmla="*/ 2147483647 w 444"/>
                <a:gd name="T45" fmla="*/ 2147483647 h 242"/>
                <a:gd name="T46" fmla="*/ 2147483647 w 444"/>
                <a:gd name="T47" fmla="*/ 2147483647 h 242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444"/>
                <a:gd name="T73" fmla="*/ 0 h 242"/>
                <a:gd name="T74" fmla="*/ 444 w 444"/>
                <a:gd name="T75" fmla="*/ 242 h 242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444" h="242">
                  <a:moveTo>
                    <a:pt x="436" y="48"/>
                  </a:moveTo>
                  <a:lnTo>
                    <a:pt x="414" y="28"/>
                  </a:lnTo>
                  <a:lnTo>
                    <a:pt x="410" y="28"/>
                  </a:lnTo>
                  <a:lnTo>
                    <a:pt x="258" y="34"/>
                  </a:lnTo>
                  <a:lnTo>
                    <a:pt x="256" y="2"/>
                  </a:lnTo>
                  <a:lnTo>
                    <a:pt x="254" y="0"/>
                  </a:lnTo>
                  <a:lnTo>
                    <a:pt x="28" y="4"/>
                  </a:lnTo>
                  <a:lnTo>
                    <a:pt x="26" y="6"/>
                  </a:lnTo>
                  <a:lnTo>
                    <a:pt x="26" y="42"/>
                  </a:lnTo>
                  <a:lnTo>
                    <a:pt x="24" y="42"/>
                  </a:lnTo>
                  <a:lnTo>
                    <a:pt x="20" y="44"/>
                  </a:lnTo>
                  <a:lnTo>
                    <a:pt x="0" y="66"/>
                  </a:lnTo>
                  <a:lnTo>
                    <a:pt x="0" y="70"/>
                  </a:lnTo>
                  <a:lnTo>
                    <a:pt x="6" y="242"/>
                  </a:lnTo>
                  <a:lnTo>
                    <a:pt x="444" y="242"/>
                  </a:lnTo>
                  <a:lnTo>
                    <a:pt x="436" y="52"/>
                  </a:lnTo>
                  <a:lnTo>
                    <a:pt x="436" y="4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latin typeface="Calibri" pitchFamily="-112" charset="0"/>
              </a:endParaRPr>
            </a:p>
          </p:txBody>
        </p:sp>
        <p:sp>
          <p:nvSpPr>
            <p:cNvPr id="56" name="Freeform 266"/>
            <p:cNvSpPr>
              <a:spLocks/>
            </p:cNvSpPr>
            <p:nvPr/>
          </p:nvSpPr>
          <p:spPr bwMode="auto">
            <a:xfrm>
              <a:off x="-2446697" y="3017420"/>
              <a:ext cx="1129852" cy="1268818"/>
            </a:xfrm>
            <a:custGeom>
              <a:avLst/>
              <a:gdLst>
                <a:gd name="T0" fmla="*/ 2147483647 w 374"/>
                <a:gd name="T1" fmla="*/ 2147483647 h 420"/>
                <a:gd name="T2" fmla="*/ 2147483647 w 374"/>
                <a:gd name="T3" fmla="*/ 2147483647 h 420"/>
                <a:gd name="T4" fmla="*/ 2147483647 w 374"/>
                <a:gd name="T5" fmla="*/ 2147483647 h 420"/>
                <a:gd name="T6" fmla="*/ 2147483647 w 374"/>
                <a:gd name="T7" fmla="*/ 2147483647 h 420"/>
                <a:gd name="T8" fmla="*/ 2147483647 w 374"/>
                <a:gd name="T9" fmla="*/ 2147483647 h 420"/>
                <a:gd name="T10" fmla="*/ 2147483647 w 374"/>
                <a:gd name="T11" fmla="*/ 2147483647 h 420"/>
                <a:gd name="T12" fmla="*/ 2147483647 w 374"/>
                <a:gd name="T13" fmla="*/ 2147483647 h 420"/>
                <a:gd name="T14" fmla="*/ 2147483647 w 374"/>
                <a:gd name="T15" fmla="*/ 2147483647 h 420"/>
                <a:gd name="T16" fmla="*/ 2147483647 w 374"/>
                <a:gd name="T17" fmla="*/ 2147483647 h 420"/>
                <a:gd name="T18" fmla="*/ 2147483647 w 374"/>
                <a:gd name="T19" fmla="*/ 2147483647 h 420"/>
                <a:gd name="T20" fmla="*/ 2147483647 w 374"/>
                <a:gd name="T21" fmla="*/ 2147483647 h 420"/>
                <a:gd name="T22" fmla="*/ 2147483647 w 374"/>
                <a:gd name="T23" fmla="*/ 2147483647 h 420"/>
                <a:gd name="T24" fmla="*/ 2147483647 w 374"/>
                <a:gd name="T25" fmla="*/ 2147483647 h 420"/>
                <a:gd name="T26" fmla="*/ 2147483647 w 374"/>
                <a:gd name="T27" fmla="*/ 2147483647 h 420"/>
                <a:gd name="T28" fmla="*/ 2147483647 w 374"/>
                <a:gd name="T29" fmla="*/ 2147483647 h 420"/>
                <a:gd name="T30" fmla="*/ 2147483647 w 374"/>
                <a:gd name="T31" fmla="*/ 2147483647 h 420"/>
                <a:gd name="T32" fmla="*/ 2147483647 w 374"/>
                <a:gd name="T33" fmla="*/ 2147483647 h 420"/>
                <a:gd name="T34" fmla="*/ 2147483647 w 374"/>
                <a:gd name="T35" fmla="*/ 2147483647 h 420"/>
                <a:gd name="T36" fmla="*/ 2147483647 w 374"/>
                <a:gd name="T37" fmla="*/ 2147483647 h 420"/>
                <a:gd name="T38" fmla="*/ 2147483647 w 374"/>
                <a:gd name="T39" fmla="*/ 2147483647 h 420"/>
                <a:gd name="T40" fmla="*/ 2147483647 w 374"/>
                <a:gd name="T41" fmla="*/ 2147483647 h 420"/>
                <a:gd name="T42" fmla="*/ 2147483647 w 374"/>
                <a:gd name="T43" fmla="*/ 2147483647 h 420"/>
                <a:gd name="T44" fmla="*/ 2147483647 w 374"/>
                <a:gd name="T45" fmla="*/ 2147483647 h 420"/>
                <a:gd name="T46" fmla="*/ 2147483647 w 374"/>
                <a:gd name="T47" fmla="*/ 2147483647 h 420"/>
                <a:gd name="T48" fmla="*/ 2147483647 w 374"/>
                <a:gd name="T49" fmla="*/ 0 h 420"/>
                <a:gd name="T50" fmla="*/ 2147483647 w 374"/>
                <a:gd name="T51" fmla="*/ 0 h 420"/>
                <a:gd name="T52" fmla="*/ 2147483647 w 374"/>
                <a:gd name="T53" fmla="*/ 0 h 420"/>
                <a:gd name="T54" fmla="*/ 2147483647 w 374"/>
                <a:gd name="T55" fmla="*/ 0 h 420"/>
                <a:gd name="T56" fmla="*/ 2147483647 w 374"/>
                <a:gd name="T57" fmla="*/ 2147483647 h 420"/>
                <a:gd name="T58" fmla="*/ 2147483647 w 374"/>
                <a:gd name="T59" fmla="*/ 2147483647 h 420"/>
                <a:gd name="T60" fmla="*/ 2147483647 w 374"/>
                <a:gd name="T61" fmla="*/ 2147483647 h 420"/>
                <a:gd name="T62" fmla="*/ 2147483647 w 374"/>
                <a:gd name="T63" fmla="*/ 2147483647 h 420"/>
                <a:gd name="T64" fmla="*/ 2147483647 w 374"/>
                <a:gd name="T65" fmla="*/ 2147483647 h 420"/>
                <a:gd name="T66" fmla="*/ 2147483647 w 374"/>
                <a:gd name="T67" fmla="*/ 2147483647 h 420"/>
                <a:gd name="T68" fmla="*/ 2147483647 w 374"/>
                <a:gd name="T69" fmla="*/ 2147483647 h 420"/>
                <a:gd name="T70" fmla="*/ 2147483647 w 374"/>
                <a:gd name="T71" fmla="*/ 2147483647 h 420"/>
                <a:gd name="T72" fmla="*/ 2147483647 w 374"/>
                <a:gd name="T73" fmla="*/ 2147483647 h 420"/>
                <a:gd name="T74" fmla="*/ 2147483647 w 374"/>
                <a:gd name="T75" fmla="*/ 2147483647 h 420"/>
                <a:gd name="T76" fmla="*/ 2147483647 w 374"/>
                <a:gd name="T77" fmla="*/ 2147483647 h 420"/>
                <a:gd name="T78" fmla="*/ 2147483647 w 374"/>
                <a:gd name="T79" fmla="*/ 2147483647 h 420"/>
                <a:gd name="T80" fmla="*/ 2147483647 w 374"/>
                <a:gd name="T81" fmla="*/ 2147483647 h 420"/>
                <a:gd name="T82" fmla="*/ 2147483647 w 374"/>
                <a:gd name="T83" fmla="*/ 2147483647 h 420"/>
                <a:gd name="T84" fmla="*/ 2147483647 w 374"/>
                <a:gd name="T85" fmla="*/ 2147483647 h 420"/>
                <a:gd name="T86" fmla="*/ 2147483647 w 374"/>
                <a:gd name="T87" fmla="*/ 2147483647 h 420"/>
                <a:gd name="T88" fmla="*/ 2147483647 w 374"/>
                <a:gd name="T89" fmla="*/ 2147483647 h 420"/>
                <a:gd name="T90" fmla="*/ 2147483647 w 374"/>
                <a:gd name="T91" fmla="*/ 2147483647 h 420"/>
                <a:gd name="T92" fmla="*/ 2147483647 w 374"/>
                <a:gd name="T93" fmla="*/ 2147483647 h 420"/>
                <a:gd name="T94" fmla="*/ 2147483647 w 374"/>
                <a:gd name="T95" fmla="*/ 2147483647 h 420"/>
                <a:gd name="T96" fmla="*/ 2147483647 w 374"/>
                <a:gd name="T97" fmla="*/ 2147483647 h 420"/>
                <a:gd name="T98" fmla="*/ 2147483647 w 374"/>
                <a:gd name="T99" fmla="*/ 2147483647 h 420"/>
                <a:gd name="T100" fmla="*/ 2147483647 w 374"/>
                <a:gd name="T101" fmla="*/ 2147483647 h 420"/>
                <a:gd name="T102" fmla="*/ 2147483647 w 374"/>
                <a:gd name="T103" fmla="*/ 2147483647 h 420"/>
                <a:gd name="T104" fmla="*/ 2147483647 w 374"/>
                <a:gd name="T105" fmla="*/ 2147483647 h 420"/>
                <a:gd name="T106" fmla="*/ 2147483647 w 374"/>
                <a:gd name="T107" fmla="*/ 2147483647 h 420"/>
                <a:gd name="T108" fmla="*/ 0 w 374"/>
                <a:gd name="T109" fmla="*/ 2147483647 h 420"/>
                <a:gd name="T110" fmla="*/ 0 w 374"/>
                <a:gd name="T111" fmla="*/ 2147483647 h 420"/>
                <a:gd name="T112" fmla="*/ 0 w 374"/>
                <a:gd name="T113" fmla="*/ 2147483647 h 420"/>
                <a:gd name="T114" fmla="*/ 2147483647 w 374"/>
                <a:gd name="T115" fmla="*/ 2147483647 h 420"/>
                <a:gd name="T116" fmla="*/ 2147483647 w 374"/>
                <a:gd name="T117" fmla="*/ 2147483647 h 420"/>
                <a:gd name="T118" fmla="*/ 2147483647 w 374"/>
                <a:gd name="T119" fmla="*/ 2147483647 h 420"/>
                <a:gd name="T120" fmla="*/ 2147483647 w 374"/>
                <a:gd name="T121" fmla="*/ 2147483647 h 420"/>
                <a:gd name="T122" fmla="*/ 2147483647 w 374"/>
                <a:gd name="T123" fmla="*/ 2147483647 h 420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374"/>
                <a:gd name="T187" fmla="*/ 0 h 420"/>
                <a:gd name="T188" fmla="*/ 374 w 374"/>
                <a:gd name="T189" fmla="*/ 420 h 420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374" h="420">
                  <a:moveTo>
                    <a:pt x="374" y="236"/>
                  </a:moveTo>
                  <a:lnTo>
                    <a:pt x="352" y="214"/>
                  </a:lnTo>
                  <a:lnTo>
                    <a:pt x="350" y="214"/>
                  </a:lnTo>
                  <a:lnTo>
                    <a:pt x="242" y="210"/>
                  </a:lnTo>
                  <a:lnTo>
                    <a:pt x="246" y="190"/>
                  </a:lnTo>
                  <a:lnTo>
                    <a:pt x="246" y="186"/>
                  </a:lnTo>
                  <a:lnTo>
                    <a:pt x="242" y="130"/>
                  </a:lnTo>
                  <a:lnTo>
                    <a:pt x="240" y="126"/>
                  </a:lnTo>
                  <a:lnTo>
                    <a:pt x="236" y="100"/>
                  </a:lnTo>
                  <a:lnTo>
                    <a:pt x="236" y="98"/>
                  </a:lnTo>
                  <a:lnTo>
                    <a:pt x="250" y="64"/>
                  </a:lnTo>
                  <a:lnTo>
                    <a:pt x="252" y="62"/>
                  </a:lnTo>
                  <a:lnTo>
                    <a:pt x="258" y="42"/>
                  </a:lnTo>
                  <a:lnTo>
                    <a:pt x="258" y="40"/>
                  </a:lnTo>
                  <a:lnTo>
                    <a:pt x="252" y="34"/>
                  </a:lnTo>
                  <a:lnTo>
                    <a:pt x="250" y="32"/>
                  </a:lnTo>
                  <a:lnTo>
                    <a:pt x="68" y="0"/>
                  </a:lnTo>
                  <a:lnTo>
                    <a:pt x="64" y="0"/>
                  </a:lnTo>
                  <a:lnTo>
                    <a:pt x="58" y="16"/>
                  </a:lnTo>
                  <a:lnTo>
                    <a:pt x="52" y="32"/>
                  </a:lnTo>
                  <a:lnTo>
                    <a:pt x="46" y="54"/>
                  </a:lnTo>
                  <a:lnTo>
                    <a:pt x="44" y="76"/>
                  </a:lnTo>
                  <a:lnTo>
                    <a:pt x="44" y="88"/>
                  </a:lnTo>
                  <a:lnTo>
                    <a:pt x="46" y="102"/>
                  </a:lnTo>
                  <a:lnTo>
                    <a:pt x="50" y="114"/>
                  </a:lnTo>
                  <a:lnTo>
                    <a:pt x="54" y="126"/>
                  </a:lnTo>
                  <a:lnTo>
                    <a:pt x="62" y="138"/>
                  </a:lnTo>
                  <a:lnTo>
                    <a:pt x="70" y="148"/>
                  </a:lnTo>
                  <a:lnTo>
                    <a:pt x="76" y="164"/>
                  </a:lnTo>
                  <a:lnTo>
                    <a:pt x="78" y="166"/>
                  </a:lnTo>
                  <a:lnTo>
                    <a:pt x="84" y="180"/>
                  </a:lnTo>
                  <a:lnTo>
                    <a:pt x="86" y="184"/>
                  </a:lnTo>
                  <a:lnTo>
                    <a:pt x="86" y="200"/>
                  </a:lnTo>
                  <a:lnTo>
                    <a:pt x="86" y="204"/>
                  </a:lnTo>
                  <a:lnTo>
                    <a:pt x="34" y="202"/>
                  </a:lnTo>
                  <a:lnTo>
                    <a:pt x="30" y="204"/>
                  </a:lnTo>
                  <a:lnTo>
                    <a:pt x="8" y="224"/>
                  </a:lnTo>
                  <a:lnTo>
                    <a:pt x="8" y="228"/>
                  </a:lnTo>
                  <a:lnTo>
                    <a:pt x="0" y="420"/>
                  </a:lnTo>
                  <a:lnTo>
                    <a:pt x="368" y="420"/>
                  </a:lnTo>
                  <a:lnTo>
                    <a:pt x="374" y="240"/>
                  </a:lnTo>
                  <a:lnTo>
                    <a:pt x="374" y="23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latin typeface="Calibri" pitchFamily="-112" charset="0"/>
              </a:endParaRPr>
            </a:p>
          </p:txBody>
        </p:sp>
      </p:grpSp>
      <p:grpSp>
        <p:nvGrpSpPr>
          <p:cNvPr id="57" name="Gruppe 28"/>
          <p:cNvGrpSpPr>
            <a:grpSpLocks/>
          </p:cNvGrpSpPr>
          <p:nvPr/>
        </p:nvGrpSpPr>
        <p:grpSpPr bwMode="auto">
          <a:xfrm>
            <a:off x="1209619" y="2826392"/>
            <a:ext cx="643909" cy="1734356"/>
            <a:chOff x="906463" y="3581400"/>
            <a:chExt cx="777875" cy="2095500"/>
          </a:xfrm>
        </p:grpSpPr>
        <p:sp>
          <p:nvSpPr>
            <p:cNvPr id="58" name="Freeform 137"/>
            <p:cNvSpPr>
              <a:spLocks noEditPoints="1"/>
            </p:cNvSpPr>
            <p:nvPr/>
          </p:nvSpPr>
          <p:spPr bwMode="auto">
            <a:xfrm>
              <a:off x="1087404" y="3879066"/>
              <a:ext cx="556349" cy="1229563"/>
            </a:xfrm>
            <a:custGeom>
              <a:avLst/>
              <a:gdLst>
                <a:gd name="T0" fmla="*/ 2147483647 w 350"/>
                <a:gd name="T1" fmla="*/ 2147483647 h 774"/>
                <a:gd name="T2" fmla="*/ 2147483647 w 350"/>
                <a:gd name="T3" fmla="*/ 2147483647 h 774"/>
                <a:gd name="T4" fmla="*/ 2147483647 w 350"/>
                <a:gd name="T5" fmla="*/ 2147483647 h 774"/>
                <a:gd name="T6" fmla="*/ 2147483647 w 350"/>
                <a:gd name="T7" fmla="*/ 2147483647 h 774"/>
                <a:gd name="T8" fmla="*/ 2147483647 w 350"/>
                <a:gd name="T9" fmla="*/ 2147483647 h 774"/>
                <a:gd name="T10" fmla="*/ 2147483647 w 350"/>
                <a:gd name="T11" fmla="*/ 2147483647 h 774"/>
                <a:gd name="T12" fmla="*/ 2147483647 w 350"/>
                <a:gd name="T13" fmla="*/ 2147483647 h 774"/>
                <a:gd name="T14" fmla="*/ 2147483647 w 350"/>
                <a:gd name="T15" fmla="*/ 2147483647 h 774"/>
                <a:gd name="T16" fmla="*/ 2147483647 w 350"/>
                <a:gd name="T17" fmla="*/ 0 h 774"/>
                <a:gd name="T18" fmla="*/ 2147483647 w 350"/>
                <a:gd name="T19" fmla="*/ 2147483647 h 774"/>
                <a:gd name="T20" fmla="*/ 2147483647 w 350"/>
                <a:gd name="T21" fmla="*/ 2147483647 h 774"/>
                <a:gd name="T22" fmla="*/ 2147483647 w 350"/>
                <a:gd name="T23" fmla="*/ 2147483647 h 774"/>
                <a:gd name="T24" fmla="*/ 2147483647 w 350"/>
                <a:gd name="T25" fmla="*/ 2147483647 h 774"/>
                <a:gd name="T26" fmla="*/ 2147483647 w 350"/>
                <a:gd name="T27" fmla="*/ 2147483647 h 774"/>
                <a:gd name="T28" fmla="*/ 0 w 350"/>
                <a:gd name="T29" fmla="*/ 2147483647 h 774"/>
                <a:gd name="T30" fmla="*/ 2147483647 w 350"/>
                <a:gd name="T31" fmla="*/ 2147483647 h 774"/>
                <a:gd name="T32" fmla="*/ 2147483647 w 350"/>
                <a:gd name="T33" fmla="*/ 2147483647 h 774"/>
                <a:gd name="T34" fmla="*/ 2147483647 w 350"/>
                <a:gd name="T35" fmla="*/ 2147483647 h 774"/>
                <a:gd name="T36" fmla="*/ 2147483647 w 350"/>
                <a:gd name="T37" fmla="*/ 2147483647 h 774"/>
                <a:gd name="T38" fmla="*/ 2147483647 w 350"/>
                <a:gd name="T39" fmla="*/ 2147483647 h 774"/>
                <a:gd name="T40" fmla="*/ 2147483647 w 350"/>
                <a:gd name="T41" fmla="*/ 2147483647 h 774"/>
                <a:gd name="T42" fmla="*/ 2147483647 w 350"/>
                <a:gd name="T43" fmla="*/ 2147483647 h 774"/>
                <a:gd name="T44" fmla="*/ 2147483647 w 350"/>
                <a:gd name="T45" fmla="*/ 2147483647 h 774"/>
                <a:gd name="T46" fmla="*/ 2147483647 w 350"/>
                <a:gd name="T47" fmla="*/ 2147483647 h 774"/>
                <a:gd name="T48" fmla="*/ 2147483647 w 350"/>
                <a:gd name="T49" fmla="*/ 2147483647 h 774"/>
                <a:gd name="T50" fmla="*/ 2147483647 w 350"/>
                <a:gd name="T51" fmla="*/ 2147483647 h 774"/>
                <a:gd name="T52" fmla="*/ 2147483647 w 350"/>
                <a:gd name="T53" fmla="*/ 2147483647 h 774"/>
                <a:gd name="T54" fmla="*/ 2147483647 w 350"/>
                <a:gd name="T55" fmla="*/ 2147483647 h 774"/>
                <a:gd name="T56" fmla="*/ 2147483647 w 350"/>
                <a:gd name="T57" fmla="*/ 2147483647 h 774"/>
                <a:gd name="T58" fmla="*/ 2147483647 w 350"/>
                <a:gd name="T59" fmla="*/ 2147483647 h 774"/>
                <a:gd name="T60" fmla="*/ 2147483647 w 350"/>
                <a:gd name="T61" fmla="*/ 2147483647 h 774"/>
                <a:gd name="T62" fmla="*/ 2147483647 w 350"/>
                <a:gd name="T63" fmla="*/ 2147483647 h 774"/>
                <a:gd name="T64" fmla="*/ 2147483647 w 350"/>
                <a:gd name="T65" fmla="*/ 2147483647 h 774"/>
                <a:gd name="T66" fmla="*/ 2147483647 w 350"/>
                <a:gd name="T67" fmla="*/ 2147483647 h 774"/>
                <a:gd name="T68" fmla="*/ 2147483647 w 350"/>
                <a:gd name="T69" fmla="*/ 2147483647 h 774"/>
                <a:gd name="T70" fmla="*/ 2147483647 w 350"/>
                <a:gd name="T71" fmla="*/ 2147483647 h 774"/>
                <a:gd name="T72" fmla="*/ 2147483647 w 350"/>
                <a:gd name="T73" fmla="*/ 2147483647 h 774"/>
                <a:gd name="T74" fmla="*/ 2147483647 w 350"/>
                <a:gd name="T75" fmla="*/ 2147483647 h 774"/>
                <a:gd name="T76" fmla="*/ 2147483647 w 350"/>
                <a:gd name="T77" fmla="*/ 2147483647 h 774"/>
                <a:gd name="T78" fmla="*/ 2147483647 w 350"/>
                <a:gd name="T79" fmla="*/ 2147483647 h 774"/>
                <a:gd name="T80" fmla="*/ 2147483647 w 350"/>
                <a:gd name="T81" fmla="*/ 2147483647 h 774"/>
                <a:gd name="T82" fmla="*/ 2147483647 w 350"/>
                <a:gd name="T83" fmla="*/ 2147483647 h 774"/>
                <a:gd name="T84" fmla="*/ 2147483647 w 350"/>
                <a:gd name="T85" fmla="*/ 2147483647 h 774"/>
                <a:gd name="T86" fmla="*/ 2147483647 w 350"/>
                <a:gd name="T87" fmla="*/ 2147483647 h 774"/>
                <a:gd name="T88" fmla="*/ 2147483647 w 350"/>
                <a:gd name="T89" fmla="*/ 2147483647 h 774"/>
                <a:gd name="T90" fmla="*/ 2147483647 w 350"/>
                <a:gd name="T91" fmla="*/ 2147483647 h 774"/>
                <a:gd name="T92" fmla="*/ 2147483647 w 350"/>
                <a:gd name="T93" fmla="*/ 2147483647 h 774"/>
                <a:gd name="T94" fmla="*/ 2147483647 w 350"/>
                <a:gd name="T95" fmla="*/ 2147483647 h 774"/>
                <a:gd name="T96" fmla="*/ 2147483647 w 350"/>
                <a:gd name="T97" fmla="*/ 2147483647 h 774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350"/>
                <a:gd name="T148" fmla="*/ 0 h 774"/>
                <a:gd name="T149" fmla="*/ 350 w 350"/>
                <a:gd name="T150" fmla="*/ 774 h 774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350" h="774">
                  <a:moveTo>
                    <a:pt x="344" y="262"/>
                  </a:moveTo>
                  <a:lnTo>
                    <a:pt x="344" y="262"/>
                  </a:lnTo>
                  <a:lnTo>
                    <a:pt x="322" y="164"/>
                  </a:lnTo>
                  <a:lnTo>
                    <a:pt x="300" y="102"/>
                  </a:lnTo>
                  <a:lnTo>
                    <a:pt x="300" y="96"/>
                  </a:lnTo>
                  <a:lnTo>
                    <a:pt x="300" y="88"/>
                  </a:lnTo>
                  <a:lnTo>
                    <a:pt x="296" y="80"/>
                  </a:lnTo>
                  <a:lnTo>
                    <a:pt x="294" y="76"/>
                  </a:lnTo>
                  <a:lnTo>
                    <a:pt x="294" y="72"/>
                  </a:lnTo>
                  <a:lnTo>
                    <a:pt x="292" y="56"/>
                  </a:lnTo>
                  <a:lnTo>
                    <a:pt x="288" y="46"/>
                  </a:lnTo>
                  <a:lnTo>
                    <a:pt x="284" y="40"/>
                  </a:lnTo>
                  <a:lnTo>
                    <a:pt x="280" y="36"/>
                  </a:lnTo>
                  <a:lnTo>
                    <a:pt x="270" y="30"/>
                  </a:lnTo>
                  <a:lnTo>
                    <a:pt x="260" y="26"/>
                  </a:lnTo>
                  <a:lnTo>
                    <a:pt x="258" y="26"/>
                  </a:lnTo>
                  <a:lnTo>
                    <a:pt x="234" y="20"/>
                  </a:lnTo>
                  <a:lnTo>
                    <a:pt x="226" y="18"/>
                  </a:lnTo>
                  <a:lnTo>
                    <a:pt x="212" y="14"/>
                  </a:lnTo>
                  <a:lnTo>
                    <a:pt x="176" y="8"/>
                  </a:lnTo>
                  <a:lnTo>
                    <a:pt x="120" y="0"/>
                  </a:lnTo>
                  <a:lnTo>
                    <a:pt x="112" y="0"/>
                  </a:lnTo>
                  <a:lnTo>
                    <a:pt x="98" y="4"/>
                  </a:lnTo>
                  <a:lnTo>
                    <a:pt x="84" y="8"/>
                  </a:lnTo>
                  <a:lnTo>
                    <a:pt x="76" y="14"/>
                  </a:lnTo>
                  <a:lnTo>
                    <a:pt x="68" y="18"/>
                  </a:lnTo>
                  <a:lnTo>
                    <a:pt x="58" y="22"/>
                  </a:lnTo>
                  <a:lnTo>
                    <a:pt x="42" y="28"/>
                  </a:lnTo>
                  <a:lnTo>
                    <a:pt x="28" y="32"/>
                  </a:lnTo>
                  <a:lnTo>
                    <a:pt x="12" y="36"/>
                  </a:lnTo>
                  <a:lnTo>
                    <a:pt x="8" y="38"/>
                  </a:lnTo>
                  <a:lnTo>
                    <a:pt x="6" y="42"/>
                  </a:lnTo>
                  <a:lnTo>
                    <a:pt x="4" y="48"/>
                  </a:lnTo>
                  <a:lnTo>
                    <a:pt x="0" y="60"/>
                  </a:lnTo>
                  <a:lnTo>
                    <a:pt x="0" y="70"/>
                  </a:lnTo>
                  <a:lnTo>
                    <a:pt x="2" y="80"/>
                  </a:lnTo>
                  <a:lnTo>
                    <a:pt x="6" y="86"/>
                  </a:lnTo>
                  <a:lnTo>
                    <a:pt x="18" y="106"/>
                  </a:lnTo>
                  <a:lnTo>
                    <a:pt x="30" y="158"/>
                  </a:lnTo>
                  <a:lnTo>
                    <a:pt x="42" y="208"/>
                  </a:lnTo>
                  <a:lnTo>
                    <a:pt x="50" y="224"/>
                  </a:lnTo>
                  <a:lnTo>
                    <a:pt x="56" y="240"/>
                  </a:lnTo>
                  <a:lnTo>
                    <a:pt x="60" y="252"/>
                  </a:lnTo>
                  <a:lnTo>
                    <a:pt x="64" y="266"/>
                  </a:lnTo>
                  <a:lnTo>
                    <a:pt x="72" y="284"/>
                  </a:lnTo>
                  <a:lnTo>
                    <a:pt x="80" y="304"/>
                  </a:lnTo>
                  <a:lnTo>
                    <a:pt x="82" y="312"/>
                  </a:lnTo>
                  <a:lnTo>
                    <a:pt x="84" y="318"/>
                  </a:lnTo>
                  <a:lnTo>
                    <a:pt x="82" y="332"/>
                  </a:lnTo>
                  <a:lnTo>
                    <a:pt x="78" y="346"/>
                  </a:lnTo>
                  <a:lnTo>
                    <a:pt x="72" y="364"/>
                  </a:lnTo>
                  <a:lnTo>
                    <a:pt x="64" y="398"/>
                  </a:lnTo>
                  <a:lnTo>
                    <a:pt x="54" y="438"/>
                  </a:lnTo>
                  <a:lnTo>
                    <a:pt x="48" y="464"/>
                  </a:lnTo>
                  <a:lnTo>
                    <a:pt x="42" y="484"/>
                  </a:lnTo>
                  <a:lnTo>
                    <a:pt x="46" y="488"/>
                  </a:lnTo>
                  <a:lnTo>
                    <a:pt x="52" y="492"/>
                  </a:lnTo>
                  <a:lnTo>
                    <a:pt x="58" y="494"/>
                  </a:lnTo>
                  <a:lnTo>
                    <a:pt x="58" y="506"/>
                  </a:lnTo>
                  <a:lnTo>
                    <a:pt x="58" y="524"/>
                  </a:lnTo>
                  <a:lnTo>
                    <a:pt x="58" y="556"/>
                  </a:lnTo>
                  <a:lnTo>
                    <a:pt x="60" y="606"/>
                  </a:lnTo>
                  <a:lnTo>
                    <a:pt x="62" y="656"/>
                  </a:lnTo>
                  <a:lnTo>
                    <a:pt x="62" y="672"/>
                  </a:lnTo>
                  <a:lnTo>
                    <a:pt x="62" y="682"/>
                  </a:lnTo>
                  <a:lnTo>
                    <a:pt x="62" y="710"/>
                  </a:lnTo>
                  <a:lnTo>
                    <a:pt x="62" y="732"/>
                  </a:lnTo>
                  <a:lnTo>
                    <a:pt x="62" y="752"/>
                  </a:lnTo>
                  <a:lnTo>
                    <a:pt x="72" y="756"/>
                  </a:lnTo>
                  <a:lnTo>
                    <a:pt x="108" y="770"/>
                  </a:lnTo>
                  <a:lnTo>
                    <a:pt x="122" y="774"/>
                  </a:lnTo>
                  <a:lnTo>
                    <a:pt x="136" y="774"/>
                  </a:lnTo>
                  <a:lnTo>
                    <a:pt x="152" y="774"/>
                  </a:lnTo>
                  <a:lnTo>
                    <a:pt x="168" y="770"/>
                  </a:lnTo>
                  <a:lnTo>
                    <a:pt x="196" y="764"/>
                  </a:lnTo>
                  <a:lnTo>
                    <a:pt x="214" y="760"/>
                  </a:lnTo>
                  <a:lnTo>
                    <a:pt x="264" y="746"/>
                  </a:lnTo>
                  <a:lnTo>
                    <a:pt x="288" y="738"/>
                  </a:lnTo>
                  <a:lnTo>
                    <a:pt x="310" y="728"/>
                  </a:lnTo>
                  <a:lnTo>
                    <a:pt x="330" y="716"/>
                  </a:lnTo>
                  <a:lnTo>
                    <a:pt x="328" y="676"/>
                  </a:lnTo>
                  <a:lnTo>
                    <a:pt x="326" y="616"/>
                  </a:lnTo>
                  <a:lnTo>
                    <a:pt x="326" y="532"/>
                  </a:lnTo>
                  <a:lnTo>
                    <a:pt x="324" y="468"/>
                  </a:lnTo>
                  <a:lnTo>
                    <a:pt x="326" y="460"/>
                  </a:lnTo>
                  <a:lnTo>
                    <a:pt x="326" y="446"/>
                  </a:lnTo>
                  <a:lnTo>
                    <a:pt x="324" y="434"/>
                  </a:lnTo>
                  <a:lnTo>
                    <a:pt x="316" y="408"/>
                  </a:lnTo>
                  <a:lnTo>
                    <a:pt x="310" y="392"/>
                  </a:lnTo>
                  <a:lnTo>
                    <a:pt x="308" y="384"/>
                  </a:lnTo>
                  <a:lnTo>
                    <a:pt x="324" y="344"/>
                  </a:lnTo>
                  <a:lnTo>
                    <a:pt x="338" y="314"/>
                  </a:lnTo>
                  <a:lnTo>
                    <a:pt x="342" y="298"/>
                  </a:lnTo>
                  <a:lnTo>
                    <a:pt x="344" y="290"/>
                  </a:lnTo>
                  <a:lnTo>
                    <a:pt x="348" y="280"/>
                  </a:lnTo>
                  <a:lnTo>
                    <a:pt x="350" y="276"/>
                  </a:lnTo>
                  <a:lnTo>
                    <a:pt x="348" y="272"/>
                  </a:lnTo>
                  <a:lnTo>
                    <a:pt x="344" y="262"/>
                  </a:lnTo>
                  <a:close/>
                  <a:moveTo>
                    <a:pt x="280" y="246"/>
                  </a:moveTo>
                  <a:lnTo>
                    <a:pt x="276" y="250"/>
                  </a:lnTo>
                  <a:lnTo>
                    <a:pt x="276" y="256"/>
                  </a:lnTo>
                  <a:lnTo>
                    <a:pt x="272" y="258"/>
                  </a:lnTo>
                  <a:lnTo>
                    <a:pt x="274" y="236"/>
                  </a:lnTo>
                  <a:lnTo>
                    <a:pt x="278" y="236"/>
                  </a:lnTo>
                  <a:lnTo>
                    <a:pt x="280" y="238"/>
                  </a:lnTo>
                  <a:lnTo>
                    <a:pt x="282" y="240"/>
                  </a:lnTo>
                  <a:lnTo>
                    <a:pt x="282" y="246"/>
                  </a:lnTo>
                  <a:lnTo>
                    <a:pt x="280" y="246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59" name="Freeform 138"/>
            <p:cNvSpPr>
              <a:spLocks/>
            </p:cNvSpPr>
            <p:nvPr/>
          </p:nvSpPr>
          <p:spPr bwMode="auto">
            <a:xfrm>
              <a:off x="1268344" y="3863845"/>
              <a:ext cx="191087" cy="311196"/>
            </a:xfrm>
            <a:custGeom>
              <a:avLst/>
              <a:gdLst>
                <a:gd name="T0" fmla="*/ 2147483647 w 120"/>
                <a:gd name="T1" fmla="*/ 2147483647 h 196"/>
                <a:gd name="T2" fmla="*/ 2147483647 w 120"/>
                <a:gd name="T3" fmla="*/ 2147483647 h 196"/>
                <a:gd name="T4" fmla="*/ 2147483647 w 120"/>
                <a:gd name="T5" fmla="*/ 2147483647 h 196"/>
                <a:gd name="T6" fmla="*/ 2147483647 w 120"/>
                <a:gd name="T7" fmla="*/ 2147483647 h 196"/>
                <a:gd name="T8" fmla="*/ 2147483647 w 120"/>
                <a:gd name="T9" fmla="*/ 2147483647 h 196"/>
                <a:gd name="T10" fmla="*/ 2147483647 w 120"/>
                <a:gd name="T11" fmla="*/ 2147483647 h 196"/>
                <a:gd name="T12" fmla="*/ 2147483647 w 120"/>
                <a:gd name="T13" fmla="*/ 2147483647 h 196"/>
                <a:gd name="T14" fmla="*/ 2147483647 w 120"/>
                <a:gd name="T15" fmla="*/ 2147483647 h 196"/>
                <a:gd name="T16" fmla="*/ 2147483647 w 120"/>
                <a:gd name="T17" fmla="*/ 2147483647 h 196"/>
                <a:gd name="T18" fmla="*/ 2147483647 w 120"/>
                <a:gd name="T19" fmla="*/ 2147483647 h 196"/>
                <a:gd name="T20" fmla="*/ 2147483647 w 120"/>
                <a:gd name="T21" fmla="*/ 2147483647 h 196"/>
                <a:gd name="T22" fmla="*/ 2147483647 w 120"/>
                <a:gd name="T23" fmla="*/ 2147483647 h 196"/>
                <a:gd name="T24" fmla="*/ 2147483647 w 120"/>
                <a:gd name="T25" fmla="*/ 2147483647 h 196"/>
                <a:gd name="T26" fmla="*/ 2147483647 w 120"/>
                <a:gd name="T27" fmla="*/ 2147483647 h 196"/>
                <a:gd name="T28" fmla="*/ 2147483647 w 120"/>
                <a:gd name="T29" fmla="*/ 2147483647 h 196"/>
                <a:gd name="T30" fmla="*/ 2147483647 w 120"/>
                <a:gd name="T31" fmla="*/ 2147483647 h 196"/>
                <a:gd name="T32" fmla="*/ 2147483647 w 120"/>
                <a:gd name="T33" fmla="*/ 2147483647 h 196"/>
                <a:gd name="T34" fmla="*/ 2147483647 w 120"/>
                <a:gd name="T35" fmla="*/ 2147483647 h 196"/>
                <a:gd name="T36" fmla="*/ 2147483647 w 120"/>
                <a:gd name="T37" fmla="*/ 2147483647 h 196"/>
                <a:gd name="T38" fmla="*/ 2147483647 w 120"/>
                <a:gd name="T39" fmla="*/ 2147483647 h 196"/>
                <a:gd name="T40" fmla="*/ 0 w 120"/>
                <a:gd name="T41" fmla="*/ 2147483647 h 196"/>
                <a:gd name="T42" fmla="*/ 2147483647 w 120"/>
                <a:gd name="T43" fmla="*/ 2147483647 h 196"/>
                <a:gd name="T44" fmla="*/ 2147483647 w 120"/>
                <a:gd name="T45" fmla="*/ 2147483647 h 196"/>
                <a:gd name="T46" fmla="*/ 2147483647 w 120"/>
                <a:gd name="T47" fmla="*/ 2147483647 h 196"/>
                <a:gd name="T48" fmla="*/ 2147483647 w 120"/>
                <a:gd name="T49" fmla="*/ 0 h 196"/>
                <a:gd name="T50" fmla="*/ 2147483647 w 120"/>
                <a:gd name="T51" fmla="*/ 0 h 196"/>
                <a:gd name="T52" fmla="*/ 2147483647 w 120"/>
                <a:gd name="T53" fmla="*/ 2147483647 h 196"/>
                <a:gd name="T54" fmla="*/ 2147483647 w 120"/>
                <a:gd name="T55" fmla="*/ 2147483647 h 19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120"/>
                <a:gd name="T85" fmla="*/ 0 h 196"/>
                <a:gd name="T86" fmla="*/ 120 w 120"/>
                <a:gd name="T87" fmla="*/ 196 h 196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120" h="196">
                  <a:moveTo>
                    <a:pt x="82" y="2"/>
                  </a:moveTo>
                  <a:lnTo>
                    <a:pt x="82" y="2"/>
                  </a:lnTo>
                  <a:lnTo>
                    <a:pt x="96" y="24"/>
                  </a:lnTo>
                  <a:lnTo>
                    <a:pt x="98" y="34"/>
                  </a:lnTo>
                  <a:lnTo>
                    <a:pt x="102" y="46"/>
                  </a:lnTo>
                  <a:lnTo>
                    <a:pt x="106" y="70"/>
                  </a:lnTo>
                  <a:lnTo>
                    <a:pt x="114" y="120"/>
                  </a:lnTo>
                  <a:lnTo>
                    <a:pt x="118" y="170"/>
                  </a:lnTo>
                  <a:lnTo>
                    <a:pt x="120" y="188"/>
                  </a:lnTo>
                  <a:lnTo>
                    <a:pt x="118" y="196"/>
                  </a:lnTo>
                  <a:lnTo>
                    <a:pt x="106" y="174"/>
                  </a:lnTo>
                  <a:lnTo>
                    <a:pt x="76" y="120"/>
                  </a:lnTo>
                  <a:lnTo>
                    <a:pt x="58" y="90"/>
                  </a:lnTo>
                  <a:lnTo>
                    <a:pt x="38" y="62"/>
                  </a:lnTo>
                  <a:lnTo>
                    <a:pt x="22" y="40"/>
                  </a:lnTo>
                  <a:lnTo>
                    <a:pt x="14" y="32"/>
                  </a:lnTo>
                  <a:lnTo>
                    <a:pt x="8" y="26"/>
                  </a:lnTo>
                  <a:lnTo>
                    <a:pt x="0" y="22"/>
                  </a:lnTo>
                  <a:lnTo>
                    <a:pt x="2" y="12"/>
                  </a:lnTo>
                  <a:lnTo>
                    <a:pt x="36" y="4"/>
                  </a:lnTo>
                  <a:lnTo>
                    <a:pt x="64" y="0"/>
                  </a:lnTo>
                  <a:lnTo>
                    <a:pt x="74" y="0"/>
                  </a:lnTo>
                  <a:lnTo>
                    <a:pt x="82" y="2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60" name="Freeform 139"/>
            <p:cNvSpPr>
              <a:spLocks/>
            </p:cNvSpPr>
            <p:nvPr/>
          </p:nvSpPr>
          <p:spPr bwMode="auto">
            <a:xfrm>
              <a:off x="1163500" y="3581400"/>
              <a:ext cx="321296" cy="343331"/>
            </a:xfrm>
            <a:custGeom>
              <a:avLst/>
              <a:gdLst>
                <a:gd name="T0" fmla="*/ 2147483647 w 202"/>
                <a:gd name="T1" fmla="*/ 2147483647 h 216"/>
                <a:gd name="T2" fmla="*/ 2147483647 w 202"/>
                <a:gd name="T3" fmla="*/ 2147483647 h 216"/>
                <a:gd name="T4" fmla="*/ 2147483647 w 202"/>
                <a:gd name="T5" fmla="*/ 2147483647 h 216"/>
                <a:gd name="T6" fmla="*/ 2147483647 w 202"/>
                <a:gd name="T7" fmla="*/ 2147483647 h 216"/>
                <a:gd name="T8" fmla="*/ 2147483647 w 202"/>
                <a:gd name="T9" fmla="*/ 2147483647 h 216"/>
                <a:gd name="T10" fmla="*/ 2147483647 w 202"/>
                <a:gd name="T11" fmla="*/ 2147483647 h 216"/>
                <a:gd name="T12" fmla="*/ 2147483647 w 202"/>
                <a:gd name="T13" fmla="*/ 2147483647 h 216"/>
                <a:gd name="T14" fmla="*/ 2147483647 w 202"/>
                <a:gd name="T15" fmla="*/ 2147483647 h 216"/>
                <a:gd name="T16" fmla="*/ 2147483647 w 202"/>
                <a:gd name="T17" fmla="*/ 2147483647 h 216"/>
                <a:gd name="T18" fmla="*/ 2147483647 w 202"/>
                <a:gd name="T19" fmla="*/ 2147483647 h 216"/>
                <a:gd name="T20" fmla="*/ 2147483647 w 202"/>
                <a:gd name="T21" fmla="*/ 2147483647 h 216"/>
                <a:gd name="T22" fmla="*/ 2147483647 w 202"/>
                <a:gd name="T23" fmla="*/ 2147483647 h 216"/>
                <a:gd name="T24" fmla="*/ 2147483647 w 202"/>
                <a:gd name="T25" fmla="*/ 2147483647 h 216"/>
                <a:gd name="T26" fmla="*/ 2147483647 w 202"/>
                <a:gd name="T27" fmla="*/ 2147483647 h 216"/>
                <a:gd name="T28" fmla="*/ 2147483647 w 202"/>
                <a:gd name="T29" fmla="*/ 2147483647 h 216"/>
                <a:gd name="T30" fmla="*/ 2147483647 w 202"/>
                <a:gd name="T31" fmla="*/ 2147483647 h 216"/>
                <a:gd name="T32" fmla="*/ 2147483647 w 202"/>
                <a:gd name="T33" fmla="*/ 2147483647 h 216"/>
                <a:gd name="T34" fmla="*/ 2147483647 w 202"/>
                <a:gd name="T35" fmla="*/ 2147483647 h 216"/>
                <a:gd name="T36" fmla="*/ 2147483647 w 202"/>
                <a:gd name="T37" fmla="*/ 2147483647 h 216"/>
                <a:gd name="T38" fmla="*/ 2147483647 w 202"/>
                <a:gd name="T39" fmla="*/ 2147483647 h 216"/>
                <a:gd name="T40" fmla="*/ 2147483647 w 202"/>
                <a:gd name="T41" fmla="*/ 2147483647 h 216"/>
                <a:gd name="T42" fmla="*/ 2147483647 w 202"/>
                <a:gd name="T43" fmla="*/ 2147483647 h 216"/>
                <a:gd name="T44" fmla="*/ 2147483647 w 202"/>
                <a:gd name="T45" fmla="*/ 2147483647 h 216"/>
                <a:gd name="T46" fmla="*/ 2147483647 w 202"/>
                <a:gd name="T47" fmla="*/ 2147483647 h 216"/>
                <a:gd name="T48" fmla="*/ 2147483647 w 202"/>
                <a:gd name="T49" fmla="*/ 2147483647 h 216"/>
                <a:gd name="T50" fmla="*/ 2147483647 w 202"/>
                <a:gd name="T51" fmla="*/ 2147483647 h 216"/>
                <a:gd name="T52" fmla="*/ 2147483647 w 202"/>
                <a:gd name="T53" fmla="*/ 2147483647 h 216"/>
                <a:gd name="T54" fmla="*/ 2147483647 w 202"/>
                <a:gd name="T55" fmla="*/ 2147483647 h 216"/>
                <a:gd name="T56" fmla="*/ 2147483647 w 202"/>
                <a:gd name="T57" fmla="*/ 2147483647 h 216"/>
                <a:gd name="T58" fmla="*/ 2147483647 w 202"/>
                <a:gd name="T59" fmla="*/ 2147483647 h 216"/>
                <a:gd name="T60" fmla="*/ 2147483647 w 202"/>
                <a:gd name="T61" fmla="*/ 2147483647 h 216"/>
                <a:gd name="T62" fmla="*/ 2147483647 w 202"/>
                <a:gd name="T63" fmla="*/ 2147483647 h 216"/>
                <a:gd name="T64" fmla="*/ 2147483647 w 202"/>
                <a:gd name="T65" fmla="*/ 2147483647 h 216"/>
                <a:gd name="T66" fmla="*/ 2147483647 w 202"/>
                <a:gd name="T67" fmla="*/ 2147483647 h 216"/>
                <a:gd name="T68" fmla="*/ 2147483647 w 202"/>
                <a:gd name="T69" fmla="*/ 2147483647 h 216"/>
                <a:gd name="T70" fmla="*/ 2147483647 w 202"/>
                <a:gd name="T71" fmla="*/ 2147483647 h 216"/>
                <a:gd name="T72" fmla="*/ 2147483647 w 202"/>
                <a:gd name="T73" fmla="*/ 2147483647 h 216"/>
                <a:gd name="T74" fmla="*/ 2147483647 w 202"/>
                <a:gd name="T75" fmla="*/ 2147483647 h 216"/>
                <a:gd name="T76" fmla="*/ 0 w 202"/>
                <a:gd name="T77" fmla="*/ 2147483647 h 216"/>
                <a:gd name="T78" fmla="*/ 2147483647 w 202"/>
                <a:gd name="T79" fmla="*/ 2147483647 h 216"/>
                <a:gd name="T80" fmla="*/ 2147483647 w 202"/>
                <a:gd name="T81" fmla="*/ 2147483647 h 216"/>
                <a:gd name="T82" fmla="*/ 2147483647 w 202"/>
                <a:gd name="T83" fmla="*/ 2147483647 h 216"/>
                <a:gd name="T84" fmla="*/ 2147483647 w 202"/>
                <a:gd name="T85" fmla="*/ 2147483647 h 216"/>
                <a:gd name="T86" fmla="*/ 2147483647 w 202"/>
                <a:gd name="T87" fmla="*/ 2147483647 h 216"/>
                <a:gd name="T88" fmla="*/ 2147483647 w 202"/>
                <a:gd name="T89" fmla="*/ 2147483647 h 216"/>
                <a:gd name="T90" fmla="*/ 2147483647 w 202"/>
                <a:gd name="T91" fmla="*/ 2147483647 h 216"/>
                <a:gd name="T92" fmla="*/ 2147483647 w 202"/>
                <a:gd name="T93" fmla="*/ 2147483647 h 216"/>
                <a:gd name="T94" fmla="*/ 2147483647 w 202"/>
                <a:gd name="T95" fmla="*/ 2147483647 h 216"/>
                <a:gd name="T96" fmla="*/ 2147483647 w 202"/>
                <a:gd name="T97" fmla="*/ 2147483647 h 216"/>
                <a:gd name="T98" fmla="*/ 2147483647 w 202"/>
                <a:gd name="T99" fmla="*/ 2147483647 h 216"/>
                <a:gd name="T100" fmla="*/ 2147483647 w 202"/>
                <a:gd name="T101" fmla="*/ 2147483647 h 216"/>
                <a:gd name="T102" fmla="*/ 2147483647 w 202"/>
                <a:gd name="T103" fmla="*/ 2147483647 h 216"/>
                <a:gd name="T104" fmla="*/ 2147483647 w 202"/>
                <a:gd name="T105" fmla="*/ 2147483647 h 216"/>
                <a:gd name="T106" fmla="*/ 2147483647 w 202"/>
                <a:gd name="T107" fmla="*/ 2147483647 h 21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202"/>
                <a:gd name="T163" fmla="*/ 0 h 216"/>
                <a:gd name="T164" fmla="*/ 202 w 202"/>
                <a:gd name="T165" fmla="*/ 216 h 21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202" h="216">
                  <a:moveTo>
                    <a:pt x="112" y="4"/>
                  </a:moveTo>
                  <a:lnTo>
                    <a:pt x="112" y="4"/>
                  </a:lnTo>
                  <a:lnTo>
                    <a:pt x="120" y="2"/>
                  </a:lnTo>
                  <a:lnTo>
                    <a:pt x="126" y="2"/>
                  </a:lnTo>
                  <a:lnTo>
                    <a:pt x="130" y="4"/>
                  </a:lnTo>
                  <a:lnTo>
                    <a:pt x="146" y="4"/>
                  </a:lnTo>
                  <a:lnTo>
                    <a:pt x="160" y="6"/>
                  </a:lnTo>
                  <a:lnTo>
                    <a:pt x="166" y="8"/>
                  </a:lnTo>
                  <a:lnTo>
                    <a:pt x="172" y="12"/>
                  </a:lnTo>
                  <a:lnTo>
                    <a:pt x="176" y="18"/>
                  </a:lnTo>
                  <a:lnTo>
                    <a:pt x="180" y="24"/>
                  </a:lnTo>
                  <a:lnTo>
                    <a:pt x="184" y="40"/>
                  </a:lnTo>
                  <a:lnTo>
                    <a:pt x="184" y="54"/>
                  </a:lnTo>
                  <a:lnTo>
                    <a:pt x="184" y="62"/>
                  </a:lnTo>
                  <a:lnTo>
                    <a:pt x="188" y="90"/>
                  </a:lnTo>
                  <a:lnTo>
                    <a:pt x="190" y="108"/>
                  </a:lnTo>
                  <a:lnTo>
                    <a:pt x="188" y="122"/>
                  </a:lnTo>
                  <a:lnTo>
                    <a:pt x="180" y="148"/>
                  </a:lnTo>
                  <a:lnTo>
                    <a:pt x="180" y="156"/>
                  </a:lnTo>
                  <a:lnTo>
                    <a:pt x="182" y="166"/>
                  </a:lnTo>
                  <a:lnTo>
                    <a:pt x="188" y="176"/>
                  </a:lnTo>
                  <a:lnTo>
                    <a:pt x="192" y="178"/>
                  </a:lnTo>
                  <a:lnTo>
                    <a:pt x="196" y="180"/>
                  </a:lnTo>
                  <a:lnTo>
                    <a:pt x="192" y="180"/>
                  </a:lnTo>
                  <a:lnTo>
                    <a:pt x="188" y="180"/>
                  </a:lnTo>
                  <a:lnTo>
                    <a:pt x="184" y="180"/>
                  </a:lnTo>
                  <a:lnTo>
                    <a:pt x="188" y="190"/>
                  </a:lnTo>
                  <a:lnTo>
                    <a:pt x="194" y="194"/>
                  </a:lnTo>
                  <a:lnTo>
                    <a:pt x="198" y="196"/>
                  </a:lnTo>
                  <a:lnTo>
                    <a:pt x="202" y="194"/>
                  </a:lnTo>
                  <a:lnTo>
                    <a:pt x="200" y="204"/>
                  </a:lnTo>
                  <a:lnTo>
                    <a:pt x="196" y="212"/>
                  </a:lnTo>
                  <a:lnTo>
                    <a:pt x="192" y="214"/>
                  </a:lnTo>
                  <a:lnTo>
                    <a:pt x="188" y="216"/>
                  </a:lnTo>
                  <a:lnTo>
                    <a:pt x="180" y="216"/>
                  </a:lnTo>
                  <a:lnTo>
                    <a:pt x="170" y="214"/>
                  </a:lnTo>
                  <a:lnTo>
                    <a:pt x="166" y="212"/>
                  </a:lnTo>
                  <a:lnTo>
                    <a:pt x="162" y="208"/>
                  </a:lnTo>
                  <a:lnTo>
                    <a:pt x="158" y="202"/>
                  </a:lnTo>
                  <a:lnTo>
                    <a:pt x="158" y="196"/>
                  </a:lnTo>
                  <a:lnTo>
                    <a:pt x="156" y="192"/>
                  </a:lnTo>
                  <a:lnTo>
                    <a:pt x="154" y="190"/>
                  </a:lnTo>
                  <a:lnTo>
                    <a:pt x="144" y="188"/>
                  </a:lnTo>
                  <a:lnTo>
                    <a:pt x="140" y="186"/>
                  </a:lnTo>
                  <a:lnTo>
                    <a:pt x="136" y="184"/>
                  </a:lnTo>
                  <a:lnTo>
                    <a:pt x="134" y="180"/>
                  </a:lnTo>
                  <a:lnTo>
                    <a:pt x="134" y="176"/>
                  </a:lnTo>
                  <a:lnTo>
                    <a:pt x="78" y="180"/>
                  </a:lnTo>
                  <a:lnTo>
                    <a:pt x="70" y="190"/>
                  </a:lnTo>
                  <a:lnTo>
                    <a:pt x="70" y="194"/>
                  </a:lnTo>
                  <a:lnTo>
                    <a:pt x="70" y="200"/>
                  </a:lnTo>
                  <a:lnTo>
                    <a:pt x="70" y="206"/>
                  </a:lnTo>
                  <a:lnTo>
                    <a:pt x="68" y="208"/>
                  </a:lnTo>
                  <a:lnTo>
                    <a:pt x="64" y="212"/>
                  </a:lnTo>
                  <a:lnTo>
                    <a:pt x="60" y="212"/>
                  </a:lnTo>
                  <a:lnTo>
                    <a:pt x="56" y="214"/>
                  </a:lnTo>
                  <a:lnTo>
                    <a:pt x="48" y="212"/>
                  </a:lnTo>
                  <a:lnTo>
                    <a:pt x="42" y="214"/>
                  </a:lnTo>
                  <a:lnTo>
                    <a:pt x="28" y="216"/>
                  </a:lnTo>
                  <a:lnTo>
                    <a:pt x="22" y="214"/>
                  </a:lnTo>
                  <a:lnTo>
                    <a:pt x="14" y="210"/>
                  </a:lnTo>
                  <a:lnTo>
                    <a:pt x="8" y="204"/>
                  </a:lnTo>
                  <a:lnTo>
                    <a:pt x="6" y="196"/>
                  </a:lnTo>
                  <a:lnTo>
                    <a:pt x="0" y="188"/>
                  </a:lnTo>
                  <a:lnTo>
                    <a:pt x="6" y="190"/>
                  </a:lnTo>
                  <a:lnTo>
                    <a:pt x="12" y="190"/>
                  </a:lnTo>
                  <a:lnTo>
                    <a:pt x="14" y="190"/>
                  </a:lnTo>
                  <a:lnTo>
                    <a:pt x="14" y="188"/>
                  </a:lnTo>
                  <a:lnTo>
                    <a:pt x="18" y="182"/>
                  </a:lnTo>
                  <a:lnTo>
                    <a:pt x="24" y="178"/>
                  </a:lnTo>
                  <a:lnTo>
                    <a:pt x="26" y="172"/>
                  </a:lnTo>
                  <a:lnTo>
                    <a:pt x="26" y="166"/>
                  </a:lnTo>
                  <a:lnTo>
                    <a:pt x="24" y="158"/>
                  </a:lnTo>
                  <a:lnTo>
                    <a:pt x="22" y="146"/>
                  </a:lnTo>
                  <a:lnTo>
                    <a:pt x="18" y="134"/>
                  </a:lnTo>
                  <a:lnTo>
                    <a:pt x="18" y="124"/>
                  </a:lnTo>
                  <a:lnTo>
                    <a:pt x="18" y="114"/>
                  </a:lnTo>
                  <a:lnTo>
                    <a:pt x="22" y="106"/>
                  </a:lnTo>
                  <a:lnTo>
                    <a:pt x="30" y="88"/>
                  </a:lnTo>
                  <a:lnTo>
                    <a:pt x="32" y="78"/>
                  </a:lnTo>
                  <a:lnTo>
                    <a:pt x="36" y="68"/>
                  </a:lnTo>
                  <a:lnTo>
                    <a:pt x="40" y="56"/>
                  </a:lnTo>
                  <a:lnTo>
                    <a:pt x="48" y="42"/>
                  </a:lnTo>
                  <a:lnTo>
                    <a:pt x="60" y="30"/>
                  </a:lnTo>
                  <a:lnTo>
                    <a:pt x="72" y="18"/>
                  </a:lnTo>
                  <a:lnTo>
                    <a:pt x="84" y="10"/>
                  </a:lnTo>
                  <a:lnTo>
                    <a:pt x="94" y="2"/>
                  </a:lnTo>
                  <a:lnTo>
                    <a:pt x="104" y="0"/>
                  </a:lnTo>
                  <a:lnTo>
                    <a:pt x="108" y="2"/>
                  </a:lnTo>
                  <a:lnTo>
                    <a:pt x="112" y="4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61" name="Freeform 140"/>
            <p:cNvSpPr>
              <a:spLocks/>
            </p:cNvSpPr>
            <p:nvPr/>
          </p:nvSpPr>
          <p:spPr bwMode="auto">
            <a:xfrm>
              <a:off x="1261580" y="3762368"/>
              <a:ext cx="143738" cy="221558"/>
            </a:xfrm>
            <a:custGeom>
              <a:avLst/>
              <a:gdLst>
                <a:gd name="T0" fmla="*/ 2147483647 w 90"/>
                <a:gd name="T1" fmla="*/ 2147483647 h 140"/>
                <a:gd name="T2" fmla="*/ 2147483647 w 90"/>
                <a:gd name="T3" fmla="*/ 2147483647 h 140"/>
                <a:gd name="T4" fmla="*/ 2147483647 w 90"/>
                <a:gd name="T5" fmla="*/ 2147483647 h 140"/>
                <a:gd name="T6" fmla="*/ 2147483647 w 90"/>
                <a:gd name="T7" fmla="*/ 2147483647 h 140"/>
                <a:gd name="T8" fmla="*/ 2147483647 w 90"/>
                <a:gd name="T9" fmla="*/ 2147483647 h 140"/>
                <a:gd name="T10" fmla="*/ 2147483647 w 90"/>
                <a:gd name="T11" fmla="*/ 2147483647 h 140"/>
                <a:gd name="T12" fmla="*/ 2147483647 w 90"/>
                <a:gd name="T13" fmla="*/ 2147483647 h 140"/>
                <a:gd name="T14" fmla="*/ 2147483647 w 90"/>
                <a:gd name="T15" fmla="*/ 2147483647 h 140"/>
                <a:gd name="T16" fmla="*/ 2147483647 w 90"/>
                <a:gd name="T17" fmla="*/ 2147483647 h 140"/>
                <a:gd name="T18" fmla="*/ 2147483647 w 90"/>
                <a:gd name="T19" fmla="*/ 2147483647 h 140"/>
                <a:gd name="T20" fmla="*/ 2147483647 w 90"/>
                <a:gd name="T21" fmla="*/ 2147483647 h 140"/>
                <a:gd name="T22" fmla="*/ 2147483647 w 90"/>
                <a:gd name="T23" fmla="*/ 2147483647 h 140"/>
                <a:gd name="T24" fmla="*/ 2147483647 w 90"/>
                <a:gd name="T25" fmla="*/ 2147483647 h 140"/>
                <a:gd name="T26" fmla="*/ 2147483647 w 90"/>
                <a:gd name="T27" fmla="*/ 2147483647 h 140"/>
                <a:gd name="T28" fmla="*/ 2147483647 w 90"/>
                <a:gd name="T29" fmla="*/ 2147483647 h 140"/>
                <a:gd name="T30" fmla="*/ 2147483647 w 90"/>
                <a:gd name="T31" fmla="*/ 2147483647 h 140"/>
                <a:gd name="T32" fmla="*/ 2147483647 w 90"/>
                <a:gd name="T33" fmla="*/ 2147483647 h 140"/>
                <a:gd name="T34" fmla="*/ 2147483647 w 90"/>
                <a:gd name="T35" fmla="*/ 2147483647 h 140"/>
                <a:gd name="T36" fmla="*/ 2147483647 w 90"/>
                <a:gd name="T37" fmla="*/ 2147483647 h 140"/>
                <a:gd name="T38" fmla="*/ 2147483647 w 90"/>
                <a:gd name="T39" fmla="*/ 2147483647 h 140"/>
                <a:gd name="T40" fmla="*/ 2147483647 w 90"/>
                <a:gd name="T41" fmla="*/ 2147483647 h 140"/>
                <a:gd name="T42" fmla="*/ 2147483647 w 90"/>
                <a:gd name="T43" fmla="*/ 2147483647 h 140"/>
                <a:gd name="T44" fmla="*/ 2147483647 w 90"/>
                <a:gd name="T45" fmla="*/ 2147483647 h 140"/>
                <a:gd name="T46" fmla="*/ 2147483647 w 90"/>
                <a:gd name="T47" fmla="*/ 2147483647 h 140"/>
                <a:gd name="T48" fmla="*/ 2147483647 w 90"/>
                <a:gd name="T49" fmla="*/ 2147483647 h 140"/>
                <a:gd name="T50" fmla="*/ 2147483647 w 90"/>
                <a:gd name="T51" fmla="*/ 2147483647 h 140"/>
                <a:gd name="T52" fmla="*/ 2147483647 w 90"/>
                <a:gd name="T53" fmla="*/ 2147483647 h 140"/>
                <a:gd name="T54" fmla="*/ 2147483647 w 90"/>
                <a:gd name="T55" fmla="*/ 2147483647 h 140"/>
                <a:gd name="T56" fmla="*/ 2147483647 w 90"/>
                <a:gd name="T57" fmla="*/ 2147483647 h 140"/>
                <a:gd name="T58" fmla="*/ 2147483647 w 90"/>
                <a:gd name="T59" fmla="*/ 2147483647 h 140"/>
                <a:gd name="T60" fmla="*/ 2147483647 w 90"/>
                <a:gd name="T61" fmla="*/ 2147483647 h 140"/>
                <a:gd name="T62" fmla="*/ 2147483647 w 90"/>
                <a:gd name="T63" fmla="*/ 2147483647 h 140"/>
                <a:gd name="T64" fmla="*/ 2147483647 w 90"/>
                <a:gd name="T65" fmla="*/ 2147483647 h 140"/>
                <a:gd name="T66" fmla="*/ 2147483647 w 90"/>
                <a:gd name="T67" fmla="*/ 2147483647 h 140"/>
                <a:gd name="T68" fmla="*/ 2147483647 w 90"/>
                <a:gd name="T69" fmla="*/ 2147483647 h 140"/>
                <a:gd name="T70" fmla="*/ 2147483647 w 90"/>
                <a:gd name="T71" fmla="*/ 2147483647 h 140"/>
                <a:gd name="T72" fmla="*/ 0 w 90"/>
                <a:gd name="T73" fmla="*/ 2147483647 h 140"/>
                <a:gd name="T74" fmla="*/ 0 w 90"/>
                <a:gd name="T75" fmla="*/ 2147483647 h 140"/>
                <a:gd name="T76" fmla="*/ 2147483647 w 90"/>
                <a:gd name="T77" fmla="*/ 2147483647 h 140"/>
                <a:gd name="T78" fmla="*/ 2147483647 w 90"/>
                <a:gd name="T79" fmla="*/ 2147483647 h 140"/>
                <a:gd name="T80" fmla="*/ 2147483647 w 90"/>
                <a:gd name="T81" fmla="*/ 2147483647 h 140"/>
                <a:gd name="T82" fmla="*/ 2147483647 w 90"/>
                <a:gd name="T83" fmla="*/ 0 h 140"/>
                <a:gd name="T84" fmla="*/ 2147483647 w 90"/>
                <a:gd name="T85" fmla="*/ 2147483647 h 140"/>
                <a:gd name="T86" fmla="*/ 2147483647 w 90"/>
                <a:gd name="T87" fmla="*/ 2147483647 h 140"/>
                <a:gd name="T88" fmla="*/ 2147483647 w 90"/>
                <a:gd name="T89" fmla="*/ 2147483647 h 140"/>
                <a:gd name="T90" fmla="*/ 2147483647 w 90"/>
                <a:gd name="T91" fmla="*/ 2147483647 h 140"/>
                <a:gd name="T92" fmla="*/ 2147483647 w 90"/>
                <a:gd name="T93" fmla="*/ 2147483647 h 140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90"/>
                <a:gd name="T142" fmla="*/ 0 h 140"/>
                <a:gd name="T143" fmla="*/ 90 w 90"/>
                <a:gd name="T144" fmla="*/ 140 h 140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90" h="140">
                  <a:moveTo>
                    <a:pt x="78" y="48"/>
                  </a:moveTo>
                  <a:lnTo>
                    <a:pt x="78" y="48"/>
                  </a:lnTo>
                  <a:lnTo>
                    <a:pt x="76" y="54"/>
                  </a:lnTo>
                  <a:lnTo>
                    <a:pt x="72" y="68"/>
                  </a:lnTo>
                  <a:lnTo>
                    <a:pt x="72" y="78"/>
                  </a:lnTo>
                  <a:lnTo>
                    <a:pt x="74" y="84"/>
                  </a:lnTo>
                  <a:lnTo>
                    <a:pt x="76" y="90"/>
                  </a:lnTo>
                  <a:lnTo>
                    <a:pt x="82" y="94"/>
                  </a:lnTo>
                  <a:lnTo>
                    <a:pt x="90" y="96"/>
                  </a:lnTo>
                  <a:lnTo>
                    <a:pt x="90" y="102"/>
                  </a:lnTo>
                  <a:lnTo>
                    <a:pt x="90" y="108"/>
                  </a:lnTo>
                  <a:lnTo>
                    <a:pt x="88" y="112"/>
                  </a:lnTo>
                  <a:lnTo>
                    <a:pt x="84" y="118"/>
                  </a:lnTo>
                  <a:lnTo>
                    <a:pt x="82" y="128"/>
                  </a:lnTo>
                  <a:lnTo>
                    <a:pt x="78" y="140"/>
                  </a:lnTo>
                  <a:lnTo>
                    <a:pt x="74" y="138"/>
                  </a:lnTo>
                  <a:lnTo>
                    <a:pt x="78" y="134"/>
                  </a:lnTo>
                  <a:lnTo>
                    <a:pt x="78" y="128"/>
                  </a:lnTo>
                  <a:lnTo>
                    <a:pt x="74" y="122"/>
                  </a:lnTo>
                  <a:lnTo>
                    <a:pt x="68" y="118"/>
                  </a:lnTo>
                  <a:lnTo>
                    <a:pt x="58" y="112"/>
                  </a:lnTo>
                  <a:lnTo>
                    <a:pt x="38" y="102"/>
                  </a:lnTo>
                  <a:lnTo>
                    <a:pt x="28" y="96"/>
                  </a:lnTo>
                  <a:lnTo>
                    <a:pt x="22" y="90"/>
                  </a:lnTo>
                  <a:lnTo>
                    <a:pt x="14" y="82"/>
                  </a:lnTo>
                  <a:lnTo>
                    <a:pt x="8" y="76"/>
                  </a:lnTo>
                  <a:lnTo>
                    <a:pt x="6" y="48"/>
                  </a:lnTo>
                  <a:lnTo>
                    <a:pt x="4" y="28"/>
                  </a:lnTo>
                  <a:lnTo>
                    <a:pt x="0" y="14"/>
                  </a:lnTo>
                  <a:lnTo>
                    <a:pt x="4" y="10"/>
                  </a:lnTo>
                  <a:lnTo>
                    <a:pt x="8" y="2"/>
                  </a:lnTo>
                  <a:lnTo>
                    <a:pt x="10" y="0"/>
                  </a:lnTo>
                  <a:lnTo>
                    <a:pt x="12" y="2"/>
                  </a:lnTo>
                  <a:lnTo>
                    <a:pt x="20" y="6"/>
                  </a:lnTo>
                  <a:lnTo>
                    <a:pt x="44" y="22"/>
                  </a:lnTo>
                  <a:lnTo>
                    <a:pt x="78" y="48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62" name="Freeform 141"/>
            <p:cNvSpPr>
              <a:spLocks/>
            </p:cNvSpPr>
            <p:nvPr/>
          </p:nvSpPr>
          <p:spPr bwMode="auto">
            <a:xfrm>
              <a:off x="1271726" y="3620300"/>
              <a:ext cx="167413" cy="236780"/>
            </a:xfrm>
            <a:custGeom>
              <a:avLst/>
              <a:gdLst>
                <a:gd name="T0" fmla="*/ 2147483647 w 106"/>
                <a:gd name="T1" fmla="*/ 2147483647 h 150"/>
                <a:gd name="T2" fmla="*/ 2147483647 w 106"/>
                <a:gd name="T3" fmla="*/ 2147483647 h 150"/>
                <a:gd name="T4" fmla="*/ 2147483647 w 106"/>
                <a:gd name="T5" fmla="*/ 2147483647 h 150"/>
                <a:gd name="T6" fmla="*/ 2147483647 w 106"/>
                <a:gd name="T7" fmla="*/ 2147483647 h 150"/>
                <a:gd name="T8" fmla="*/ 2147483647 w 106"/>
                <a:gd name="T9" fmla="*/ 2147483647 h 150"/>
                <a:gd name="T10" fmla="*/ 2147483647 w 106"/>
                <a:gd name="T11" fmla="*/ 2147483647 h 150"/>
                <a:gd name="T12" fmla="*/ 2147483647 w 106"/>
                <a:gd name="T13" fmla="*/ 2147483647 h 150"/>
                <a:gd name="T14" fmla="*/ 2147483647 w 106"/>
                <a:gd name="T15" fmla="*/ 2147483647 h 150"/>
                <a:gd name="T16" fmla="*/ 2147483647 w 106"/>
                <a:gd name="T17" fmla="*/ 2147483647 h 150"/>
                <a:gd name="T18" fmla="*/ 2147483647 w 106"/>
                <a:gd name="T19" fmla="*/ 2147483647 h 150"/>
                <a:gd name="T20" fmla="*/ 2147483647 w 106"/>
                <a:gd name="T21" fmla="*/ 2147483647 h 150"/>
                <a:gd name="T22" fmla="*/ 2147483647 w 106"/>
                <a:gd name="T23" fmla="*/ 2147483647 h 150"/>
                <a:gd name="T24" fmla="*/ 2147483647 w 106"/>
                <a:gd name="T25" fmla="*/ 2147483647 h 150"/>
                <a:gd name="T26" fmla="*/ 2147483647 w 106"/>
                <a:gd name="T27" fmla="*/ 2147483647 h 150"/>
                <a:gd name="T28" fmla="*/ 2147483647 w 106"/>
                <a:gd name="T29" fmla="*/ 2147483647 h 150"/>
                <a:gd name="T30" fmla="*/ 2147483647 w 106"/>
                <a:gd name="T31" fmla="*/ 2147483647 h 150"/>
                <a:gd name="T32" fmla="*/ 2147483647 w 106"/>
                <a:gd name="T33" fmla="*/ 2147483647 h 150"/>
                <a:gd name="T34" fmla="*/ 2147483647 w 106"/>
                <a:gd name="T35" fmla="*/ 2147483647 h 150"/>
                <a:gd name="T36" fmla="*/ 2147483647 w 106"/>
                <a:gd name="T37" fmla="*/ 2147483647 h 150"/>
                <a:gd name="T38" fmla="*/ 2147483647 w 106"/>
                <a:gd name="T39" fmla="*/ 2147483647 h 150"/>
                <a:gd name="T40" fmla="*/ 2147483647 w 106"/>
                <a:gd name="T41" fmla="*/ 2147483647 h 150"/>
                <a:gd name="T42" fmla="*/ 2147483647 w 106"/>
                <a:gd name="T43" fmla="*/ 2147483647 h 150"/>
                <a:gd name="T44" fmla="*/ 2147483647 w 106"/>
                <a:gd name="T45" fmla="*/ 2147483647 h 150"/>
                <a:gd name="T46" fmla="*/ 2147483647 w 106"/>
                <a:gd name="T47" fmla="*/ 2147483647 h 150"/>
                <a:gd name="T48" fmla="*/ 2147483647 w 106"/>
                <a:gd name="T49" fmla="*/ 2147483647 h 150"/>
                <a:gd name="T50" fmla="*/ 2147483647 w 106"/>
                <a:gd name="T51" fmla="*/ 2147483647 h 150"/>
                <a:gd name="T52" fmla="*/ 2147483647 w 106"/>
                <a:gd name="T53" fmla="*/ 2147483647 h 150"/>
                <a:gd name="T54" fmla="*/ 0 w 106"/>
                <a:gd name="T55" fmla="*/ 2147483647 h 150"/>
                <a:gd name="T56" fmla="*/ 0 w 106"/>
                <a:gd name="T57" fmla="*/ 2147483647 h 150"/>
                <a:gd name="T58" fmla="*/ 0 w 106"/>
                <a:gd name="T59" fmla="*/ 2147483647 h 150"/>
                <a:gd name="T60" fmla="*/ 2147483647 w 106"/>
                <a:gd name="T61" fmla="*/ 2147483647 h 150"/>
                <a:gd name="T62" fmla="*/ 2147483647 w 106"/>
                <a:gd name="T63" fmla="*/ 2147483647 h 150"/>
                <a:gd name="T64" fmla="*/ 2147483647 w 106"/>
                <a:gd name="T65" fmla="*/ 2147483647 h 150"/>
                <a:gd name="T66" fmla="*/ 2147483647 w 106"/>
                <a:gd name="T67" fmla="*/ 2147483647 h 150"/>
                <a:gd name="T68" fmla="*/ 2147483647 w 106"/>
                <a:gd name="T69" fmla="*/ 2147483647 h 150"/>
                <a:gd name="T70" fmla="*/ 2147483647 w 106"/>
                <a:gd name="T71" fmla="*/ 2147483647 h 150"/>
                <a:gd name="T72" fmla="*/ 2147483647 w 106"/>
                <a:gd name="T73" fmla="*/ 2147483647 h 150"/>
                <a:gd name="T74" fmla="*/ 2147483647 w 106"/>
                <a:gd name="T75" fmla="*/ 2147483647 h 150"/>
                <a:gd name="T76" fmla="*/ 2147483647 w 106"/>
                <a:gd name="T77" fmla="*/ 2147483647 h 150"/>
                <a:gd name="T78" fmla="*/ 2147483647 w 106"/>
                <a:gd name="T79" fmla="*/ 2147483647 h 150"/>
                <a:gd name="T80" fmla="*/ 2147483647 w 106"/>
                <a:gd name="T81" fmla="*/ 2147483647 h 150"/>
                <a:gd name="T82" fmla="*/ 2147483647 w 106"/>
                <a:gd name="T83" fmla="*/ 0 h 150"/>
                <a:gd name="T84" fmla="*/ 2147483647 w 106"/>
                <a:gd name="T85" fmla="*/ 0 h 150"/>
                <a:gd name="T86" fmla="*/ 2147483647 w 106"/>
                <a:gd name="T87" fmla="*/ 2147483647 h 150"/>
                <a:gd name="T88" fmla="*/ 2147483647 w 106"/>
                <a:gd name="T89" fmla="*/ 2147483647 h 150"/>
                <a:gd name="T90" fmla="*/ 2147483647 w 106"/>
                <a:gd name="T91" fmla="*/ 2147483647 h 150"/>
                <a:gd name="T92" fmla="*/ 2147483647 w 106"/>
                <a:gd name="T93" fmla="*/ 2147483647 h 150"/>
                <a:gd name="T94" fmla="*/ 2147483647 w 106"/>
                <a:gd name="T95" fmla="*/ 2147483647 h 150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106"/>
                <a:gd name="T145" fmla="*/ 0 h 150"/>
                <a:gd name="T146" fmla="*/ 106 w 106"/>
                <a:gd name="T147" fmla="*/ 150 h 150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106" h="150">
                  <a:moveTo>
                    <a:pt x="92" y="20"/>
                  </a:moveTo>
                  <a:lnTo>
                    <a:pt x="92" y="20"/>
                  </a:lnTo>
                  <a:lnTo>
                    <a:pt x="98" y="34"/>
                  </a:lnTo>
                  <a:lnTo>
                    <a:pt x="104" y="46"/>
                  </a:lnTo>
                  <a:lnTo>
                    <a:pt x="106" y="56"/>
                  </a:lnTo>
                  <a:lnTo>
                    <a:pt x="106" y="74"/>
                  </a:lnTo>
                  <a:lnTo>
                    <a:pt x="102" y="96"/>
                  </a:lnTo>
                  <a:lnTo>
                    <a:pt x="100" y="110"/>
                  </a:lnTo>
                  <a:lnTo>
                    <a:pt x="96" y="120"/>
                  </a:lnTo>
                  <a:lnTo>
                    <a:pt x="80" y="146"/>
                  </a:lnTo>
                  <a:lnTo>
                    <a:pt x="76" y="148"/>
                  </a:lnTo>
                  <a:lnTo>
                    <a:pt x="70" y="150"/>
                  </a:lnTo>
                  <a:lnTo>
                    <a:pt x="64" y="150"/>
                  </a:lnTo>
                  <a:lnTo>
                    <a:pt x="54" y="148"/>
                  </a:lnTo>
                  <a:lnTo>
                    <a:pt x="42" y="144"/>
                  </a:lnTo>
                  <a:lnTo>
                    <a:pt x="26" y="136"/>
                  </a:lnTo>
                  <a:lnTo>
                    <a:pt x="16" y="132"/>
                  </a:lnTo>
                  <a:lnTo>
                    <a:pt x="8" y="126"/>
                  </a:lnTo>
                  <a:lnTo>
                    <a:pt x="4" y="122"/>
                  </a:lnTo>
                  <a:lnTo>
                    <a:pt x="2" y="118"/>
                  </a:lnTo>
                  <a:lnTo>
                    <a:pt x="0" y="104"/>
                  </a:lnTo>
                  <a:lnTo>
                    <a:pt x="0" y="98"/>
                  </a:lnTo>
                  <a:lnTo>
                    <a:pt x="4" y="82"/>
                  </a:lnTo>
                  <a:lnTo>
                    <a:pt x="6" y="66"/>
                  </a:lnTo>
                  <a:lnTo>
                    <a:pt x="8" y="50"/>
                  </a:lnTo>
                  <a:lnTo>
                    <a:pt x="8" y="42"/>
                  </a:lnTo>
                  <a:lnTo>
                    <a:pt x="10" y="34"/>
                  </a:lnTo>
                  <a:lnTo>
                    <a:pt x="16" y="26"/>
                  </a:lnTo>
                  <a:lnTo>
                    <a:pt x="20" y="18"/>
                  </a:lnTo>
                  <a:lnTo>
                    <a:pt x="26" y="12"/>
                  </a:lnTo>
                  <a:lnTo>
                    <a:pt x="34" y="6"/>
                  </a:lnTo>
                  <a:lnTo>
                    <a:pt x="40" y="2"/>
                  </a:lnTo>
                  <a:lnTo>
                    <a:pt x="48" y="0"/>
                  </a:lnTo>
                  <a:lnTo>
                    <a:pt x="62" y="2"/>
                  </a:lnTo>
                  <a:lnTo>
                    <a:pt x="74" y="6"/>
                  </a:lnTo>
                  <a:lnTo>
                    <a:pt x="84" y="12"/>
                  </a:lnTo>
                  <a:lnTo>
                    <a:pt x="92" y="20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63" name="Freeform 142"/>
            <p:cNvSpPr>
              <a:spLocks/>
            </p:cNvSpPr>
            <p:nvPr/>
          </p:nvSpPr>
          <p:spPr bwMode="auto">
            <a:xfrm>
              <a:off x="1178720" y="4425351"/>
              <a:ext cx="197850" cy="140376"/>
            </a:xfrm>
            <a:custGeom>
              <a:avLst/>
              <a:gdLst>
                <a:gd name="T0" fmla="*/ 2147483647 w 124"/>
                <a:gd name="T1" fmla="*/ 2147483647 h 88"/>
                <a:gd name="T2" fmla="*/ 2147483647 w 124"/>
                <a:gd name="T3" fmla="*/ 2147483647 h 88"/>
                <a:gd name="T4" fmla="*/ 2147483647 w 124"/>
                <a:gd name="T5" fmla="*/ 0 h 88"/>
                <a:gd name="T6" fmla="*/ 2147483647 w 124"/>
                <a:gd name="T7" fmla="*/ 2147483647 h 88"/>
                <a:gd name="T8" fmla="*/ 2147483647 w 124"/>
                <a:gd name="T9" fmla="*/ 2147483647 h 88"/>
                <a:gd name="T10" fmla="*/ 2147483647 w 124"/>
                <a:gd name="T11" fmla="*/ 2147483647 h 88"/>
                <a:gd name="T12" fmla="*/ 2147483647 w 124"/>
                <a:gd name="T13" fmla="*/ 2147483647 h 88"/>
                <a:gd name="T14" fmla="*/ 2147483647 w 124"/>
                <a:gd name="T15" fmla="*/ 2147483647 h 88"/>
                <a:gd name="T16" fmla="*/ 2147483647 w 124"/>
                <a:gd name="T17" fmla="*/ 2147483647 h 88"/>
                <a:gd name="T18" fmla="*/ 2147483647 w 124"/>
                <a:gd name="T19" fmla="*/ 2147483647 h 88"/>
                <a:gd name="T20" fmla="*/ 2147483647 w 124"/>
                <a:gd name="T21" fmla="*/ 2147483647 h 88"/>
                <a:gd name="T22" fmla="*/ 2147483647 w 124"/>
                <a:gd name="T23" fmla="*/ 2147483647 h 88"/>
                <a:gd name="T24" fmla="*/ 2147483647 w 124"/>
                <a:gd name="T25" fmla="*/ 2147483647 h 88"/>
                <a:gd name="T26" fmla="*/ 2147483647 w 124"/>
                <a:gd name="T27" fmla="*/ 2147483647 h 88"/>
                <a:gd name="T28" fmla="*/ 2147483647 w 124"/>
                <a:gd name="T29" fmla="*/ 2147483647 h 88"/>
                <a:gd name="T30" fmla="*/ 2147483647 w 124"/>
                <a:gd name="T31" fmla="*/ 2147483647 h 88"/>
                <a:gd name="T32" fmla="*/ 2147483647 w 124"/>
                <a:gd name="T33" fmla="*/ 2147483647 h 88"/>
                <a:gd name="T34" fmla="*/ 2147483647 w 124"/>
                <a:gd name="T35" fmla="*/ 2147483647 h 88"/>
                <a:gd name="T36" fmla="*/ 2147483647 w 124"/>
                <a:gd name="T37" fmla="*/ 2147483647 h 88"/>
                <a:gd name="T38" fmla="*/ 2147483647 w 124"/>
                <a:gd name="T39" fmla="*/ 2147483647 h 88"/>
                <a:gd name="T40" fmla="*/ 2147483647 w 124"/>
                <a:gd name="T41" fmla="*/ 2147483647 h 88"/>
                <a:gd name="T42" fmla="*/ 2147483647 w 124"/>
                <a:gd name="T43" fmla="*/ 2147483647 h 88"/>
                <a:gd name="T44" fmla="*/ 2147483647 w 124"/>
                <a:gd name="T45" fmla="*/ 2147483647 h 88"/>
                <a:gd name="T46" fmla="*/ 2147483647 w 124"/>
                <a:gd name="T47" fmla="*/ 2147483647 h 88"/>
                <a:gd name="T48" fmla="*/ 2147483647 w 124"/>
                <a:gd name="T49" fmla="*/ 2147483647 h 88"/>
                <a:gd name="T50" fmla="*/ 2147483647 w 124"/>
                <a:gd name="T51" fmla="*/ 2147483647 h 88"/>
                <a:gd name="T52" fmla="*/ 2147483647 w 124"/>
                <a:gd name="T53" fmla="*/ 2147483647 h 88"/>
                <a:gd name="T54" fmla="*/ 2147483647 w 124"/>
                <a:gd name="T55" fmla="*/ 2147483647 h 88"/>
                <a:gd name="T56" fmla="*/ 2147483647 w 124"/>
                <a:gd name="T57" fmla="*/ 2147483647 h 88"/>
                <a:gd name="T58" fmla="*/ 2147483647 w 124"/>
                <a:gd name="T59" fmla="*/ 2147483647 h 88"/>
                <a:gd name="T60" fmla="*/ 0 w 124"/>
                <a:gd name="T61" fmla="*/ 2147483647 h 88"/>
                <a:gd name="T62" fmla="*/ 2147483647 w 124"/>
                <a:gd name="T63" fmla="*/ 2147483647 h 88"/>
                <a:gd name="T64" fmla="*/ 2147483647 w 124"/>
                <a:gd name="T65" fmla="*/ 2147483647 h 88"/>
                <a:gd name="T66" fmla="*/ 2147483647 w 124"/>
                <a:gd name="T67" fmla="*/ 2147483647 h 88"/>
                <a:gd name="T68" fmla="*/ 2147483647 w 124"/>
                <a:gd name="T69" fmla="*/ 2147483647 h 88"/>
                <a:gd name="T70" fmla="*/ 2147483647 w 124"/>
                <a:gd name="T71" fmla="*/ 2147483647 h 88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124"/>
                <a:gd name="T109" fmla="*/ 0 h 88"/>
                <a:gd name="T110" fmla="*/ 124 w 124"/>
                <a:gd name="T111" fmla="*/ 88 h 88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124" h="88">
                  <a:moveTo>
                    <a:pt x="50" y="16"/>
                  </a:moveTo>
                  <a:lnTo>
                    <a:pt x="50" y="16"/>
                  </a:lnTo>
                  <a:lnTo>
                    <a:pt x="72" y="6"/>
                  </a:lnTo>
                  <a:lnTo>
                    <a:pt x="84" y="2"/>
                  </a:lnTo>
                  <a:lnTo>
                    <a:pt x="98" y="0"/>
                  </a:lnTo>
                  <a:lnTo>
                    <a:pt x="104" y="2"/>
                  </a:lnTo>
                  <a:lnTo>
                    <a:pt x="106" y="4"/>
                  </a:lnTo>
                  <a:lnTo>
                    <a:pt x="106" y="6"/>
                  </a:lnTo>
                  <a:lnTo>
                    <a:pt x="98" y="10"/>
                  </a:lnTo>
                  <a:lnTo>
                    <a:pt x="76" y="20"/>
                  </a:lnTo>
                  <a:lnTo>
                    <a:pt x="66" y="26"/>
                  </a:lnTo>
                  <a:lnTo>
                    <a:pt x="86" y="26"/>
                  </a:lnTo>
                  <a:lnTo>
                    <a:pt x="104" y="28"/>
                  </a:lnTo>
                  <a:lnTo>
                    <a:pt x="120" y="30"/>
                  </a:lnTo>
                  <a:lnTo>
                    <a:pt x="122" y="32"/>
                  </a:lnTo>
                  <a:lnTo>
                    <a:pt x="124" y="34"/>
                  </a:lnTo>
                  <a:lnTo>
                    <a:pt x="124" y="36"/>
                  </a:lnTo>
                  <a:lnTo>
                    <a:pt x="120" y="38"/>
                  </a:lnTo>
                  <a:lnTo>
                    <a:pt x="112" y="40"/>
                  </a:lnTo>
                  <a:lnTo>
                    <a:pt x="104" y="40"/>
                  </a:lnTo>
                  <a:lnTo>
                    <a:pt x="92" y="40"/>
                  </a:lnTo>
                  <a:lnTo>
                    <a:pt x="70" y="44"/>
                  </a:lnTo>
                  <a:lnTo>
                    <a:pt x="96" y="44"/>
                  </a:lnTo>
                  <a:lnTo>
                    <a:pt x="110" y="44"/>
                  </a:lnTo>
                  <a:lnTo>
                    <a:pt x="114" y="46"/>
                  </a:lnTo>
                  <a:lnTo>
                    <a:pt x="118" y="48"/>
                  </a:lnTo>
                  <a:lnTo>
                    <a:pt x="118" y="50"/>
                  </a:lnTo>
                  <a:lnTo>
                    <a:pt x="116" y="54"/>
                  </a:lnTo>
                  <a:lnTo>
                    <a:pt x="114" y="56"/>
                  </a:lnTo>
                  <a:lnTo>
                    <a:pt x="110" y="56"/>
                  </a:lnTo>
                  <a:lnTo>
                    <a:pt x="62" y="60"/>
                  </a:lnTo>
                  <a:lnTo>
                    <a:pt x="58" y="62"/>
                  </a:lnTo>
                  <a:lnTo>
                    <a:pt x="76" y="66"/>
                  </a:lnTo>
                  <a:lnTo>
                    <a:pt x="88" y="64"/>
                  </a:lnTo>
                  <a:lnTo>
                    <a:pt x="94" y="64"/>
                  </a:lnTo>
                  <a:lnTo>
                    <a:pt x="96" y="66"/>
                  </a:lnTo>
                  <a:lnTo>
                    <a:pt x="98" y="68"/>
                  </a:lnTo>
                  <a:lnTo>
                    <a:pt x="96" y="72"/>
                  </a:lnTo>
                  <a:lnTo>
                    <a:pt x="92" y="74"/>
                  </a:lnTo>
                  <a:lnTo>
                    <a:pt x="86" y="74"/>
                  </a:lnTo>
                  <a:lnTo>
                    <a:pt x="54" y="76"/>
                  </a:lnTo>
                  <a:lnTo>
                    <a:pt x="40" y="80"/>
                  </a:lnTo>
                  <a:lnTo>
                    <a:pt x="26" y="86"/>
                  </a:lnTo>
                  <a:lnTo>
                    <a:pt x="14" y="88"/>
                  </a:lnTo>
                  <a:lnTo>
                    <a:pt x="0" y="88"/>
                  </a:lnTo>
                  <a:lnTo>
                    <a:pt x="12" y="68"/>
                  </a:lnTo>
                  <a:lnTo>
                    <a:pt x="22" y="50"/>
                  </a:lnTo>
                  <a:lnTo>
                    <a:pt x="24" y="42"/>
                  </a:lnTo>
                  <a:lnTo>
                    <a:pt x="26" y="32"/>
                  </a:lnTo>
                  <a:lnTo>
                    <a:pt x="32" y="26"/>
                  </a:lnTo>
                  <a:lnTo>
                    <a:pt x="40" y="20"/>
                  </a:lnTo>
                  <a:lnTo>
                    <a:pt x="50" y="16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64" name="Freeform 143"/>
            <p:cNvSpPr>
              <a:spLocks noEditPoints="1"/>
            </p:cNvSpPr>
            <p:nvPr/>
          </p:nvSpPr>
          <p:spPr bwMode="auto">
            <a:xfrm>
              <a:off x="1160118" y="5029138"/>
              <a:ext cx="524220" cy="647762"/>
            </a:xfrm>
            <a:custGeom>
              <a:avLst/>
              <a:gdLst>
                <a:gd name="T0" fmla="*/ 2147483647 w 330"/>
                <a:gd name="T1" fmla="*/ 2147483647 h 408"/>
                <a:gd name="T2" fmla="*/ 2147483647 w 330"/>
                <a:gd name="T3" fmla="*/ 2147483647 h 408"/>
                <a:gd name="T4" fmla="*/ 2147483647 w 330"/>
                <a:gd name="T5" fmla="*/ 2147483647 h 408"/>
                <a:gd name="T6" fmla="*/ 2147483647 w 330"/>
                <a:gd name="T7" fmla="*/ 2147483647 h 408"/>
                <a:gd name="T8" fmla="*/ 2147483647 w 330"/>
                <a:gd name="T9" fmla="*/ 2147483647 h 408"/>
                <a:gd name="T10" fmla="*/ 2147483647 w 330"/>
                <a:gd name="T11" fmla="*/ 2147483647 h 408"/>
                <a:gd name="T12" fmla="*/ 2147483647 w 330"/>
                <a:gd name="T13" fmla="*/ 2147483647 h 408"/>
                <a:gd name="T14" fmla="*/ 2147483647 w 330"/>
                <a:gd name="T15" fmla="*/ 2147483647 h 408"/>
                <a:gd name="T16" fmla="*/ 2147483647 w 330"/>
                <a:gd name="T17" fmla="*/ 2147483647 h 408"/>
                <a:gd name="T18" fmla="*/ 0 w 330"/>
                <a:gd name="T19" fmla="*/ 2147483647 h 408"/>
                <a:gd name="T20" fmla="*/ 2147483647 w 330"/>
                <a:gd name="T21" fmla="*/ 2147483647 h 408"/>
                <a:gd name="T22" fmla="*/ 2147483647 w 330"/>
                <a:gd name="T23" fmla="*/ 2147483647 h 408"/>
                <a:gd name="T24" fmla="*/ 2147483647 w 330"/>
                <a:gd name="T25" fmla="*/ 2147483647 h 408"/>
                <a:gd name="T26" fmla="*/ 2147483647 w 330"/>
                <a:gd name="T27" fmla="*/ 2147483647 h 408"/>
                <a:gd name="T28" fmla="*/ 2147483647 w 330"/>
                <a:gd name="T29" fmla="*/ 2147483647 h 408"/>
                <a:gd name="T30" fmla="*/ 2147483647 w 330"/>
                <a:gd name="T31" fmla="*/ 2147483647 h 408"/>
                <a:gd name="T32" fmla="*/ 2147483647 w 330"/>
                <a:gd name="T33" fmla="*/ 2147483647 h 408"/>
                <a:gd name="T34" fmla="*/ 2147483647 w 330"/>
                <a:gd name="T35" fmla="*/ 2147483647 h 408"/>
                <a:gd name="T36" fmla="*/ 2147483647 w 330"/>
                <a:gd name="T37" fmla="*/ 2147483647 h 408"/>
                <a:gd name="T38" fmla="*/ 2147483647 w 330"/>
                <a:gd name="T39" fmla="*/ 2147483647 h 408"/>
                <a:gd name="T40" fmla="*/ 2147483647 w 330"/>
                <a:gd name="T41" fmla="*/ 2147483647 h 408"/>
                <a:gd name="T42" fmla="*/ 2147483647 w 330"/>
                <a:gd name="T43" fmla="*/ 2147483647 h 408"/>
                <a:gd name="T44" fmla="*/ 2147483647 w 330"/>
                <a:gd name="T45" fmla="*/ 2147483647 h 408"/>
                <a:gd name="T46" fmla="*/ 2147483647 w 330"/>
                <a:gd name="T47" fmla="*/ 2147483647 h 408"/>
                <a:gd name="T48" fmla="*/ 2147483647 w 330"/>
                <a:gd name="T49" fmla="*/ 2147483647 h 408"/>
                <a:gd name="T50" fmla="*/ 2147483647 w 330"/>
                <a:gd name="T51" fmla="*/ 2147483647 h 408"/>
                <a:gd name="T52" fmla="*/ 2147483647 w 330"/>
                <a:gd name="T53" fmla="*/ 2147483647 h 408"/>
                <a:gd name="T54" fmla="*/ 2147483647 w 330"/>
                <a:gd name="T55" fmla="*/ 2147483647 h 408"/>
                <a:gd name="T56" fmla="*/ 2147483647 w 330"/>
                <a:gd name="T57" fmla="*/ 2147483647 h 408"/>
                <a:gd name="T58" fmla="*/ 2147483647 w 330"/>
                <a:gd name="T59" fmla="*/ 2147483647 h 408"/>
                <a:gd name="T60" fmla="*/ 2147483647 w 330"/>
                <a:gd name="T61" fmla="*/ 2147483647 h 408"/>
                <a:gd name="T62" fmla="*/ 2147483647 w 330"/>
                <a:gd name="T63" fmla="*/ 2147483647 h 408"/>
                <a:gd name="T64" fmla="*/ 2147483647 w 330"/>
                <a:gd name="T65" fmla="*/ 2147483647 h 408"/>
                <a:gd name="T66" fmla="*/ 2147483647 w 330"/>
                <a:gd name="T67" fmla="*/ 2147483647 h 408"/>
                <a:gd name="T68" fmla="*/ 2147483647 w 330"/>
                <a:gd name="T69" fmla="*/ 2147483647 h 408"/>
                <a:gd name="T70" fmla="*/ 2147483647 w 330"/>
                <a:gd name="T71" fmla="*/ 2147483647 h 408"/>
                <a:gd name="T72" fmla="*/ 2147483647 w 330"/>
                <a:gd name="T73" fmla="*/ 2147483647 h 408"/>
                <a:gd name="T74" fmla="*/ 2147483647 w 330"/>
                <a:gd name="T75" fmla="*/ 2147483647 h 408"/>
                <a:gd name="T76" fmla="*/ 2147483647 w 330"/>
                <a:gd name="T77" fmla="*/ 2147483647 h 408"/>
                <a:gd name="T78" fmla="*/ 2147483647 w 330"/>
                <a:gd name="T79" fmla="*/ 2147483647 h 408"/>
                <a:gd name="T80" fmla="*/ 2147483647 w 330"/>
                <a:gd name="T81" fmla="*/ 2147483647 h 408"/>
                <a:gd name="T82" fmla="*/ 2147483647 w 330"/>
                <a:gd name="T83" fmla="*/ 2147483647 h 408"/>
                <a:gd name="T84" fmla="*/ 2147483647 w 330"/>
                <a:gd name="T85" fmla="*/ 2147483647 h 408"/>
                <a:gd name="T86" fmla="*/ 2147483647 w 330"/>
                <a:gd name="T87" fmla="*/ 2147483647 h 408"/>
                <a:gd name="T88" fmla="*/ 2147483647 w 330"/>
                <a:gd name="T89" fmla="*/ 2147483647 h 408"/>
                <a:gd name="T90" fmla="*/ 2147483647 w 330"/>
                <a:gd name="T91" fmla="*/ 2147483647 h 408"/>
                <a:gd name="T92" fmla="*/ 2147483647 w 330"/>
                <a:gd name="T93" fmla="*/ 2147483647 h 408"/>
                <a:gd name="T94" fmla="*/ 2147483647 w 330"/>
                <a:gd name="T95" fmla="*/ 2147483647 h 408"/>
                <a:gd name="T96" fmla="*/ 2147483647 w 330"/>
                <a:gd name="T97" fmla="*/ 2147483647 h 408"/>
                <a:gd name="T98" fmla="*/ 2147483647 w 330"/>
                <a:gd name="T99" fmla="*/ 2147483647 h 408"/>
                <a:gd name="T100" fmla="*/ 2147483647 w 330"/>
                <a:gd name="T101" fmla="*/ 2147483647 h 408"/>
                <a:gd name="T102" fmla="*/ 2147483647 w 330"/>
                <a:gd name="T103" fmla="*/ 2147483647 h 408"/>
                <a:gd name="T104" fmla="*/ 2147483647 w 330"/>
                <a:gd name="T105" fmla="*/ 2147483647 h 408"/>
                <a:gd name="T106" fmla="*/ 2147483647 w 330"/>
                <a:gd name="T107" fmla="*/ 2147483647 h 408"/>
                <a:gd name="T108" fmla="*/ 2147483647 w 330"/>
                <a:gd name="T109" fmla="*/ 2147483647 h 408"/>
                <a:gd name="T110" fmla="*/ 2147483647 w 330"/>
                <a:gd name="T111" fmla="*/ 2147483647 h 408"/>
                <a:gd name="T112" fmla="*/ 2147483647 w 330"/>
                <a:gd name="T113" fmla="*/ 2147483647 h 408"/>
                <a:gd name="T114" fmla="*/ 2147483647 w 330"/>
                <a:gd name="T115" fmla="*/ 2147483647 h 408"/>
                <a:gd name="T116" fmla="*/ 2147483647 w 330"/>
                <a:gd name="T117" fmla="*/ 2147483647 h 408"/>
                <a:gd name="T118" fmla="*/ 2147483647 w 330"/>
                <a:gd name="T119" fmla="*/ 2147483647 h 408"/>
                <a:gd name="T120" fmla="*/ 2147483647 w 330"/>
                <a:gd name="T121" fmla="*/ 2147483647 h 408"/>
                <a:gd name="T122" fmla="*/ 2147483647 w 330"/>
                <a:gd name="T123" fmla="*/ 2147483647 h 40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330"/>
                <a:gd name="T187" fmla="*/ 0 h 408"/>
                <a:gd name="T188" fmla="*/ 330 w 330"/>
                <a:gd name="T189" fmla="*/ 408 h 408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330" h="408">
                  <a:moveTo>
                    <a:pt x="74" y="344"/>
                  </a:moveTo>
                  <a:lnTo>
                    <a:pt x="74" y="344"/>
                  </a:lnTo>
                  <a:lnTo>
                    <a:pt x="60" y="290"/>
                  </a:lnTo>
                  <a:lnTo>
                    <a:pt x="58" y="286"/>
                  </a:lnTo>
                  <a:lnTo>
                    <a:pt x="56" y="274"/>
                  </a:lnTo>
                  <a:lnTo>
                    <a:pt x="56" y="254"/>
                  </a:lnTo>
                  <a:lnTo>
                    <a:pt x="56" y="234"/>
                  </a:lnTo>
                  <a:lnTo>
                    <a:pt x="56" y="220"/>
                  </a:lnTo>
                  <a:lnTo>
                    <a:pt x="92" y="44"/>
                  </a:lnTo>
                  <a:lnTo>
                    <a:pt x="20" y="22"/>
                  </a:lnTo>
                  <a:lnTo>
                    <a:pt x="14" y="32"/>
                  </a:lnTo>
                  <a:lnTo>
                    <a:pt x="10" y="40"/>
                  </a:lnTo>
                  <a:lnTo>
                    <a:pt x="4" y="62"/>
                  </a:lnTo>
                  <a:lnTo>
                    <a:pt x="2" y="88"/>
                  </a:lnTo>
                  <a:lnTo>
                    <a:pt x="0" y="112"/>
                  </a:lnTo>
                  <a:lnTo>
                    <a:pt x="2" y="138"/>
                  </a:lnTo>
                  <a:lnTo>
                    <a:pt x="4" y="160"/>
                  </a:lnTo>
                  <a:lnTo>
                    <a:pt x="10" y="196"/>
                  </a:lnTo>
                  <a:lnTo>
                    <a:pt x="14" y="218"/>
                  </a:lnTo>
                  <a:lnTo>
                    <a:pt x="14" y="238"/>
                  </a:lnTo>
                  <a:lnTo>
                    <a:pt x="14" y="254"/>
                  </a:lnTo>
                  <a:lnTo>
                    <a:pt x="12" y="266"/>
                  </a:lnTo>
                  <a:lnTo>
                    <a:pt x="12" y="264"/>
                  </a:lnTo>
                  <a:lnTo>
                    <a:pt x="6" y="292"/>
                  </a:lnTo>
                  <a:lnTo>
                    <a:pt x="4" y="318"/>
                  </a:lnTo>
                  <a:lnTo>
                    <a:pt x="8" y="322"/>
                  </a:lnTo>
                  <a:lnTo>
                    <a:pt x="12" y="320"/>
                  </a:lnTo>
                  <a:lnTo>
                    <a:pt x="12" y="318"/>
                  </a:lnTo>
                  <a:lnTo>
                    <a:pt x="16" y="336"/>
                  </a:lnTo>
                  <a:lnTo>
                    <a:pt x="16" y="360"/>
                  </a:lnTo>
                  <a:lnTo>
                    <a:pt x="18" y="370"/>
                  </a:lnTo>
                  <a:lnTo>
                    <a:pt x="24" y="386"/>
                  </a:lnTo>
                  <a:lnTo>
                    <a:pt x="28" y="394"/>
                  </a:lnTo>
                  <a:lnTo>
                    <a:pt x="42" y="404"/>
                  </a:lnTo>
                  <a:lnTo>
                    <a:pt x="50" y="406"/>
                  </a:lnTo>
                  <a:lnTo>
                    <a:pt x="58" y="408"/>
                  </a:lnTo>
                  <a:lnTo>
                    <a:pt x="74" y="406"/>
                  </a:lnTo>
                  <a:lnTo>
                    <a:pt x="86" y="404"/>
                  </a:lnTo>
                  <a:lnTo>
                    <a:pt x="92" y="402"/>
                  </a:lnTo>
                  <a:lnTo>
                    <a:pt x="94" y="390"/>
                  </a:lnTo>
                  <a:lnTo>
                    <a:pt x="94" y="384"/>
                  </a:lnTo>
                  <a:lnTo>
                    <a:pt x="92" y="376"/>
                  </a:lnTo>
                  <a:lnTo>
                    <a:pt x="86" y="366"/>
                  </a:lnTo>
                  <a:lnTo>
                    <a:pt x="74" y="344"/>
                  </a:lnTo>
                  <a:close/>
                  <a:moveTo>
                    <a:pt x="326" y="268"/>
                  </a:moveTo>
                  <a:lnTo>
                    <a:pt x="326" y="268"/>
                  </a:lnTo>
                  <a:lnTo>
                    <a:pt x="324" y="266"/>
                  </a:lnTo>
                  <a:lnTo>
                    <a:pt x="318" y="262"/>
                  </a:lnTo>
                  <a:lnTo>
                    <a:pt x="310" y="254"/>
                  </a:lnTo>
                  <a:lnTo>
                    <a:pt x="298" y="246"/>
                  </a:lnTo>
                  <a:lnTo>
                    <a:pt x="292" y="238"/>
                  </a:lnTo>
                  <a:lnTo>
                    <a:pt x="284" y="230"/>
                  </a:lnTo>
                  <a:lnTo>
                    <a:pt x="280" y="224"/>
                  </a:lnTo>
                  <a:lnTo>
                    <a:pt x="274" y="216"/>
                  </a:lnTo>
                  <a:lnTo>
                    <a:pt x="268" y="202"/>
                  </a:lnTo>
                  <a:lnTo>
                    <a:pt x="262" y="184"/>
                  </a:lnTo>
                  <a:lnTo>
                    <a:pt x="260" y="0"/>
                  </a:lnTo>
                  <a:lnTo>
                    <a:pt x="190" y="26"/>
                  </a:lnTo>
                  <a:lnTo>
                    <a:pt x="192" y="42"/>
                  </a:lnTo>
                  <a:lnTo>
                    <a:pt x="192" y="66"/>
                  </a:lnTo>
                  <a:lnTo>
                    <a:pt x="194" y="82"/>
                  </a:lnTo>
                  <a:lnTo>
                    <a:pt x="200" y="112"/>
                  </a:lnTo>
                  <a:lnTo>
                    <a:pt x="212" y="158"/>
                  </a:lnTo>
                  <a:lnTo>
                    <a:pt x="212" y="178"/>
                  </a:lnTo>
                  <a:lnTo>
                    <a:pt x="210" y="186"/>
                  </a:lnTo>
                  <a:lnTo>
                    <a:pt x="206" y="194"/>
                  </a:lnTo>
                  <a:lnTo>
                    <a:pt x="202" y="208"/>
                  </a:lnTo>
                  <a:lnTo>
                    <a:pt x="200" y="222"/>
                  </a:lnTo>
                  <a:lnTo>
                    <a:pt x="202" y="228"/>
                  </a:lnTo>
                  <a:lnTo>
                    <a:pt x="204" y="232"/>
                  </a:lnTo>
                  <a:lnTo>
                    <a:pt x="206" y="238"/>
                  </a:lnTo>
                  <a:lnTo>
                    <a:pt x="208" y="244"/>
                  </a:lnTo>
                  <a:lnTo>
                    <a:pt x="210" y="258"/>
                  </a:lnTo>
                  <a:lnTo>
                    <a:pt x="212" y="276"/>
                  </a:lnTo>
                  <a:lnTo>
                    <a:pt x="218" y="278"/>
                  </a:lnTo>
                  <a:lnTo>
                    <a:pt x="222" y="274"/>
                  </a:lnTo>
                  <a:lnTo>
                    <a:pt x="218" y="232"/>
                  </a:lnTo>
                  <a:lnTo>
                    <a:pt x="224" y="238"/>
                  </a:lnTo>
                  <a:lnTo>
                    <a:pt x="236" y="244"/>
                  </a:lnTo>
                  <a:lnTo>
                    <a:pt x="242" y="250"/>
                  </a:lnTo>
                  <a:lnTo>
                    <a:pt x="244" y="256"/>
                  </a:lnTo>
                  <a:lnTo>
                    <a:pt x="246" y="260"/>
                  </a:lnTo>
                  <a:lnTo>
                    <a:pt x="252" y="276"/>
                  </a:lnTo>
                  <a:lnTo>
                    <a:pt x="258" y="286"/>
                  </a:lnTo>
                  <a:lnTo>
                    <a:pt x="262" y="294"/>
                  </a:lnTo>
                  <a:lnTo>
                    <a:pt x="266" y="298"/>
                  </a:lnTo>
                  <a:lnTo>
                    <a:pt x="274" y="300"/>
                  </a:lnTo>
                  <a:lnTo>
                    <a:pt x="294" y="302"/>
                  </a:lnTo>
                  <a:lnTo>
                    <a:pt x="322" y="304"/>
                  </a:lnTo>
                  <a:lnTo>
                    <a:pt x="324" y="300"/>
                  </a:lnTo>
                  <a:lnTo>
                    <a:pt x="326" y="296"/>
                  </a:lnTo>
                  <a:lnTo>
                    <a:pt x="328" y="288"/>
                  </a:lnTo>
                  <a:lnTo>
                    <a:pt x="330" y="284"/>
                  </a:lnTo>
                  <a:lnTo>
                    <a:pt x="328" y="276"/>
                  </a:lnTo>
                  <a:lnTo>
                    <a:pt x="326" y="268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66" name="Freeform 144"/>
            <p:cNvSpPr>
              <a:spLocks/>
            </p:cNvSpPr>
            <p:nvPr/>
          </p:nvSpPr>
          <p:spPr bwMode="auto">
            <a:xfrm>
              <a:off x="906463" y="3899361"/>
              <a:ext cx="321296" cy="676513"/>
            </a:xfrm>
            <a:custGeom>
              <a:avLst/>
              <a:gdLst>
                <a:gd name="T0" fmla="*/ 2147483647 w 202"/>
                <a:gd name="T1" fmla="*/ 2147483647 h 426"/>
                <a:gd name="T2" fmla="*/ 2147483647 w 202"/>
                <a:gd name="T3" fmla="*/ 2147483647 h 426"/>
                <a:gd name="T4" fmla="*/ 2147483647 w 202"/>
                <a:gd name="T5" fmla="*/ 2147483647 h 426"/>
                <a:gd name="T6" fmla="*/ 2147483647 w 202"/>
                <a:gd name="T7" fmla="*/ 2147483647 h 426"/>
                <a:gd name="T8" fmla="*/ 2147483647 w 202"/>
                <a:gd name="T9" fmla="*/ 2147483647 h 426"/>
                <a:gd name="T10" fmla="*/ 2147483647 w 202"/>
                <a:gd name="T11" fmla="*/ 2147483647 h 426"/>
                <a:gd name="T12" fmla="*/ 2147483647 w 202"/>
                <a:gd name="T13" fmla="*/ 2147483647 h 426"/>
                <a:gd name="T14" fmla="*/ 2147483647 w 202"/>
                <a:gd name="T15" fmla="*/ 2147483647 h 426"/>
                <a:gd name="T16" fmla="*/ 2147483647 w 202"/>
                <a:gd name="T17" fmla="*/ 2147483647 h 426"/>
                <a:gd name="T18" fmla="*/ 2147483647 w 202"/>
                <a:gd name="T19" fmla="*/ 2147483647 h 426"/>
                <a:gd name="T20" fmla="*/ 2147483647 w 202"/>
                <a:gd name="T21" fmla="*/ 2147483647 h 426"/>
                <a:gd name="T22" fmla="*/ 2147483647 w 202"/>
                <a:gd name="T23" fmla="*/ 2147483647 h 426"/>
                <a:gd name="T24" fmla="*/ 2147483647 w 202"/>
                <a:gd name="T25" fmla="*/ 2147483647 h 426"/>
                <a:gd name="T26" fmla="*/ 2147483647 w 202"/>
                <a:gd name="T27" fmla="*/ 2147483647 h 426"/>
                <a:gd name="T28" fmla="*/ 2147483647 w 202"/>
                <a:gd name="T29" fmla="*/ 2147483647 h 426"/>
                <a:gd name="T30" fmla="*/ 2147483647 w 202"/>
                <a:gd name="T31" fmla="*/ 2147483647 h 426"/>
                <a:gd name="T32" fmla="*/ 2147483647 w 202"/>
                <a:gd name="T33" fmla="*/ 2147483647 h 426"/>
                <a:gd name="T34" fmla="*/ 2147483647 w 202"/>
                <a:gd name="T35" fmla="*/ 2147483647 h 426"/>
                <a:gd name="T36" fmla="*/ 2147483647 w 202"/>
                <a:gd name="T37" fmla="*/ 2147483647 h 426"/>
                <a:gd name="T38" fmla="*/ 2147483647 w 202"/>
                <a:gd name="T39" fmla="*/ 2147483647 h 426"/>
                <a:gd name="T40" fmla="*/ 2147483647 w 202"/>
                <a:gd name="T41" fmla="*/ 2147483647 h 426"/>
                <a:gd name="T42" fmla="*/ 2147483647 w 202"/>
                <a:gd name="T43" fmla="*/ 2147483647 h 426"/>
                <a:gd name="T44" fmla="*/ 2147483647 w 202"/>
                <a:gd name="T45" fmla="*/ 2147483647 h 426"/>
                <a:gd name="T46" fmla="*/ 0 w 202"/>
                <a:gd name="T47" fmla="*/ 2147483647 h 426"/>
                <a:gd name="T48" fmla="*/ 2147483647 w 202"/>
                <a:gd name="T49" fmla="*/ 2147483647 h 426"/>
                <a:gd name="T50" fmla="*/ 2147483647 w 202"/>
                <a:gd name="T51" fmla="*/ 2147483647 h 426"/>
                <a:gd name="T52" fmla="*/ 2147483647 w 202"/>
                <a:gd name="T53" fmla="*/ 2147483647 h 426"/>
                <a:gd name="T54" fmla="*/ 2147483647 w 202"/>
                <a:gd name="T55" fmla="*/ 2147483647 h 426"/>
                <a:gd name="T56" fmla="*/ 2147483647 w 202"/>
                <a:gd name="T57" fmla="*/ 2147483647 h 426"/>
                <a:gd name="T58" fmla="*/ 2147483647 w 202"/>
                <a:gd name="T59" fmla="*/ 2147483647 h 426"/>
                <a:gd name="T60" fmla="*/ 2147483647 w 202"/>
                <a:gd name="T61" fmla="*/ 2147483647 h 426"/>
                <a:gd name="T62" fmla="*/ 2147483647 w 202"/>
                <a:gd name="T63" fmla="*/ 0 h 426"/>
                <a:gd name="T64" fmla="*/ 2147483647 w 202"/>
                <a:gd name="T65" fmla="*/ 2147483647 h 426"/>
                <a:gd name="T66" fmla="*/ 2147483647 w 202"/>
                <a:gd name="T67" fmla="*/ 2147483647 h 426"/>
                <a:gd name="T68" fmla="*/ 2147483647 w 202"/>
                <a:gd name="T69" fmla="*/ 2147483647 h 42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202"/>
                <a:gd name="T106" fmla="*/ 0 h 426"/>
                <a:gd name="T107" fmla="*/ 202 w 202"/>
                <a:gd name="T108" fmla="*/ 426 h 42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202" h="426">
                  <a:moveTo>
                    <a:pt x="166" y="184"/>
                  </a:moveTo>
                  <a:lnTo>
                    <a:pt x="166" y="184"/>
                  </a:lnTo>
                  <a:lnTo>
                    <a:pt x="152" y="196"/>
                  </a:lnTo>
                  <a:lnTo>
                    <a:pt x="140" y="210"/>
                  </a:lnTo>
                  <a:lnTo>
                    <a:pt x="130" y="226"/>
                  </a:lnTo>
                  <a:lnTo>
                    <a:pt x="124" y="236"/>
                  </a:lnTo>
                  <a:lnTo>
                    <a:pt x="118" y="242"/>
                  </a:lnTo>
                  <a:lnTo>
                    <a:pt x="104" y="252"/>
                  </a:lnTo>
                  <a:lnTo>
                    <a:pt x="92" y="258"/>
                  </a:lnTo>
                  <a:lnTo>
                    <a:pt x="88" y="258"/>
                  </a:lnTo>
                  <a:lnTo>
                    <a:pt x="86" y="262"/>
                  </a:lnTo>
                  <a:lnTo>
                    <a:pt x="86" y="266"/>
                  </a:lnTo>
                  <a:lnTo>
                    <a:pt x="90" y="268"/>
                  </a:lnTo>
                  <a:lnTo>
                    <a:pt x="92" y="270"/>
                  </a:lnTo>
                  <a:lnTo>
                    <a:pt x="94" y="272"/>
                  </a:lnTo>
                  <a:lnTo>
                    <a:pt x="98" y="282"/>
                  </a:lnTo>
                  <a:lnTo>
                    <a:pt x="104" y="292"/>
                  </a:lnTo>
                  <a:lnTo>
                    <a:pt x="116" y="306"/>
                  </a:lnTo>
                  <a:lnTo>
                    <a:pt x="134" y="324"/>
                  </a:lnTo>
                  <a:lnTo>
                    <a:pt x="142" y="336"/>
                  </a:lnTo>
                  <a:lnTo>
                    <a:pt x="166" y="348"/>
                  </a:lnTo>
                  <a:lnTo>
                    <a:pt x="184" y="356"/>
                  </a:lnTo>
                  <a:lnTo>
                    <a:pt x="196" y="360"/>
                  </a:lnTo>
                  <a:lnTo>
                    <a:pt x="198" y="362"/>
                  </a:lnTo>
                  <a:lnTo>
                    <a:pt x="198" y="370"/>
                  </a:lnTo>
                  <a:lnTo>
                    <a:pt x="192" y="390"/>
                  </a:lnTo>
                  <a:lnTo>
                    <a:pt x="186" y="400"/>
                  </a:lnTo>
                  <a:lnTo>
                    <a:pt x="180" y="412"/>
                  </a:lnTo>
                  <a:lnTo>
                    <a:pt x="172" y="420"/>
                  </a:lnTo>
                  <a:lnTo>
                    <a:pt x="164" y="426"/>
                  </a:lnTo>
                  <a:lnTo>
                    <a:pt x="48" y="334"/>
                  </a:lnTo>
                  <a:lnTo>
                    <a:pt x="34" y="322"/>
                  </a:lnTo>
                  <a:lnTo>
                    <a:pt x="26" y="314"/>
                  </a:lnTo>
                  <a:lnTo>
                    <a:pt x="20" y="306"/>
                  </a:lnTo>
                  <a:lnTo>
                    <a:pt x="6" y="282"/>
                  </a:lnTo>
                  <a:lnTo>
                    <a:pt x="4" y="278"/>
                  </a:lnTo>
                  <a:lnTo>
                    <a:pt x="0" y="270"/>
                  </a:lnTo>
                  <a:lnTo>
                    <a:pt x="0" y="262"/>
                  </a:lnTo>
                  <a:lnTo>
                    <a:pt x="0" y="258"/>
                  </a:lnTo>
                  <a:lnTo>
                    <a:pt x="4" y="252"/>
                  </a:lnTo>
                  <a:lnTo>
                    <a:pt x="82" y="124"/>
                  </a:lnTo>
                  <a:lnTo>
                    <a:pt x="104" y="62"/>
                  </a:lnTo>
                  <a:lnTo>
                    <a:pt x="112" y="48"/>
                  </a:lnTo>
                  <a:lnTo>
                    <a:pt x="118" y="36"/>
                  </a:lnTo>
                  <a:lnTo>
                    <a:pt x="124" y="28"/>
                  </a:lnTo>
                  <a:lnTo>
                    <a:pt x="130" y="24"/>
                  </a:lnTo>
                  <a:lnTo>
                    <a:pt x="134" y="22"/>
                  </a:lnTo>
                  <a:lnTo>
                    <a:pt x="144" y="20"/>
                  </a:lnTo>
                  <a:lnTo>
                    <a:pt x="202" y="0"/>
                  </a:lnTo>
                  <a:lnTo>
                    <a:pt x="200" y="24"/>
                  </a:lnTo>
                  <a:lnTo>
                    <a:pt x="192" y="78"/>
                  </a:lnTo>
                  <a:lnTo>
                    <a:pt x="188" y="108"/>
                  </a:lnTo>
                  <a:lnTo>
                    <a:pt x="182" y="138"/>
                  </a:lnTo>
                  <a:lnTo>
                    <a:pt x="174" y="164"/>
                  </a:lnTo>
                  <a:lnTo>
                    <a:pt x="166" y="184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</p:grpSp>
      <p:grpSp>
        <p:nvGrpSpPr>
          <p:cNvPr id="67" name="Gruppe 90"/>
          <p:cNvGrpSpPr>
            <a:grpSpLocks/>
          </p:cNvGrpSpPr>
          <p:nvPr/>
        </p:nvGrpSpPr>
        <p:grpSpPr bwMode="auto">
          <a:xfrm>
            <a:off x="2052300" y="2725607"/>
            <a:ext cx="501129" cy="1756752"/>
            <a:chOff x="4530725" y="1619250"/>
            <a:chExt cx="1212850" cy="4246563"/>
          </a:xfrm>
        </p:grpSpPr>
        <p:grpSp>
          <p:nvGrpSpPr>
            <p:cNvPr id="68" name="Gruppe 73"/>
            <p:cNvGrpSpPr>
              <a:grpSpLocks/>
            </p:cNvGrpSpPr>
            <p:nvPr/>
          </p:nvGrpSpPr>
          <p:grpSpPr bwMode="auto">
            <a:xfrm>
              <a:off x="4530725" y="1619250"/>
              <a:ext cx="1212850" cy="4246562"/>
              <a:chOff x="5654019" y="1734325"/>
              <a:chExt cx="1213506" cy="4245788"/>
            </a:xfrm>
          </p:grpSpPr>
          <p:sp>
            <p:nvSpPr>
              <p:cNvPr id="70" name="Kombinationstegning 87"/>
              <p:cNvSpPr/>
              <p:nvPr/>
            </p:nvSpPr>
            <p:spPr>
              <a:xfrm>
                <a:off x="5847232" y="2221491"/>
                <a:ext cx="644039" cy="795029"/>
              </a:xfrm>
              <a:custGeom>
                <a:avLst/>
                <a:gdLst>
                  <a:gd name="connsiteX0" fmla="*/ 276225 w 352425"/>
                  <a:gd name="connsiteY0" fmla="*/ 0 h 495300"/>
                  <a:gd name="connsiteX1" fmla="*/ 352425 w 352425"/>
                  <a:gd name="connsiteY1" fmla="*/ 114300 h 495300"/>
                  <a:gd name="connsiteX2" fmla="*/ 266700 w 352425"/>
                  <a:gd name="connsiteY2" fmla="*/ 314325 h 495300"/>
                  <a:gd name="connsiteX3" fmla="*/ 114300 w 352425"/>
                  <a:gd name="connsiteY3" fmla="*/ 495300 h 495300"/>
                  <a:gd name="connsiteX4" fmla="*/ 0 w 352425"/>
                  <a:gd name="connsiteY4" fmla="*/ 438150 h 495300"/>
                  <a:gd name="connsiteX5" fmla="*/ 76200 w 352425"/>
                  <a:gd name="connsiteY5" fmla="*/ 219075 h 495300"/>
                  <a:gd name="connsiteX6" fmla="*/ 104775 w 352425"/>
                  <a:gd name="connsiteY6" fmla="*/ 104775 h 495300"/>
                  <a:gd name="connsiteX7" fmla="*/ 209550 w 352425"/>
                  <a:gd name="connsiteY7" fmla="*/ 38100 h 495300"/>
                  <a:gd name="connsiteX8" fmla="*/ 276225 w 352425"/>
                  <a:gd name="connsiteY8" fmla="*/ 0 h 4953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52425" h="495300">
                    <a:moveTo>
                      <a:pt x="276225" y="0"/>
                    </a:moveTo>
                    <a:lnTo>
                      <a:pt x="352425" y="114300"/>
                    </a:lnTo>
                    <a:lnTo>
                      <a:pt x="266700" y="314325"/>
                    </a:lnTo>
                    <a:lnTo>
                      <a:pt x="114300" y="495300"/>
                    </a:lnTo>
                    <a:lnTo>
                      <a:pt x="0" y="438150"/>
                    </a:lnTo>
                    <a:lnTo>
                      <a:pt x="76200" y="219075"/>
                    </a:lnTo>
                    <a:lnTo>
                      <a:pt x="104775" y="104775"/>
                    </a:lnTo>
                    <a:lnTo>
                      <a:pt x="209550" y="38100"/>
                    </a:lnTo>
                    <a:lnTo>
                      <a:pt x="276225" y="0"/>
                    </a:lnTo>
                    <a:close/>
                  </a:path>
                </a:pathLst>
              </a:custGeom>
              <a:gradFill rotWithShape="1">
                <a:gsLst>
                  <a:gs pos="0">
                    <a:srgbClr val="E6E6E6">
                      <a:tint val="100000"/>
                      <a:shade val="100000"/>
                      <a:satMod val="130000"/>
                    </a:srgbClr>
                  </a:gs>
                  <a:gs pos="100000">
                    <a:srgbClr val="E6E6E6">
                      <a:tint val="50000"/>
                      <a:shade val="100000"/>
                      <a:satMod val="350000"/>
                    </a:srgbClr>
                  </a:gs>
                </a:gsLst>
                <a:lin ang="16200000" scaled="0"/>
              </a:gradFill>
              <a:ln w="9525" cap="flat" cmpd="sng" algn="ctr">
                <a:solidFill>
                  <a:srgbClr val="E6E6E6">
                    <a:shade val="95000"/>
                    <a:satMod val="105000"/>
                  </a:srgbClr>
                </a:solidFill>
                <a:prstDash val="solid"/>
              </a:ln>
              <a:effectLst/>
            </p:spPr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>
                  <a:solidFill>
                    <a:sysClr val="window" lastClr="FFFFFF"/>
                  </a:solidFill>
                  <a:latin typeface="Calibri"/>
                  <a:cs typeface="+mn-cs"/>
                </a:endParaRPr>
              </a:p>
            </p:txBody>
          </p:sp>
          <p:sp>
            <p:nvSpPr>
              <p:cNvPr id="78" name="Freeform 9"/>
              <p:cNvSpPr>
                <a:spLocks noEditPoints="1"/>
              </p:cNvSpPr>
              <p:nvPr/>
            </p:nvSpPr>
            <p:spPr bwMode="auto">
              <a:xfrm>
                <a:off x="5654019" y="1734325"/>
                <a:ext cx="1213506" cy="4245788"/>
              </a:xfrm>
              <a:custGeom>
                <a:avLst/>
                <a:gdLst>
                  <a:gd name="T0" fmla="*/ 2147483647 w 405"/>
                  <a:gd name="T1" fmla="*/ 2147483647 h 1420"/>
                  <a:gd name="T2" fmla="*/ 2147483647 w 405"/>
                  <a:gd name="T3" fmla="*/ 2147483647 h 1420"/>
                  <a:gd name="T4" fmla="*/ 2147483647 w 405"/>
                  <a:gd name="T5" fmla="*/ 2147483647 h 1420"/>
                  <a:gd name="T6" fmla="*/ 2147483647 w 405"/>
                  <a:gd name="T7" fmla="*/ 2147483647 h 1420"/>
                  <a:gd name="T8" fmla="*/ 2147483647 w 405"/>
                  <a:gd name="T9" fmla="*/ 2147483647 h 1420"/>
                  <a:gd name="T10" fmla="*/ 2147483647 w 405"/>
                  <a:gd name="T11" fmla="*/ 2147483647 h 1420"/>
                  <a:gd name="T12" fmla="*/ 2147483647 w 405"/>
                  <a:gd name="T13" fmla="*/ 2147483647 h 1420"/>
                  <a:gd name="T14" fmla="*/ 2147483647 w 405"/>
                  <a:gd name="T15" fmla="*/ 2147483647 h 1420"/>
                  <a:gd name="T16" fmla="*/ 2147483647 w 405"/>
                  <a:gd name="T17" fmla="*/ 2147483647 h 1420"/>
                  <a:gd name="T18" fmla="*/ 2147483647 w 405"/>
                  <a:gd name="T19" fmla="*/ 2147483647 h 1420"/>
                  <a:gd name="T20" fmla="*/ 2147483647 w 405"/>
                  <a:gd name="T21" fmla="*/ 2147483647 h 1420"/>
                  <a:gd name="T22" fmla="*/ 2147483647 w 405"/>
                  <a:gd name="T23" fmla="*/ 2147483647 h 1420"/>
                  <a:gd name="T24" fmla="*/ 2147483647 w 405"/>
                  <a:gd name="T25" fmla="*/ 2147483647 h 1420"/>
                  <a:gd name="T26" fmla="*/ 2147483647 w 405"/>
                  <a:gd name="T27" fmla="*/ 2147483647 h 1420"/>
                  <a:gd name="T28" fmla="*/ 2147483647 w 405"/>
                  <a:gd name="T29" fmla="*/ 2147483647 h 1420"/>
                  <a:gd name="T30" fmla="*/ 2147483647 w 405"/>
                  <a:gd name="T31" fmla="*/ 2147483647 h 1420"/>
                  <a:gd name="T32" fmla="*/ 2147483647 w 405"/>
                  <a:gd name="T33" fmla="*/ 2147483647 h 1420"/>
                  <a:gd name="T34" fmla="*/ 2147483647 w 405"/>
                  <a:gd name="T35" fmla="*/ 2147483647 h 1420"/>
                  <a:gd name="T36" fmla="*/ 2147483647 w 405"/>
                  <a:gd name="T37" fmla="*/ 2147483647 h 1420"/>
                  <a:gd name="T38" fmla="*/ 2147483647 w 405"/>
                  <a:gd name="T39" fmla="*/ 2147483647 h 1420"/>
                  <a:gd name="T40" fmla="*/ 2147483647 w 405"/>
                  <a:gd name="T41" fmla="*/ 2147483647 h 1420"/>
                  <a:gd name="T42" fmla="*/ 2147483647 w 405"/>
                  <a:gd name="T43" fmla="*/ 2147483647 h 1420"/>
                  <a:gd name="T44" fmla="*/ 2147483647 w 405"/>
                  <a:gd name="T45" fmla="*/ 0 h 1420"/>
                  <a:gd name="T46" fmla="*/ 2147483647 w 405"/>
                  <a:gd name="T47" fmla="*/ 2147483647 h 1420"/>
                  <a:gd name="T48" fmla="*/ 2147483647 w 405"/>
                  <a:gd name="T49" fmla="*/ 2147483647 h 1420"/>
                  <a:gd name="T50" fmla="*/ 2147483647 w 405"/>
                  <a:gd name="T51" fmla="*/ 2147483647 h 1420"/>
                  <a:gd name="T52" fmla="*/ 2147483647 w 405"/>
                  <a:gd name="T53" fmla="*/ 2147483647 h 1420"/>
                  <a:gd name="T54" fmla="*/ 2147483647 w 405"/>
                  <a:gd name="T55" fmla="*/ 2147483647 h 1420"/>
                  <a:gd name="T56" fmla="*/ 2147483647 w 405"/>
                  <a:gd name="T57" fmla="*/ 2147483647 h 1420"/>
                  <a:gd name="T58" fmla="*/ 2147483647 w 405"/>
                  <a:gd name="T59" fmla="*/ 2147483647 h 1420"/>
                  <a:gd name="T60" fmla="*/ 2147483647 w 405"/>
                  <a:gd name="T61" fmla="*/ 2147483647 h 1420"/>
                  <a:gd name="T62" fmla="*/ 2147483647 w 405"/>
                  <a:gd name="T63" fmla="*/ 2147483647 h 1420"/>
                  <a:gd name="T64" fmla="*/ 2147483647 w 405"/>
                  <a:gd name="T65" fmla="*/ 2147483647 h 1420"/>
                  <a:gd name="T66" fmla="*/ 2147483647 w 405"/>
                  <a:gd name="T67" fmla="*/ 2147483647 h 1420"/>
                  <a:gd name="T68" fmla="*/ 2147483647 w 405"/>
                  <a:gd name="T69" fmla="*/ 2147483647 h 1420"/>
                  <a:gd name="T70" fmla="*/ 0 w 405"/>
                  <a:gd name="T71" fmla="*/ 2147483647 h 1420"/>
                  <a:gd name="T72" fmla="*/ 2147483647 w 405"/>
                  <a:gd name="T73" fmla="*/ 2147483647 h 1420"/>
                  <a:gd name="T74" fmla="*/ 2147483647 w 405"/>
                  <a:gd name="T75" fmla="*/ 2147483647 h 1420"/>
                  <a:gd name="T76" fmla="*/ 2147483647 w 405"/>
                  <a:gd name="T77" fmla="*/ 2147483647 h 1420"/>
                  <a:gd name="T78" fmla="*/ 2147483647 w 405"/>
                  <a:gd name="T79" fmla="*/ 2147483647 h 1420"/>
                  <a:gd name="T80" fmla="*/ 2147483647 w 405"/>
                  <a:gd name="T81" fmla="*/ 2147483647 h 1420"/>
                  <a:gd name="T82" fmla="*/ 2147483647 w 405"/>
                  <a:gd name="T83" fmla="*/ 2147483647 h 1420"/>
                  <a:gd name="T84" fmla="*/ 2147483647 w 405"/>
                  <a:gd name="T85" fmla="*/ 2147483647 h 1420"/>
                  <a:gd name="T86" fmla="*/ 2147483647 w 405"/>
                  <a:gd name="T87" fmla="*/ 2147483647 h 1420"/>
                  <a:gd name="T88" fmla="*/ 2147483647 w 405"/>
                  <a:gd name="T89" fmla="*/ 2147483647 h 1420"/>
                  <a:gd name="T90" fmla="*/ 2147483647 w 405"/>
                  <a:gd name="T91" fmla="*/ 2147483647 h 1420"/>
                  <a:gd name="T92" fmla="*/ 2147483647 w 405"/>
                  <a:gd name="T93" fmla="*/ 2147483647 h 1420"/>
                  <a:gd name="T94" fmla="*/ 2147483647 w 405"/>
                  <a:gd name="T95" fmla="*/ 2147483647 h 1420"/>
                  <a:gd name="T96" fmla="*/ 2147483647 w 405"/>
                  <a:gd name="T97" fmla="*/ 2147483647 h 1420"/>
                  <a:gd name="T98" fmla="*/ 2147483647 w 405"/>
                  <a:gd name="T99" fmla="*/ 2147483647 h 1420"/>
                  <a:gd name="T100" fmla="*/ 2147483647 w 405"/>
                  <a:gd name="T101" fmla="*/ 2147483647 h 1420"/>
                  <a:gd name="T102" fmla="*/ 2147483647 w 405"/>
                  <a:gd name="T103" fmla="*/ 2147483647 h 1420"/>
                  <a:gd name="T104" fmla="*/ 2147483647 w 405"/>
                  <a:gd name="T105" fmla="*/ 2147483647 h 1420"/>
                  <a:gd name="T106" fmla="*/ 2147483647 w 405"/>
                  <a:gd name="T107" fmla="*/ 2147483647 h 1420"/>
                  <a:gd name="T108" fmla="*/ 2147483647 w 405"/>
                  <a:gd name="T109" fmla="*/ 2147483647 h 1420"/>
                  <a:gd name="T110" fmla="*/ 2147483647 w 405"/>
                  <a:gd name="T111" fmla="*/ 2147483647 h 1420"/>
                  <a:gd name="T112" fmla="*/ 2147483647 w 405"/>
                  <a:gd name="T113" fmla="*/ 2147483647 h 1420"/>
                  <a:gd name="T114" fmla="*/ 2147483647 w 405"/>
                  <a:gd name="T115" fmla="*/ 2147483647 h 1420"/>
                  <a:gd name="T116" fmla="*/ 2147483647 w 405"/>
                  <a:gd name="T117" fmla="*/ 2147483647 h 1420"/>
                  <a:gd name="T118" fmla="*/ 2147483647 w 405"/>
                  <a:gd name="T119" fmla="*/ 2147483647 h 1420"/>
                  <a:gd name="T120" fmla="*/ 2147483647 w 405"/>
                  <a:gd name="T121" fmla="*/ 2147483647 h 1420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w 405"/>
                  <a:gd name="T184" fmla="*/ 0 h 1420"/>
                  <a:gd name="T185" fmla="*/ 405 w 405"/>
                  <a:gd name="T186" fmla="*/ 1420 h 1420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T183" t="T184" r="T185" b="T186"/>
                <a:pathLst>
                  <a:path w="405" h="1420">
                    <a:moveTo>
                      <a:pt x="249" y="178"/>
                    </a:moveTo>
                    <a:cubicBezTo>
                      <a:pt x="249" y="178"/>
                      <a:pt x="249" y="178"/>
                      <a:pt x="249" y="178"/>
                    </a:cubicBezTo>
                    <a:cubicBezTo>
                      <a:pt x="249" y="178"/>
                      <a:pt x="249" y="178"/>
                      <a:pt x="250" y="179"/>
                    </a:cubicBezTo>
                    <a:cubicBezTo>
                      <a:pt x="250" y="179"/>
                      <a:pt x="250" y="179"/>
                      <a:pt x="250" y="179"/>
                    </a:cubicBezTo>
                    <a:cubicBezTo>
                      <a:pt x="249" y="178"/>
                      <a:pt x="249" y="178"/>
                      <a:pt x="249" y="178"/>
                    </a:cubicBezTo>
                    <a:close/>
                    <a:moveTo>
                      <a:pt x="395" y="1298"/>
                    </a:moveTo>
                    <a:cubicBezTo>
                      <a:pt x="396" y="1292"/>
                      <a:pt x="399" y="1290"/>
                      <a:pt x="399" y="1285"/>
                    </a:cubicBezTo>
                    <a:cubicBezTo>
                      <a:pt x="402" y="1269"/>
                      <a:pt x="399" y="1249"/>
                      <a:pt x="399" y="1231"/>
                    </a:cubicBezTo>
                    <a:cubicBezTo>
                      <a:pt x="399" y="1213"/>
                      <a:pt x="399" y="1196"/>
                      <a:pt x="399" y="1178"/>
                    </a:cubicBezTo>
                    <a:cubicBezTo>
                      <a:pt x="399" y="1177"/>
                      <a:pt x="399" y="1175"/>
                      <a:pt x="399" y="1174"/>
                    </a:cubicBezTo>
                    <a:cubicBezTo>
                      <a:pt x="399" y="1151"/>
                      <a:pt x="400" y="1127"/>
                      <a:pt x="401" y="1105"/>
                    </a:cubicBezTo>
                    <a:cubicBezTo>
                      <a:pt x="401" y="1093"/>
                      <a:pt x="401" y="1082"/>
                      <a:pt x="400" y="1072"/>
                    </a:cubicBezTo>
                    <a:cubicBezTo>
                      <a:pt x="399" y="1047"/>
                      <a:pt x="392" y="1022"/>
                      <a:pt x="387" y="996"/>
                    </a:cubicBezTo>
                    <a:cubicBezTo>
                      <a:pt x="387" y="992"/>
                      <a:pt x="386" y="987"/>
                      <a:pt x="385" y="982"/>
                    </a:cubicBezTo>
                    <a:cubicBezTo>
                      <a:pt x="384" y="982"/>
                      <a:pt x="384" y="982"/>
                      <a:pt x="384" y="982"/>
                    </a:cubicBezTo>
                    <a:cubicBezTo>
                      <a:pt x="377" y="939"/>
                      <a:pt x="370" y="897"/>
                      <a:pt x="362" y="852"/>
                    </a:cubicBezTo>
                    <a:cubicBezTo>
                      <a:pt x="357" y="829"/>
                      <a:pt x="350" y="794"/>
                      <a:pt x="354" y="775"/>
                    </a:cubicBezTo>
                    <a:cubicBezTo>
                      <a:pt x="354" y="772"/>
                      <a:pt x="355" y="769"/>
                      <a:pt x="357" y="767"/>
                    </a:cubicBezTo>
                    <a:cubicBezTo>
                      <a:pt x="359" y="765"/>
                      <a:pt x="360" y="766"/>
                      <a:pt x="361" y="765"/>
                    </a:cubicBezTo>
                    <a:cubicBezTo>
                      <a:pt x="362" y="764"/>
                      <a:pt x="360" y="763"/>
                      <a:pt x="361" y="761"/>
                    </a:cubicBezTo>
                    <a:cubicBezTo>
                      <a:pt x="364" y="748"/>
                      <a:pt x="359" y="732"/>
                      <a:pt x="358" y="717"/>
                    </a:cubicBezTo>
                    <a:cubicBezTo>
                      <a:pt x="357" y="700"/>
                      <a:pt x="357" y="685"/>
                      <a:pt x="355" y="671"/>
                    </a:cubicBezTo>
                    <a:cubicBezTo>
                      <a:pt x="354" y="658"/>
                      <a:pt x="352" y="643"/>
                      <a:pt x="350" y="628"/>
                    </a:cubicBezTo>
                    <a:cubicBezTo>
                      <a:pt x="348" y="613"/>
                      <a:pt x="343" y="596"/>
                      <a:pt x="345" y="585"/>
                    </a:cubicBezTo>
                    <a:cubicBezTo>
                      <a:pt x="347" y="574"/>
                      <a:pt x="364" y="555"/>
                      <a:pt x="369" y="547"/>
                    </a:cubicBezTo>
                    <a:cubicBezTo>
                      <a:pt x="377" y="535"/>
                      <a:pt x="388" y="521"/>
                      <a:pt x="392" y="509"/>
                    </a:cubicBezTo>
                    <a:cubicBezTo>
                      <a:pt x="398" y="491"/>
                      <a:pt x="398" y="466"/>
                      <a:pt x="396" y="442"/>
                    </a:cubicBezTo>
                    <a:cubicBezTo>
                      <a:pt x="394" y="416"/>
                      <a:pt x="394" y="394"/>
                      <a:pt x="391" y="372"/>
                    </a:cubicBezTo>
                    <a:cubicBezTo>
                      <a:pt x="389" y="350"/>
                      <a:pt x="387" y="329"/>
                      <a:pt x="383" y="306"/>
                    </a:cubicBezTo>
                    <a:cubicBezTo>
                      <a:pt x="381" y="289"/>
                      <a:pt x="377" y="259"/>
                      <a:pt x="370" y="245"/>
                    </a:cubicBezTo>
                    <a:cubicBezTo>
                      <a:pt x="362" y="230"/>
                      <a:pt x="338" y="223"/>
                      <a:pt x="320" y="218"/>
                    </a:cubicBezTo>
                    <a:cubicBezTo>
                      <a:pt x="304" y="212"/>
                      <a:pt x="284" y="209"/>
                      <a:pt x="269" y="201"/>
                    </a:cubicBezTo>
                    <a:cubicBezTo>
                      <a:pt x="262" y="196"/>
                      <a:pt x="258" y="188"/>
                      <a:pt x="251" y="180"/>
                    </a:cubicBezTo>
                    <a:cubicBezTo>
                      <a:pt x="250" y="180"/>
                      <a:pt x="250" y="179"/>
                      <a:pt x="250" y="179"/>
                    </a:cubicBezTo>
                    <a:cubicBezTo>
                      <a:pt x="241" y="196"/>
                      <a:pt x="228" y="215"/>
                      <a:pt x="217" y="232"/>
                    </a:cubicBezTo>
                    <a:cubicBezTo>
                      <a:pt x="207" y="249"/>
                      <a:pt x="199" y="267"/>
                      <a:pt x="186" y="282"/>
                    </a:cubicBezTo>
                    <a:cubicBezTo>
                      <a:pt x="179" y="271"/>
                      <a:pt x="171" y="262"/>
                      <a:pt x="164" y="251"/>
                    </a:cubicBezTo>
                    <a:cubicBezTo>
                      <a:pt x="187" y="223"/>
                      <a:pt x="214" y="196"/>
                      <a:pt x="238" y="169"/>
                    </a:cubicBezTo>
                    <a:cubicBezTo>
                      <a:pt x="238" y="168"/>
                      <a:pt x="238" y="168"/>
                      <a:pt x="238" y="168"/>
                    </a:cubicBezTo>
                    <a:cubicBezTo>
                      <a:pt x="238" y="167"/>
                      <a:pt x="238" y="167"/>
                      <a:pt x="238" y="167"/>
                    </a:cubicBezTo>
                    <a:cubicBezTo>
                      <a:pt x="236" y="165"/>
                      <a:pt x="234" y="162"/>
                      <a:pt x="233" y="158"/>
                    </a:cubicBezTo>
                    <a:cubicBezTo>
                      <a:pt x="229" y="136"/>
                      <a:pt x="247" y="119"/>
                      <a:pt x="248" y="97"/>
                    </a:cubicBezTo>
                    <a:cubicBezTo>
                      <a:pt x="249" y="89"/>
                      <a:pt x="245" y="82"/>
                      <a:pt x="244" y="72"/>
                    </a:cubicBezTo>
                    <a:cubicBezTo>
                      <a:pt x="243" y="58"/>
                      <a:pt x="244" y="47"/>
                      <a:pt x="240" y="39"/>
                    </a:cubicBezTo>
                    <a:cubicBezTo>
                      <a:pt x="231" y="19"/>
                      <a:pt x="212" y="5"/>
                      <a:pt x="185" y="1"/>
                    </a:cubicBezTo>
                    <a:cubicBezTo>
                      <a:pt x="185" y="0"/>
                      <a:pt x="185" y="0"/>
                      <a:pt x="185" y="0"/>
                    </a:cubicBezTo>
                    <a:cubicBezTo>
                      <a:pt x="179" y="0"/>
                      <a:pt x="179" y="0"/>
                      <a:pt x="179" y="0"/>
                    </a:cubicBezTo>
                    <a:cubicBezTo>
                      <a:pt x="164" y="5"/>
                      <a:pt x="153" y="1"/>
                      <a:pt x="142" y="6"/>
                    </a:cubicBezTo>
                    <a:cubicBezTo>
                      <a:pt x="116" y="17"/>
                      <a:pt x="108" y="44"/>
                      <a:pt x="110" y="80"/>
                    </a:cubicBezTo>
                    <a:cubicBezTo>
                      <a:pt x="111" y="112"/>
                      <a:pt x="116" y="145"/>
                      <a:pt x="127" y="167"/>
                    </a:cubicBezTo>
                    <a:cubicBezTo>
                      <a:pt x="132" y="177"/>
                      <a:pt x="138" y="183"/>
                      <a:pt x="139" y="191"/>
                    </a:cubicBezTo>
                    <a:cubicBezTo>
                      <a:pt x="140" y="201"/>
                      <a:pt x="136" y="211"/>
                      <a:pt x="131" y="219"/>
                    </a:cubicBezTo>
                    <a:cubicBezTo>
                      <a:pt x="126" y="227"/>
                      <a:pt x="122" y="237"/>
                      <a:pt x="117" y="241"/>
                    </a:cubicBezTo>
                    <a:cubicBezTo>
                      <a:pt x="106" y="250"/>
                      <a:pt x="89" y="252"/>
                      <a:pt x="77" y="260"/>
                    </a:cubicBezTo>
                    <a:cubicBezTo>
                      <a:pt x="68" y="265"/>
                      <a:pt x="51" y="277"/>
                      <a:pt x="47" y="286"/>
                    </a:cubicBezTo>
                    <a:cubicBezTo>
                      <a:pt x="43" y="297"/>
                      <a:pt x="43" y="316"/>
                      <a:pt x="41" y="331"/>
                    </a:cubicBezTo>
                    <a:cubicBezTo>
                      <a:pt x="39" y="346"/>
                      <a:pt x="36" y="361"/>
                      <a:pt x="34" y="376"/>
                    </a:cubicBezTo>
                    <a:cubicBezTo>
                      <a:pt x="30" y="443"/>
                      <a:pt x="31" y="510"/>
                      <a:pt x="31" y="578"/>
                    </a:cubicBezTo>
                    <a:cubicBezTo>
                      <a:pt x="31" y="611"/>
                      <a:pt x="48" y="631"/>
                      <a:pt x="66" y="646"/>
                    </a:cubicBezTo>
                    <a:cubicBezTo>
                      <a:pt x="62" y="665"/>
                      <a:pt x="66" y="683"/>
                      <a:pt x="66" y="702"/>
                    </a:cubicBezTo>
                    <a:cubicBezTo>
                      <a:pt x="67" y="721"/>
                      <a:pt x="67" y="741"/>
                      <a:pt x="70" y="760"/>
                    </a:cubicBezTo>
                    <a:cubicBezTo>
                      <a:pt x="74" y="794"/>
                      <a:pt x="84" y="828"/>
                      <a:pt x="89" y="862"/>
                    </a:cubicBezTo>
                    <a:cubicBezTo>
                      <a:pt x="94" y="897"/>
                      <a:pt x="99" y="932"/>
                      <a:pt x="104" y="968"/>
                    </a:cubicBezTo>
                    <a:cubicBezTo>
                      <a:pt x="109" y="1004"/>
                      <a:pt x="116" y="1042"/>
                      <a:pt x="115" y="1078"/>
                    </a:cubicBezTo>
                    <a:cubicBezTo>
                      <a:pt x="115" y="1105"/>
                      <a:pt x="109" y="1133"/>
                      <a:pt x="106" y="1159"/>
                    </a:cubicBezTo>
                    <a:cubicBezTo>
                      <a:pt x="103" y="1178"/>
                      <a:pt x="97" y="1198"/>
                      <a:pt x="94" y="1215"/>
                    </a:cubicBezTo>
                    <a:cubicBezTo>
                      <a:pt x="92" y="1221"/>
                      <a:pt x="92" y="1229"/>
                      <a:pt x="90" y="1235"/>
                    </a:cubicBezTo>
                    <a:cubicBezTo>
                      <a:pt x="89" y="1240"/>
                      <a:pt x="83" y="1245"/>
                      <a:pt x="79" y="1251"/>
                    </a:cubicBezTo>
                    <a:cubicBezTo>
                      <a:pt x="75" y="1256"/>
                      <a:pt x="73" y="1263"/>
                      <a:pt x="68" y="1266"/>
                    </a:cubicBezTo>
                    <a:cubicBezTo>
                      <a:pt x="59" y="1274"/>
                      <a:pt x="44" y="1278"/>
                      <a:pt x="33" y="1284"/>
                    </a:cubicBezTo>
                    <a:cubicBezTo>
                      <a:pt x="21" y="1290"/>
                      <a:pt x="9" y="1295"/>
                      <a:pt x="0" y="1304"/>
                    </a:cubicBezTo>
                    <a:cubicBezTo>
                      <a:pt x="0" y="1307"/>
                      <a:pt x="0" y="1307"/>
                      <a:pt x="0" y="1307"/>
                    </a:cubicBezTo>
                    <a:cubicBezTo>
                      <a:pt x="1" y="1312"/>
                      <a:pt x="2" y="1317"/>
                      <a:pt x="4" y="1321"/>
                    </a:cubicBezTo>
                    <a:cubicBezTo>
                      <a:pt x="24" y="1330"/>
                      <a:pt x="58" y="1329"/>
                      <a:pt x="79" y="1321"/>
                    </a:cubicBezTo>
                    <a:cubicBezTo>
                      <a:pt x="94" y="1315"/>
                      <a:pt x="103" y="1302"/>
                      <a:pt x="117" y="1298"/>
                    </a:cubicBezTo>
                    <a:cubicBezTo>
                      <a:pt x="139" y="1305"/>
                      <a:pt x="169" y="1300"/>
                      <a:pt x="182" y="1288"/>
                    </a:cubicBezTo>
                    <a:cubicBezTo>
                      <a:pt x="185" y="1277"/>
                      <a:pt x="184" y="1264"/>
                      <a:pt x="189" y="1254"/>
                    </a:cubicBezTo>
                    <a:cubicBezTo>
                      <a:pt x="190" y="1250"/>
                      <a:pt x="195" y="1247"/>
                      <a:pt x="197" y="1243"/>
                    </a:cubicBezTo>
                    <a:cubicBezTo>
                      <a:pt x="203" y="1225"/>
                      <a:pt x="192" y="1201"/>
                      <a:pt x="195" y="1179"/>
                    </a:cubicBezTo>
                    <a:cubicBezTo>
                      <a:pt x="196" y="1174"/>
                      <a:pt x="199" y="1170"/>
                      <a:pt x="199" y="1166"/>
                    </a:cubicBezTo>
                    <a:cubicBezTo>
                      <a:pt x="199" y="1162"/>
                      <a:pt x="197" y="1159"/>
                      <a:pt x="197" y="1156"/>
                    </a:cubicBezTo>
                    <a:cubicBezTo>
                      <a:pt x="197" y="1150"/>
                      <a:pt x="199" y="1145"/>
                      <a:pt x="200" y="1140"/>
                    </a:cubicBezTo>
                    <a:cubicBezTo>
                      <a:pt x="200" y="1134"/>
                      <a:pt x="200" y="1128"/>
                      <a:pt x="201" y="1122"/>
                    </a:cubicBezTo>
                    <a:cubicBezTo>
                      <a:pt x="202" y="1045"/>
                      <a:pt x="210" y="972"/>
                      <a:pt x="213" y="903"/>
                    </a:cubicBezTo>
                    <a:cubicBezTo>
                      <a:pt x="218" y="907"/>
                      <a:pt x="219" y="914"/>
                      <a:pt x="220" y="919"/>
                    </a:cubicBezTo>
                    <a:cubicBezTo>
                      <a:pt x="227" y="937"/>
                      <a:pt x="232" y="954"/>
                      <a:pt x="238" y="973"/>
                    </a:cubicBezTo>
                    <a:cubicBezTo>
                      <a:pt x="245" y="996"/>
                      <a:pt x="256" y="1020"/>
                      <a:pt x="261" y="1044"/>
                    </a:cubicBezTo>
                    <a:cubicBezTo>
                      <a:pt x="264" y="1054"/>
                      <a:pt x="264" y="1065"/>
                      <a:pt x="265" y="1076"/>
                    </a:cubicBezTo>
                    <a:cubicBezTo>
                      <a:pt x="267" y="1086"/>
                      <a:pt x="268" y="1097"/>
                      <a:pt x="270" y="1107"/>
                    </a:cubicBezTo>
                    <a:cubicBezTo>
                      <a:pt x="275" y="1135"/>
                      <a:pt x="277" y="1164"/>
                      <a:pt x="279" y="1192"/>
                    </a:cubicBezTo>
                    <a:cubicBezTo>
                      <a:pt x="279" y="1204"/>
                      <a:pt x="280" y="1215"/>
                      <a:pt x="281" y="1227"/>
                    </a:cubicBezTo>
                    <a:cubicBezTo>
                      <a:pt x="281" y="1236"/>
                      <a:pt x="282" y="1244"/>
                      <a:pt x="282" y="1253"/>
                    </a:cubicBezTo>
                    <a:cubicBezTo>
                      <a:pt x="283" y="1253"/>
                      <a:pt x="283" y="1253"/>
                      <a:pt x="283" y="1253"/>
                    </a:cubicBezTo>
                    <a:cubicBezTo>
                      <a:pt x="284" y="1268"/>
                      <a:pt x="285" y="1284"/>
                      <a:pt x="287" y="1299"/>
                    </a:cubicBezTo>
                    <a:cubicBezTo>
                      <a:pt x="292" y="1302"/>
                      <a:pt x="301" y="1300"/>
                      <a:pt x="305" y="1303"/>
                    </a:cubicBezTo>
                    <a:cubicBezTo>
                      <a:pt x="307" y="1309"/>
                      <a:pt x="305" y="1318"/>
                      <a:pt x="306" y="1326"/>
                    </a:cubicBezTo>
                    <a:cubicBezTo>
                      <a:pt x="297" y="1345"/>
                      <a:pt x="284" y="1360"/>
                      <a:pt x="269" y="1375"/>
                    </a:cubicBezTo>
                    <a:cubicBezTo>
                      <a:pt x="261" y="1382"/>
                      <a:pt x="249" y="1393"/>
                      <a:pt x="250" y="1404"/>
                    </a:cubicBezTo>
                    <a:cubicBezTo>
                      <a:pt x="252" y="1417"/>
                      <a:pt x="274" y="1417"/>
                      <a:pt x="288" y="1419"/>
                    </a:cubicBezTo>
                    <a:cubicBezTo>
                      <a:pt x="288" y="1420"/>
                      <a:pt x="288" y="1420"/>
                      <a:pt x="288" y="1420"/>
                    </a:cubicBezTo>
                    <a:cubicBezTo>
                      <a:pt x="298" y="1420"/>
                      <a:pt x="298" y="1420"/>
                      <a:pt x="298" y="1420"/>
                    </a:cubicBezTo>
                    <a:cubicBezTo>
                      <a:pt x="334" y="1416"/>
                      <a:pt x="359" y="1401"/>
                      <a:pt x="374" y="1377"/>
                    </a:cubicBezTo>
                    <a:cubicBezTo>
                      <a:pt x="387" y="1376"/>
                      <a:pt x="394" y="1367"/>
                      <a:pt x="402" y="1359"/>
                    </a:cubicBezTo>
                    <a:cubicBezTo>
                      <a:pt x="402" y="1356"/>
                      <a:pt x="402" y="1352"/>
                      <a:pt x="403" y="1349"/>
                    </a:cubicBezTo>
                    <a:cubicBezTo>
                      <a:pt x="403" y="1343"/>
                      <a:pt x="403" y="1343"/>
                      <a:pt x="403" y="1343"/>
                    </a:cubicBezTo>
                    <a:cubicBezTo>
                      <a:pt x="405" y="1326"/>
                      <a:pt x="395" y="1311"/>
                      <a:pt x="395" y="1298"/>
                    </a:cubicBezTo>
                    <a:close/>
                    <a:moveTo>
                      <a:pt x="113" y="340"/>
                    </a:moveTo>
                    <a:cubicBezTo>
                      <a:pt x="109" y="350"/>
                      <a:pt x="106" y="361"/>
                      <a:pt x="101" y="369"/>
                    </a:cubicBezTo>
                    <a:cubicBezTo>
                      <a:pt x="100" y="341"/>
                      <a:pt x="108" y="321"/>
                      <a:pt x="114" y="299"/>
                    </a:cubicBezTo>
                    <a:cubicBezTo>
                      <a:pt x="122" y="289"/>
                      <a:pt x="133" y="280"/>
                      <a:pt x="142" y="270"/>
                    </a:cubicBezTo>
                    <a:cubicBezTo>
                      <a:pt x="145" y="274"/>
                      <a:pt x="145" y="281"/>
                      <a:pt x="149" y="285"/>
                    </a:cubicBezTo>
                    <a:cubicBezTo>
                      <a:pt x="135" y="301"/>
                      <a:pt x="124" y="321"/>
                      <a:pt x="113" y="340"/>
                    </a:cubicBezTo>
                    <a:close/>
                    <a:moveTo>
                      <a:pt x="114" y="293"/>
                    </a:moveTo>
                    <a:cubicBezTo>
                      <a:pt x="121" y="267"/>
                      <a:pt x="125" y="238"/>
                      <a:pt x="135" y="215"/>
                    </a:cubicBezTo>
                    <a:cubicBezTo>
                      <a:pt x="137" y="215"/>
                      <a:pt x="137" y="215"/>
                      <a:pt x="137" y="215"/>
                    </a:cubicBezTo>
                    <a:cubicBezTo>
                      <a:pt x="145" y="225"/>
                      <a:pt x="153" y="236"/>
                      <a:pt x="159" y="249"/>
                    </a:cubicBezTo>
                    <a:cubicBezTo>
                      <a:pt x="145" y="265"/>
                      <a:pt x="130" y="280"/>
                      <a:pt x="114" y="293"/>
                    </a:cubicBezTo>
                    <a:close/>
                    <a:moveTo>
                      <a:pt x="163" y="333"/>
                    </a:moveTo>
                    <a:cubicBezTo>
                      <a:pt x="159" y="320"/>
                      <a:pt x="164" y="301"/>
                      <a:pt x="161" y="289"/>
                    </a:cubicBezTo>
                    <a:cubicBezTo>
                      <a:pt x="166" y="283"/>
                      <a:pt x="172" y="280"/>
                      <a:pt x="175" y="273"/>
                    </a:cubicBezTo>
                    <a:cubicBezTo>
                      <a:pt x="180" y="275"/>
                      <a:pt x="181" y="281"/>
                      <a:pt x="185" y="285"/>
                    </a:cubicBezTo>
                    <a:cubicBezTo>
                      <a:pt x="178" y="301"/>
                      <a:pt x="171" y="318"/>
                      <a:pt x="163" y="333"/>
                    </a:cubicBezTo>
                    <a:close/>
                  </a:path>
                </a:pathLst>
              </a:custGeom>
              <a:solidFill>
                <a:srgbClr val="080808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>
                  <a:solidFill>
                    <a:sysClr val="windowText" lastClr="000000"/>
                  </a:solidFill>
                  <a:latin typeface="+mn-lt"/>
                  <a:cs typeface="+mn-cs"/>
                </a:endParaRPr>
              </a:p>
            </p:txBody>
          </p:sp>
        </p:grpSp>
        <p:sp>
          <p:nvSpPr>
            <p:cNvPr id="69" name="Kombinationstegning 89"/>
            <p:cNvSpPr/>
            <p:nvPr/>
          </p:nvSpPr>
          <p:spPr bwMode="auto">
            <a:xfrm>
              <a:off x="4839020" y="2363667"/>
              <a:ext cx="223598" cy="494022"/>
            </a:xfrm>
            <a:custGeom>
              <a:avLst/>
              <a:gdLst>
                <a:gd name="connsiteX0" fmla="*/ 186267 w 241300"/>
                <a:gd name="connsiteY0" fmla="*/ 279400 h 537633"/>
                <a:gd name="connsiteX1" fmla="*/ 186267 w 241300"/>
                <a:gd name="connsiteY1" fmla="*/ 165100 h 537633"/>
                <a:gd name="connsiteX2" fmla="*/ 182034 w 241300"/>
                <a:gd name="connsiteY2" fmla="*/ 131233 h 537633"/>
                <a:gd name="connsiteX3" fmla="*/ 241300 w 241300"/>
                <a:gd name="connsiteY3" fmla="*/ 71966 h 537633"/>
                <a:gd name="connsiteX4" fmla="*/ 203200 w 241300"/>
                <a:gd name="connsiteY4" fmla="*/ 8466 h 537633"/>
                <a:gd name="connsiteX5" fmla="*/ 186267 w 241300"/>
                <a:gd name="connsiteY5" fmla="*/ 0 h 537633"/>
                <a:gd name="connsiteX6" fmla="*/ 127000 w 241300"/>
                <a:gd name="connsiteY6" fmla="*/ 46566 h 537633"/>
                <a:gd name="connsiteX7" fmla="*/ 148167 w 241300"/>
                <a:gd name="connsiteY7" fmla="*/ 118533 h 537633"/>
                <a:gd name="connsiteX8" fmla="*/ 93134 w 241300"/>
                <a:gd name="connsiteY8" fmla="*/ 203200 h 537633"/>
                <a:gd name="connsiteX9" fmla="*/ 42334 w 241300"/>
                <a:gd name="connsiteY9" fmla="*/ 262466 h 537633"/>
                <a:gd name="connsiteX10" fmla="*/ 4234 w 241300"/>
                <a:gd name="connsiteY10" fmla="*/ 355600 h 537633"/>
                <a:gd name="connsiteX11" fmla="*/ 0 w 241300"/>
                <a:gd name="connsiteY11" fmla="*/ 385233 h 537633"/>
                <a:gd name="connsiteX12" fmla="*/ 46567 w 241300"/>
                <a:gd name="connsiteY12" fmla="*/ 537633 h 537633"/>
                <a:gd name="connsiteX13" fmla="*/ 186267 w 241300"/>
                <a:gd name="connsiteY13" fmla="*/ 279400 h 5376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41300" h="537633">
                  <a:moveTo>
                    <a:pt x="186267" y="279400"/>
                  </a:moveTo>
                  <a:lnTo>
                    <a:pt x="186267" y="165100"/>
                  </a:lnTo>
                  <a:lnTo>
                    <a:pt x="182034" y="131233"/>
                  </a:lnTo>
                  <a:lnTo>
                    <a:pt x="241300" y="71966"/>
                  </a:lnTo>
                  <a:lnTo>
                    <a:pt x="203200" y="8466"/>
                  </a:lnTo>
                  <a:lnTo>
                    <a:pt x="186267" y="0"/>
                  </a:lnTo>
                  <a:lnTo>
                    <a:pt x="127000" y="46566"/>
                  </a:lnTo>
                  <a:lnTo>
                    <a:pt x="148167" y="118533"/>
                  </a:lnTo>
                  <a:lnTo>
                    <a:pt x="93134" y="203200"/>
                  </a:lnTo>
                  <a:lnTo>
                    <a:pt x="42334" y="262466"/>
                  </a:lnTo>
                  <a:lnTo>
                    <a:pt x="4234" y="355600"/>
                  </a:lnTo>
                  <a:lnTo>
                    <a:pt x="0" y="385233"/>
                  </a:lnTo>
                  <a:lnTo>
                    <a:pt x="46567" y="537633"/>
                  </a:lnTo>
                  <a:lnTo>
                    <a:pt x="186267" y="27940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FB0036"/>
                </a:gs>
                <a:gs pos="100000">
                  <a:srgbClr val="D60015"/>
                </a:gs>
              </a:gsLst>
              <a:lin ang="2700000" scaled="1"/>
              <a:tileRect/>
            </a:gradFill>
            <a:ln w="9525" cap="flat" cmpd="sng" algn="ctr">
              <a:solidFill>
                <a:srgbClr val="C00000"/>
              </a:solidFill>
              <a:prstDash val="solid"/>
            </a:ln>
            <a:effectLst/>
          </p:spPr>
          <p:txBody>
            <a:bodyPr anchor="ctr"/>
            <a:lstStyle/>
            <a:p>
              <a:pPr indent="-342900" algn="ctr" fontAlgn="auto">
                <a:spcBef>
                  <a:spcPts val="0"/>
                </a:spcBef>
                <a:spcAft>
                  <a:spcPts val="0"/>
                </a:spcAft>
                <a:buFont typeface="+mj-lt"/>
                <a:buAutoNum type="arabicPeriod"/>
                <a:defRPr/>
              </a:pPr>
              <a:endParaRPr lang="da-DK" kern="0" noProof="1">
                <a:solidFill>
                  <a:sysClr val="window" lastClr="FFFFFF"/>
                </a:solidFill>
                <a:latin typeface="Calibri"/>
                <a:cs typeface="+mn-cs"/>
              </a:endParaRPr>
            </a:p>
          </p:txBody>
        </p:sp>
      </p:grpSp>
      <p:grpSp>
        <p:nvGrpSpPr>
          <p:cNvPr id="79" name="Gruppe 203"/>
          <p:cNvGrpSpPr>
            <a:grpSpLocks/>
          </p:cNvGrpSpPr>
          <p:nvPr/>
        </p:nvGrpSpPr>
        <p:grpSpPr bwMode="auto">
          <a:xfrm>
            <a:off x="5585401" y="1944517"/>
            <a:ext cx="531925" cy="708300"/>
            <a:chOff x="5947532" y="1849623"/>
            <a:chExt cx="602159" cy="802872"/>
          </a:xfrm>
        </p:grpSpPr>
        <p:grpSp>
          <p:nvGrpSpPr>
            <p:cNvPr id="80" name="Gruppe 65"/>
            <p:cNvGrpSpPr>
              <a:grpSpLocks/>
            </p:cNvGrpSpPr>
            <p:nvPr/>
          </p:nvGrpSpPr>
          <p:grpSpPr bwMode="auto">
            <a:xfrm flipH="1">
              <a:off x="5947526" y="1938476"/>
              <a:ext cx="293160" cy="707672"/>
              <a:chOff x="506456" y="1658064"/>
              <a:chExt cx="1625556" cy="3599525"/>
            </a:xfrm>
          </p:grpSpPr>
          <p:sp>
            <p:nvSpPr>
              <p:cNvPr id="92" name="Freeform 64"/>
              <p:cNvSpPr>
                <a:spLocks/>
              </p:cNvSpPr>
              <p:nvPr/>
            </p:nvSpPr>
            <p:spPr bwMode="auto">
              <a:xfrm>
                <a:off x="726109" y="1867911"/>
                <a:ext cx="386614" cy="815139"/>
              </a:xfrm>
              <a:custGeom>
                <a:avLst/>
                <a:gdLst>
                  <a:gd name="T0" fmla="*/ 209550 w 246"/>
                  <a:gd name="T1" fmla="*/ 508000 h 512"/>
                  <a:gd name="T2" fmla="*/ 234950 w 246"/>
                  <a:gd name="T3" fmla="*/ 508000 h 512"/>
                  <a:gd name="T4" fmla="*/ 304800 w 246"/>
                  <a:gd name="T5" fmla="*/ 812800 h 512"/>
                  <a:gd name="T6" fmla="*/ 292100 w 246"/>
                  <a:gd name="T7" fmla="*/ 485775 h 512"/>
                  <a:gd name="T8" fmla="*/ 314325 w 246"/>
                  <a:gd name="T9" fmla="*/ 473075 h 512"/>
                  <a:gd name="T10" fmla="*/ 330200 w 246"/>
                  <a:gd name="T11" fmla="*/ 466725 h 512"/>
                  <a:gd name="T12" fmla="*/ 346075 w 246"/>
                  <a:gd name="T13" fmla="*/ 457200 h 512"/>
                  <a:gd name="T14" fmla="*/ 358775 w 246"/>
                  <a:gd name="T15" fmla="*/ 447675 h 512"/>
                  <a:gd name="T16" fmla="*/ 371475 w 246"/>
                  <a:gd name="T17" fmla="*/ 434975 h 512"/>
                  <a:gd name="T18" fmla="*/ 377825 w 246"/>
                  <a:gd name="T19" fmla="*/ 419100 h 512"/>
                  <a:gd name="T20" fmla="*/ 384175 w 246"/>
                  <a:gd name="T21" fmla="*/ 406400 h 512"/>
                  <a:gd name="T22" fmla="*/ 387350 w 246"/>
                  <a:gd name="T23" fmla="*/ 390525 h 512"/>
                  <a:gd name="T24" fmla="*/ 390525 w 246"/>
                  <a:gd name="T25" fmla="*/ 384175 h 512"/>
                  <a:gd name="T26" fmla="*/ 368300 w 246"/>
                  <a:gd name="T27" fmla="*/ 336550 h 512"/>
                  <a:gd name="T28" fmla="*/ 368300 w 246"/>
                  <a:gd name="T29" fmla="*/ 285750 h 512"/>
                  <a:gd name="T30" fmla="*/ 361950 w 246"/>
                  <a:gd name="T31" fmla="*/ 244475 h 512"/>
                  <a:gd name="T32" fmla="*/ 371475 w 246"/>
                  <a:gd name="T33" fmla="*/ 219075 h 512"/>
                  <a:gd name="T34" fmla="*/ 374650 w 246"/>
                  <a:gd name="T35" fmla="*/ 200025 h 512"/>
                  <a:gd name="T36" fmla="*/ 368300 w 246"/>
                  <a:gd name="T37" fmla="*/ 174625 h 512"/>
                  <a:gd name="T38" fmla="*/ 361950 w 246"/>
                  <a:gd name="T39" fmla="*/ 155575 h 512"/>
                  <a:gd name="T40" fmla="*/ 349250 w 246"/>
                  <a:gd name="T41" fmla="*/ 142875 h 512"/>
                  <a:gd name="T42" fmla="*/ 346075 w 246"/>
                  <a:gd name="T43" fmla="*/ 149225 h 512"/>
                  <a:gd name="T44" fmla="*/ 342900 w 246"/>
                  <a:gd name="T45" fmla="*/ 155575 h 512"/>
                  <a:gd name="T46" fmla="*/ 320675 w 246"/>
                  <a:gd name="T47" fmla="*/ 88900 h 512"/>
                  <a:gd name="T48" fmla="*/ 304800 w 246"/>
                  <a:gd name="T49" fmla="*/ 60325 h 512"/>
                  <a:gd name="T50" fmla="*/ 288925 w 246"/>
                  <a:gd name="T51" fmla="*/ 31750 h 512"/>
                  <a:gd name="T52" fmla="*/ 234950 w 246"/>
                  <a:gd name="T53" fmla="*/ 9525 h 512"/>
                  <a:gd name="T54" fmla="*/ 209550 w 246"/>
                  <a:gd name="T55" fmla="*/ 3175 h 512"/>
                  <a:gd name="T56" fmla="*/ 180975 w 246"/>
                  <a:gd name="T57" fmla="*/ 3175 h 512"/>
                  <a:gd name="T58" fmla="*/ 152400 w 246"/>
                  <a:gd name="T59" fmla="*/ 0 h 512"/>
                  <a:gd name="T60" fmla="*/ 127000 w 246"/>
                  <a:gd name="T61" fmla="*/ 6350 h 512"/>
                  <a:gd name="T62" fmla="*/ 69850 w 246"/>
                  <a:gd name="T63" fmla="*/ 25400 h 512"/>
                  <a:gd name="T64" fmla="*/ 44450 w 246"/>
                  <a:gd name="T65" fmla="*/ 53975 h 512"/>
                  <a:gd name="T66" fmla="*/ 31750 w 246"/>
                  <a:gd name="T67" fmla="*/ 66675 h 512"/>
                  <a:gd name="T68" fmla="*/ 22225 w 246"/>
                  <a:gd name="T69" fmla="*/ 82550 h 512"/>
                  <a:gd name="T70" fmla="*/ 9525 w 246"/>
                  <a:gd name="T71" fmla="*/ 114300 h 512"/>
                  <a:gd name="T72" fmla="*/ 0 w 246"/>
                  <a:gd name="T73" fmla="*/ 142875 h 512"/>
                  <a:gd name="T74" fmla="*/ 34925 w 246"/>
                  <a:gd name="T75" fmla="*/ 257175 h 512"/>
                  <a:gd name="T76" fmla="*/ 31750 w 246"/>
                  <a:gd name="T77" fmla="*/ 250825 h 512"/>
                  <a:gd name="T78" fmla="*/ 28575 w 246"/>
                  <a:gd name="T79" fmla="*/ 250825 h 512"/>
                  <a:gd name="T80" fmla="*/ 28575 w 246"/>
                  <a:gd name="T81" fmla="*/ 254000 h 512"/>
                  <a:gd name="T82" fmla="*/ 25400 w 246"/>
                  <a:gd name="T83" fmla="*/ 260350 h 512"/>
                  <a:gd name="T84" fmla="*/ 28575 w 246"/>
                  <a:gd name="T85" fmla="*/ 269875 h 512"/>
                  <a:gd name="T86" fmla="*/ 34925 w 246"/>
                  <a:gd name="T87" fmla="*/ 282575 h 512"/>
                  <a:gd name="T88" fmla="*/ 44450 w 246"/>
                  <a:gd name="T89" fmla="*/ 301625 h 512"/>
                  <a:gd name="T90" fmla="*/ 57150 w 246"/>
                  <a:gd name="T91" fmla="*/ 323850 h 512"/>
                  <a:gd name="T92" fmla="*/ 82550 w 246"/>
                  <a:gd name="T93" fmla="*/ 361950 h 512"/>
                  <a:gd name="T94" fmla="*/ 107950 w 246"/>
                  <a:gd name="T95" fmla="*/ 400050 h 512"/>
                  <a:gd name="T96" fmla="*/ 136525 w 246"/>
                  <a:gd name="T97" fmla="*/ 431800 h 512"/>
                  <a:gd name="T98" fmla="*/ 161925 w 246"/>
                  <a:gd name="T99" fmla="*/ 457200 h 512"/>
                  <a:gd name="T100" fmla="*/ 187325 w 246"/>
                  <a:gd name="T101" fmla="*/ 482600 h 512"/>
                  <a:gd name="T102" fmla="*/ 209550 w 246"/>
                  <a:gd name="T103" fmla="*/ 495300 h 512"/>
                  <a:gd name="T104" fmla="*/ 209550 w 246"/>
                  <a:gd name="T105" fmla="*/ 508000 h 512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w 246"/>
                  <a:gd name="T160" fmla="*/ 0 h 512"/>
                  <a:gd name="T161" fmla="*/ 246 w 246"/>
                  <a:gd name="T162" fmla="*/ 512 h 512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T159" t="T160" r="T161" b="T162"/>
                <a:pathLst>
                  <a:path w="246" h="512">
                    <a:moveTo>
                      <a:pt x="132" y="320"/>
                    </a:moveTo>
                    <a:lnTo>
                      <a:pt x="148" y="320"/>
                    </a:lnTo>
                    <a:lnTo>
                      <a:pt x="192" y="512"/>
                    </a:lnTo>
                    <a:lnTo>
                      <a:pt x="184" y="306"/>
                    </a:lnTo>
                    <a:lnTo>
                      <a:pt x="198" y="298"/>
                    </a:lnTo>
                    <a:lnTo>
                      <a:pt x="208" y="294"/>
                    </a:lnTo>
                    <a:lnTo>
                      <a:pt x="218" y="288"/>
                    </a:lnTo>
                    <a:lnTo>
                      <a:pt x="226" y="282"/>
                    </a:lnTo>
                    <a:lnTo>
                      <a:pt x="234" y="274"/>
                    </a:lnTo>
                    <a:lnTo>
                      <a:pt x="238" y="264"/>
                    </a:lnTo>
                    <a:lnTo>
                      <a:pt x="242" y="256"/>
                    </a:lnTo>
                    <a:lnTo>
                      <a:pt x="244" y="246"/>
                    </a:lnTo>
                    <a:lnTo>
                      <a:pt x="246" y="242"/>
                    </a:lnTo>
                    <a:lnTo>
                      <a:pt x="232" y="212"/>
                    </a:lnTo>
                    <a:lnTo>
                      <a:pt x="232" y="180"/>
                    </a:lnTo>
                    <a:lnTo>
                      <a:pt x="228" y="154"/>
                    </a:lnTo>
                    <a:lnTo>
                      <a:pt x="234" y="138"/>
                    </a:lnTo>
                    <a:lnTo>
                      <a:pt x="236" y="126"/>
                    </a:lnTo>
                    <a:lnTo>
                      <a:pt x="232" y="110"/>
                    </a:lnTo>
                    <a:lnTo>
                      <a:pt x="228" y="98"/>
                    </a:lnTo>
                    <a:lnTo>
                      <a:pt x="220" y="90"/>
                    </a:lnTo>
                    <a:lnTo>
                      <a:pt x="218" y="94"/>
                    </a:lnTo>
                    <a:lnTo>
                      <a:pt x="216" y="98"/>
                    </a:lnTo>
                    <a:lnTo>
                      <a:pt x="202" y="56"/>
                    </a:lnTo>
                    <a:lnTo>
                      <a:pt x="192" y="38"/>
                    </a:lnTo>
                    <a:lnTo>
                      <a:pt x="182" y="20"/>
                    </a:lnTo>
                    <a:lnTo>
                      <a:pt x="148" y="6"/>
                    </a:lnTo>
                    <a:lnTo>
                      <a:pt x="132" y="2"/>
                    </a:lnTo>
                    <a:lnTo>
                      <a:pt x="114" y="2"/>
                    </a:lnTo>
                    <a:lnTo>
                      <a:pt x="96" y="0"/>
                    </a:lnTo>
                    <a:lnTo>
                      <a:pt x="80" y="4"/>
                    </a:lnTo>
                    <a:lnTo>
                      <a:pt x="44" y="16"/>
                    </a:lnTo>
                    <a:lnTo>
                      <a:pt x="28" y="34"/>
                    </a:lnTo>
                    <a:lnTo>
                      <a:pt x="20" y="42"/>
                    </a:lnTo>
                    <a:lnTo>
                      <a:pt x="14" y="52"/>
                    </a:lnTo>
                    <a:lnTo>
                      <a:pt x="6" y="72"/>
                    </a:lnTo>
                    <a:lnTo>
                      <a:pt x="0" y="90"/>
                    </a:lnTo>
                    <a:lnTo>
                      <a:pt x="22" y="162"/>
                    </a:lnTo>
                    <a:lnTo>
                      <a:pt x="20" y="158"/>
                    </a:lnTo>
                    <a:lnTo>
                      <a:pt x="18" y="158"/>
                    </a:lnTo>
                    <a:lnTo>
                      <a:pt x="18" y="160"/>
                    </a:lnTo>
                    <a:lnTo>
                      <a:pt x="16" y="164"/>
                    </a:lnTo>
                    <a:lnTo>
                      <a:pt x="18" y="170"/>
                    </a:lnTo>
                    <a:lnTo>
                      <a:pt x="22" y="178"/>
                    </a:lnTo>
                    <a:lnTo>
                      <a:pt x="28" y="190"/>
                    </a:lnTo>
                    <a:lnTo>
                      <a:pt x="36" y="204"/>
                    </a:lnTo>
                    <a:lnTo>
                      <a:pt x="52" y="228"/>
                    </a:lnTo>
                    <a:lnTo>
                      <a:pt x="68" y="252"/>
                    </a:lnTo>
                    <a:lnTo>
                      <a:pt x="86" y="272"/>
                    </a:lnTo>
                    <a:lnTo>
                      <a:pt x="102" y="288"/>
                    </a:lnTo>
                    <a:lnTo>
                      <a:pt x="118" y="304"/>
                    </a:lnTo>
                    <a:lnTo>
                      <a:pt x="132" y="312"/>
                    </a:lnTo>
                    <a:lnTo>
                      <a:pt x="132" y="320"/>
                    </a:lnTo>
                    <a:close/>
                  </a:path>
                </a:pathLst>
              </a:custGeom>
              <a:solidFill>
                <a:srgbClr val="01010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>
                  <a:solidFill>
                    <a:sysClr val="windowText" lastClr="000000"/>
                  </a:solidFill>
                  <a:latin typeface="+mn-lt"/>
                  <a:cs typeface="+mn-cs"/>
                </a:endParaRPr>
              </a:p>
            </p:txBody>
          </p:sp>
          <p:sp>
            <p:nvSpPr>
              <p:cNvPr id="93" name="Freeform 65"/>
              <p:cNvSpPr>
                <a:spLocks/>
              </p:cNvSpPr>
              <p:nvPr/>
            </p:nvSpPr>
            <p:spPr bwMode="auto">
              <a:xfrm>
                <a:off x="1147870" y="2166528"/>
                <a:ext cx="307531" cy="1016903"/>
              </a:xfrm>
              <a:custGeom>
                <a:avLst/>
                <a:gdLst>
                  <a:gd name="T0" fmla="*/ 3175 w 198"/>
                  <a:gd name="T1" fmla="*/ 107950 h 642"/>
                  <a:gd name="T2" fmla="*/ 0 w 198"/>
                  <a:gd name="T3" fmla="*/ 133350 h 642"/>
                  <a:gd name="T4" fmla="*/ 12700 w 198"/>
                  <a:gd name="T5" fmla="*/ 161925 h 642"/>
                  <a:gd name="T6" fmla="*/ 50800 w 198"/>
                  <a:gd name="T7" fmla="*/ 200025 h 642"/>
                  <a:gd name="T8" fmla="*/ 117475 w 198"/>
                  <a:gd name="T9" fmla="*/ 260350 h 642"/>
                  <a:gd name="T10" fmla="*/ 165100 w 198"/>
                  <a:gd name="T11" fmla="*/ 304800 h 642"/>
                  <a:gd name="T12" fmla="*/ 190500 w 198"/>
                  <a:gd name="T13" fmla="*/ 333375 h 642"/>
                  <a:gd name="T14" fmla="*/ 180975 w 198"/>
                  <a:gd name="T15" fmla="*/ 349250 h 642"/>
                  <a:gd name="T16" fmla="*/ 168275 w 198"/>
                  <a:gd name="T17" fmla="*/ 365125 h 642"/>
                  <a:gd name="T18" fmla="*/ 142875 w 198"/>
                  <a:gd name="T19" fmla="*/ 371475 h 642"/>
                  <a:gd name="T20" fmla="*/ 107950 w 198"/>
                  <a:gd name="T21" fmla="*/ 384175 h 642"/>
                  <a:gd name="T22" fmla="*/ 133350 w 198"/>
                  <a:gd name="T23" fmla="*/ 409575 h 642"/>
                  <a:gd name="T24" fmla="*/ 165100 w 198"/>
                  <a:gd name="T25" fmla="*/ 438150 h 642"/>
                  <a:gd name="T26" fmla="*/ 177800 w 198"/>
                  <a:gd name="T27" fmla="*/ 450850 h 642"/>
                  <a:gd name="T28" fmla="*/ 193675 w 198"/>
                  <a:gd name="T29" fmla="*/ 463550 h 642"/>
                  <a:gd name="T30" fmla="*/ 196850 w 198"/>
                  <a:gd name="T31" fmla="*/ 476250 h 642"/>
                  <a:gd name="T32" fmla="*/ 196850 w 198"/>
                  <a:gd name="T33" fmla="*/ 492125 h 642"/>
                  <a:gd name="T34" fmla="*/ 193675 w 198"/>
                  <a:gd name="T35" fmla="*/ 536575 h 642"/>
                  <a:gd name="T36" fmla="*/ 187325 w 198"/>
                  <a:gd name="T37" fmla="*/ 609600 h 642"/>
                  <a:gd name="T38" fmla="*/ 177800 w 198"/>
                  <a:gd name="T39" fmla="*/ 708025 h 642"/>
                  <a:gd name="T40" fmla="*/ 155575 w 198"/>
                  <a:gd name="T41" fmla="*/ 844550 h 642"/>
                  <a:gd name="T42" fmla="*/ 196850 w 198"/>
                  <a:gd name="T43" fmla="*/ 965200 h 642"/>
                  <a:gd name="T44" fmla="*/ 222250 w 198"/>
                  <a:gd name="T45" fmla="*/ 1006475 h 642"/>
                  <a:gd name="T46" fmla="*/ 215900 w 198"/>
                  <a:gd name="T47" fmla="*/ 977900 h 642"/>
                  <a:gd name="T48" fmla="*/ 209550 w 198"/>
                  <a:gd name="T49" fmla="*/ 917575 h 642"/>
                  <a:gd name="T50" fmla="*/ 206375 w 198"/>
                  <a:gd name="T51" fmla="*/ 809625 h 642"/>
                  <a:gd name="T52" fmla="*/ 206375 w 198"/>
                  <a:gd name="T53" fmla="*/ 746125 h 642"/>
                  <a:gd name="T54" fmla="*/ 206375 w 198"/>
                  <a:gd name="T55" fmla="*/ 708025 h 642"/>
                  <a:gd name="T56" fmla="*/ 206375 w 198"/>
                  <a:gd name="T57" fmla="*/ 587375 h 642"/>
                  <a:gd name="T58" fmla="*/ 215900 w 198"/>
                  <a:gd name="T59" fmla="*/ 419100 h 642"/>
                  <a:gd name="T60" fmla="*/ 228600 w 198"/>
                  <a:gd name="T61" fmla="*/ 307975 h 642"/>
                  <a:gd name="T62" fmla="*/ 238125 w 198"/>
                  <a:gd name="T63" fmla="*/ 206375 h 642"/>
                  <a:gd name="T64" fmla="*/ 247650 w 198"/>
                  <a:gd name="T65" fmla="*/ 149225 h 642"/>
                  <a:gd name="T66" fmla="*/ 257175 w 198"/>
                  <a:gd name="T67" fmla="*/ 92075 h 642"/>
                  <a:gd name="T68" fmla="*/ 292100 w 198"/>
                  <a:gd name="T69" fmla="*/ 15875 h 642"/>
                  <a:gd name="T70" fmla="*/ 25400 w 198"/>
                  <a:gd name="T71" fmla="*/ 88900 h 642"/>
                  <a:gd name="T72" fmla="*/ 12700 w 198"/>
                  <a:gd name="T73" fmla="*/ 92075 h 642"/>
                  <a:gd name="T74" fmla="*/ 3175 w 198"/>
                  <a:gd name="T75" fmla="*/ 104775 h 642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198"/>
                  <a:gd name="T115" fmla="*/ 0 h 642"/>
                  <a:gd name="T116" fmla="*/ 198 w 198"/>
                  <a:gd name="T117" fmla="*/ 642 h 642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198" h="642">
                    <a:moveTo>
                      <a:pt x="2" y="66"/>
                    </a:moveTo>
                    <a:lnTo>
                      <a:pt x="2" y="68"/>
                    </a:lnTo>
                    <a:lnTo>
                      <a:pt x="2" y="74"/>
                    </a:lnTo>
                    <a:lnTo>
                      <a:pt x="0" y="84"/>
                    </a:lnTo>
                    <a:lnTo>
                      <a:pt x="0" y="92"/>
                    </a:lnTo>
                    <a:lnTo>
                      <a:pt x="8" y="102"/>
                    </a:lnTo>
                    <a:lnTo>
                      <a:pt x="18" y="112"/>
                    </a:lnTo>
                    <a:lnTo>
                      <a:pt x="32" y="126"/>
                    </a:lnTo>
                    <a:lnTo>
                      <a:pt x="48" y="142"/>
                    </a:lnTo>
                    <a:lnTo>
                      <a:pt x="74" y="164"/>
                    </a:lnTo>
                    <a:lnTo>
                      <a:pt x="96" y="184"/>
                    </a:lnTo>
                    <a:lnTo>
                      <a:pt x="104" y="192"/>
                    </a:lnTo>
                    <a:lnTo>
                      <a:pt x="112" y="202"/>
                    </a:lnTo>
                    <a:lnTo>
                      <a:pt x="120" y="210"/>
                    </a:lnTo>
                    <a:lnTo>
                      <a:pt x="124" y="220"/>
                    </a:lnTo>
                    <a:lnTo>
                      <a:pt x="114" y="220"/>
                    </a:lnTo>
                    <a:lnTo>
                      <a:pt x="100" y="226"/>
                    </a:lnTo>
                    <a:lnTo>
                      <a:pt x="106" y="230"/>
                    </a:lnTo>
                    <a:lnTo>
                      <a:pt x="98" y="230"/>
                    </a:lnTo>
                    <a:lnTo>
                      <a:pt x="90" y="234"/>
                    </a:lnTo>
                    <a:lnTo>
                      <a:pt x="80" y="236"/>
                    </a:lnTo>
                    <a:lnTo>
                      <a:pt x="68" y="242"/>
                    </a:lnTo>
                    <a:lnTo>
                      <a:pt x="68" y="248"/>
                    </a:lnTo>
                    <a:lnTo>
                      <a:pt x="84" y="258"/>
                    </a:lnTo>
                    <a:lnTo>
                      <a:pt x="96" y="270"/>
                    </a:lnTo>
                    <a:lnTo>
                      <a:pt x="104" y="276"/>
                    </a:lnTo>
                    <a:lnTo>
                      <a:pt x="108" y="280"/>
                    </a:lnTo>
                    <a:lnTo>
                      <a:pt x="112" y="284"/>
                    </a:lnTo>
                    <a:lnTo>
                      <a:pt x="118" y="288"/>
                    </a:lnTo>
                    <a:lnTo>
                      <a:pt x="122" y="292"/>
                    </a:lnTo>
                    <a:lnTo>
                      <a:pt x="124" y="296"/>
                    </a:lnTo>
                    <a:lnTo>
                      <a:pt x="124" y="300"/>
                    </a:lnTo>
                    <a:lnTo>
                      <a:pt x="124" y="302"/>
                    </a:lnTo>
                    <a:lnTo>
                      <a:pt x="124" y="310"/>
                    </a:lnTo>
                    <a:lnTo>
                      <a:pt x="124" y="320"/>
                    </a:lnTo>
                    <a:lnTo>
                      <a:pt x="122" y="338"/>
                    </a:lnTo>
                    <a:lnTo>
                      <a:pt x="120" y="358"/>
                    </a:lnTo>
                    <a:lnTo>
                      <a:pt x="118" y="384"/>
                    </a:lnTo>
                    <a:lnTo>
                      <a:pt x="116" y="412"/>
                    </a:lnTo>
                    <a:lnTo>
                      <a:pt x="112" y="446"/>
                    </a:lnTo>
                    <a:lnTo>
                      <a:pt x="106" y="486"/>
                    </a:lnTo>
                    <a:lnTo>
                      <a:pt x="98" y="532"/>
                    </a:lnTo>
                    <a:lnTo>
                      <a:pt x="96" y="544"/>
                    </a:lnTo>
                    <a:lnTo>
                      <a:pt x="124" y="608"/>
                    </a:lnTo>
                    <a:lnTo>
                      <a:pt x="142" y="642"/>
                    </a:lnTo>
                    <a:lnTo>
                      <a:pt x="140" y="634"/>
                    </a:lnTo>
                    <a:lnTo>
                      <a:pt x="138" y="626"/>
                    </a:lnTo>
                    <a:lnTo>
                      <a:pt x="136" y="616"/>
                    </a:lnTo>
                    <a:lnTo>
                      <a:pt x="134" y="606"/>
                    </a:lnTo>
                    <a:lnTo>
                      <a:pt x="132" y="578"/>
                    </a:lnTo>
                    <a:lnTo>
                      <a:pt x="130" y="548"/>
                    </a:lnTo>
                    <a:lnTo>
                      <a:pt x="130" y="510"/>
                    </a:lnTo>
                    <a:lnTo>
                      <a:pt x="130" y="490"/>
                    </a:lnTo>
                    <a:lnTo>
                      <a:pt x="130" y="470"/>
                    </a:lnTo>
                    <a:lnTo>
                      <a:pt x="130" y="456"/>
                    </a:lnTo>
                    <a:lnTo>
                      <a:pt x="130" y="446"/>
                    </a:lnTo>
                    <a:lnTo>
                      <a:pt x="130" y="422"/>
                    </a:lnTo>
                    <a:lnTo>
                      <a:pt x="130" y="370"/>
                    </a:lnTo>
                    <a:lnTo>
                      <a:pt x="134" y="314"/>
                    </a:lnTo>
                    <a:lnTo>
                      <a:pt x="136" y="264"/>
                    </a:lnTo>
                    <a:lnTo>
                      <a:pt x="142" y="216"/>
                    </a:lnTo>
                    <a:lnTo>
                      <a:pt x="144" y="194"/>
                    </a:lnTo>
                    <a:lnTo>
                      <a:pt x="144" y="172"/>
                    </a:lnTo>
                    <a:lnTo>
                      <a:pt x="150" y="130"/>
                    </a:lnTo>
                    <a:lnTo>
                      <a:pt x="154" y="110"/>
                    </a:lnTo>
                    <a:lnTo>
                      <a:pt x="156" y="94"/>
                    </a:lnTo>
                    <a:lnTo>
                      <a:pt x="160" y="74"/>
                    </a:lnTo>
                    <a:lnTo>
                      <a:pt x="162" y="58"/>
                    </a:lnTo>
                    <a:lnTo>
                      <a:pt x="168" y="28"/>
                    </a:lnTo>
                    <a:lnTo>
                      <a:pt x="184" y="10"/>
                    </a:lnTo>
                    <a:lnTo>
                      <a:pt x="198" y="0"/>
                    </a:lnTo>
                    <a:lnTo>
                      <a:pt x="16" y="56"/>
                    </a:lnTo>
                    <a:lnTo>
                      <a:pt x="12" y="56"/>
                    </a:lnTo>
                    <a:lnTo>
                      <a:pt x="8" y="58"/>
                    </a:lnTo>
                    <a:lnTo>
                      <a:pt x="6" y="60"/>
                    </a:lnTo>
                    <a:lnTo>
                      <a:pt x="2" y="66"/>
                    </a:lnTo>
                    <a:close/>
                  </a:path>
                </a:pathLst>
              </a:custGeom>
              <a:solidFill>
                <a:srgbClr val="01010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>
                  <a:solidFill>
                    <a:sysClr val="windowText" lastClr="000000"/>
                  </a:solidFill>
                  <a:latin typeface="+mn-lt"/>
                  <a:cs typeface="+mn-cs"/>
                </a:endParaRPr>
              </a:p>
            </p:txBody>
          </p:sp>
          <p:sp>
            <p:nvSpPr>
              <p:cNvPr id="94" name="Freeform 66"/>
              <p:cNvSpPr>
                <a:spLocks/>
              </p:cNvSpPr>
              <p:nvPr/>
            </p:nvSpPr>
            <p:spPr bwMode="auto">
              <a:xfrm>
                <a:off x="805187" y="2255303"/>
                <a:ext cx="509628" cy="1097610"/>
              </a:xfrm>
              <a:custGeom>
                <a:avLst/>
                <a:gdLst>
                  <a:gd name="T0" fmla="*/ 44450 w 322"/>
                  <a:gd name="T1" fmla="*/ 346075 h 692"/>
                  <a:gd name="T2" fmla="*/ 0 w 322"/>
                  <a:gd name="T3" fmla="*/ 762000 h 692"/>
                  <a:gd name="T4" fmla="*/ 9525 w 322"/>
                  <a:gd name="T5" fmla="*/ 1022350 h 692"/>
                  <a:gd name="T6" fmla="*/ 82550 w 322"/>
                  <a:gd name="T7" fmla="*/ 1054100 h 692"/>
                  <a:gd name="T8" fmla="*/ 120650 w 322"/>
                  <a:gd name="T9" fmla="*/ 1066800 h 692"/>
                  <a:gd name="T10" fmla="*/ 200025 w 322"/>
                  <a:gd name="T11" fmla="*/ 1085850 h 692"/>
                  <a:gd name="T12" fmla="*/ 228600 w 322"/>
                  <a:gd name="T13" fmla="*/ 1089025 h 692"/>
                  <a:gd name="T14" fmla="*/ 241300 w 322"/>
                  <a:gd name="T15" fmla="*/ 1082675 h 692"/>
                  <a:gd name="T16" fmla="*/ 244475 w 322"/>
                  <a:gd name="T17" fmla="*/ 1012825 h 692"/>
                  <a:gd name="T18" fmla="*/ 247650 w 322"/>
                  <a:gd name="T19" fmla="*/ 955675 h 692"/>
                  <a:gd name="T20" fmla="*/ 250825 w 322"/>
                  <a:gd name="T21" fmla="*/ 911225 h 692"/>
                  <a:gd name="T22" fmla="*/ 250825 w 322"/>
                  <a:gd name="T23" fmla="*/ 876300 h 692"/>
                  <a:gd name="T24" fmla="*/ 257175 w 322"/>
                  <a:gd name="T25" fmla="*/ 876300 h 692"/>
                  <a:gd name="T26" fmla="*/ 260350 w 322"/>
                  <a:gd name="T27" fmla="*/ 904875 h 692"/>
                  <a:gd name="T28" fmla="*/ 266700 w 322"/>
                  <a:gd name="T29" fmla="*/ 949325 h 692"/>
                  <a:gd name="T30" fmla="*/ 288925 w 322"/>
                  <a:gd name="T31" fmla="*/ 1038225 h 692"/>
                  <a:gd name="T32" fmla="*/ 298450 w 322"/>
                  <a:gd name="T33" fmla="*/ 1098550 h 692"/>
                  <a:gd name="T34" fmla="*/ 384175 w 322"/>
                  <a:gd name="T35" fmla="*/ 1098550 h 692"/>
                  <a:gd name="T36" fmla="*/ 444500 w 322"/>
                  <a:gd name="T37" fmla="*/ 1066800 h 692"/>
                  <a:gd name="T38" fmla="*/ 454025 w 322"/>
                  <a:gd name="T39" fmla="*/ 1025525 h 692"/>
                  <a:gd name="T40" fmla="*/ 454025 w 322"/>
                  <a:gd name="T41" fmla="*/ 1006475 h 692"/>
                  <a:gd name="T42" fmla="*/ 450850 w 322"/>
                  <a:gd name="T43" fmla="*/ 977900 h 692"/>
                  <a:gd name="T44" fmla="*/ 450850 w 322"/>
                  <a:gd name="T45" fmla="*/ 977900 h 692"/>
                  <a:gd name="T46" fmla="*/ 479425 w 322"/>
                  <a:gd name="T47" fmla="*/ 996950 h 692"/>
                  <a:gd name="T48" fmla="*/ 508000 w 322"/>
                  <a:gd name="T49" fmla="*/ 1012825 h 692"/>
                  <a:gd name="T50" fmla="*/ 495300 w 322"/>
                  <a:gd name="T51" fmla="*/ 993775 h 692"/>
                  <a:gd name="T52" fmla="*/ 485775 w 322"/>
                  <a:gd name="T53" fmla="*/ 968375 h 692"/>
                  <a:gd name="T54" fmla="*/ 473075 w 322"/>
                  <a:gd name="T55" fmla="*/ 933450 h 692"/>
                  <a:gd name="T56" fmla="*/ 457200 w 322"/>
                  <a:gd name="T57" fmla="*/ 889000 h 692"/>
                  <a:gd name="T58" fmla="*/ 444500 w 322"/>
                  <a:gd name="T59" fmla="*/ 857250 h 692"/>
                  <a:gd name="T60" fmla="*/ 431800 w 322"/>
                  <a:gd name="T61" fmla="*/ 790575 h 692"/>
                  <a:gd name="T62" fmla="*/ 431800 w 322"/>
                  <a:gd name="T63" fmla="*/ 781050 h 692"/>
                  <a:gd name="T64" fmla="*/ 425450 w 322"/>
                  <a:gd name="T65" fmla="*/ 768350 h 692"/>
                  <a:gd name="T66" fmla="*/ 412750 w 322"/>
                  <a:gd name="T67" fmla="*/ 698500 h 692"/>
                  <a:gd name="T68" fmla="*/ 396875 w 322"/>
                  <a:gd name="T69" fmla="*/ 625475 h 692"/>
                  <a:gd name="T70" fmla="*/ 384175 w 322"/>
                  <a:gd name="T71" fmla="*/ 520700 h 692"/>
                  <a:gd name="T72" fmla="*/ 381000 w 322"/>
                  <a:gd name="T73" fmla="*/ 460375 h 692"/>
                  <a:gd name="T74" fmla="*/ 374650 w 322"/>
                  <a:gd name="T75" fmla="*/ 400050 h 692"/>
                  <a:gd name="T76" fmla="*/ 374650 w 322"/>
                  <a:gd name="T77" fmla="*/ 390525 h 692"/>
                  <a:gd name="T78" fmla="*/ 355600 w 322"/>
                  <a:gd name="T79" fmla="*/ 282575 h 692"/>
                  <a:gd name="T80" fmla="*/ 346075 w 322"/>
                  <a:gd name="T81" fmla="*/ 193675 h 692"/>
                  <a:gd name="T82" fmla="*/ 339725 w 322"/>
                  <a:gd name="T83" fmla="*/ 136525 h 692"/>
                  <a:gd name="T84" fmla="*/ 336550 w 322"/>
                  <a:gd name="T85" fmla="*/ 111125 h 692"/>
                  <a:gd name="T86" fmla="*/ 336550 w 322"/>
                  <a:gd name="T87" fmla="*/ 57150 h 692"/>
                  <a:gd name="T88" fmla="*/ 339725 w 322"/>
                  <a:gd name="T89" fmla="*/ 28575 h 692"/>
                  <a:gd name="T90" fmla="*/ 339725 w 322"/>
                  <a:gd name="T91" fmla="*/ 15875 h 692"/>
                  <a:gd name="T92" fmla="*/ 349250 w 322"/>
                  <a:gd name="T93" fmla="*/ 3175 h 692"/>
                  <a:gd name="T94" fmla="*/ 311150 w 322"/>
                  <a:gd name="T95" fmla="*/ 9525 h 692"/>
                  <a:gd name="T96" fmla="*/ 301625 w 322"/>
                  <a:gd name="T97" fmla="*/ 22225 h 692"/>
                  <a:gd name="T98" fmla="*/ 288925 w 322"/>
                  <a:gd name="T99" fmla="*/ 50800 h 692"/>
                  <a:gd name="T100" fmla="*/ 263525 w 322"/>
                  <a:gd name="T101" fmla="*/ 73025 h 692"/>
                  <a:gd name="T102" fmla="*/ 231775 w 322"/>
                  <a:gd name="T103" fmla="*/ 88900 h 692"/>
                  <a:gd name="T104" fmla="*/ 222250 w 322"/>
                  <a:gd name="T105" fmla="*/ 428625 h 692"/>
                  <a:gd name="T106" fmla="*/ 127000 w 322"/>
                  <a:gd name="T107" fmla="*/ 123825 h 692"/>
                  <a:gd name="T108" fmla="*/ 104775 w 322"/>
                  <a:gd name="T109" fmla="*/ 98425 h 692"/>
                  <a:gd name="T110" fmla="*/ 88900 w 322"/>
                  <a:gd name="T111" fmla="*/ 127000 h 692"/>
                  <a:gd name="T112" fmla="*/ 101600 w 322"/>
                  <a:gd name="T113" fmla="*/ 155575 h 692"/>
                  <a:gd name="T114" fmla="*/ 114300 w 322"/>
                  <a:gd name="T115" fmla="*/ 206375 h 692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w 322"/>
                  <a:gd name="T175" fmla="*/ 0 h 692"/>
                  <a:gd name="T176" fmla="*/ 322 w 322"/>
                  <a:gd name="T177" fmla="*/ 692 h 692"/>
                </a:gdLst>
                <a:ahLst/>
                <a:cxnLst>
                  <a:cxn ang="T116">
                    <a:pos x="T0" y="T1"/>
                  </a:cxn>
                  <a:cxn ang="T117">
                    <a:pos x="T2" y="T3"/>
                  </a:cxn>
                  <a:cxn ang="T118">
                    <a:pos x="T4" y="T5"/>
                  </a:cxn>
                  <a:cxn ang="T119">
                    <a:pos x="T6" y="T7"/>
                  </a:cxn>
                  <a:cxn ang="T120">
                    <a:pos x="T8" y="T9"/>
                  </a:cxn>
                  <a:cxn ang="T121">
                    <a:pos x="T10" y="T11"/>
                  </a:cxn>
                  <a:cxn ang="T122">
                    <a:pos x="T12" y="T13"/>
                  </a:cxn>
                  <a:cxn ang="T123">
                    <a:pos x="T14" y="T15"/>
                  </a:cxn>
                  <a:cxn ang="T124">
                    <a:pos x="T16" y="T17"/>
                  </a:cxn>
                  <a:cxn ang="T125">
                    <a:pos x="T18" y="T19"/>
                  </a:cxn>
                  <a:cxn ang="T126">
                    <a:pos x="T20" y="T21"/>
                  </a:cxn>
                  <a:cxn ang="T127">
                    <a:pos x="T22" y="T23"/>
                  </a:cxn>
                  <a:cxn ang="T128">
                    <a:pos x="T24" y="T25"/>
                  </a:cxn>
                  <a:cxn ang="T129">
                    <a:pos x="T26" y="T27"/>
                  </a:cxn>
                  <a:cxn ang="T130">
                    <a:pos x="T28" y="T29"/>
                  </a:cxn>
                  <a:cxn ang="T131">
                    <a:pos x="T30" y="T31"/>
                  </a:cxn>
                  <a:cxn ang="T132">
                    <a:pos x="T32" y="T33"/>
                  </a:cxn>
                  <a:cxn ang="T133">
                    <a:pos x="T34" y="T35"/>
                  </a:cxn>
                  <a:cxn ang="T134">
                    <a:pos x="T36" y="T37"/>
                  </a:cxn>
                  <a:cxn ang="T135">
                    <a:pos x="T38" y="T39"/>
                  </a:cxn>
                  <a:cxn ang="T136">
                    <a:pos x="T40" y="T41"/>
                  </a:cxn>
                  <a:cxn ang="T137">
                    <a:pos x="T42" y="T43"/>
                  </a:cxn>
                  <a:cxn ang="T138">
                    <a:pos x="T44" y="T45"/>
                  </a:cxn>
                  <a:cxn ang="T139">
                    <a:pos x="T46" y="T47"/>
                  </a:cxn>
                  <a:cxn ang="T140">
                    <a:pos x="T48" y="T49"/>
                  </a:cxn>
                  <a:cxn ang="T141">
                    <a:pos x="T50" y="T51"/>
                  </a:cxn>
                  <a:cxn ang="T142">
                    <a:pos x="T52" y="T53"/>
                  </a:cxn>
                  <a:cxn ang="T143">
                    <a:pos x="T54" y="T55"/>
                  </a:cxn>
                  <a:cxn ang="T144">
                    <a:pos x="T56" y="T57"/>
                  </a:cxn>
                  <a:cxn ang="T145">
                    <a:pos x="T58" y="T59"/>
                  </a:cxn>
                  <a:cxn ang="T146">
                    <a:pos x="T60" y="T61"/>
                  </a:cxn>
                  <a:cxn ang="T147">
                    <a:pos x="T62" y="T63"/>
                  </a:cxn>
                  <a:cxn ang="T148">
                    <a:pos x="T64" y="T65"/>
                  </a:cxn>
                  <a:cxn ang="T149">
                    <a:pos x="T66" y="T67"/>
                  </a:cxn>
                  <a:cxn ang="T150">
                    <a:pos x="T68" y="T69"/>
                  </a:cxn>
                  <a:cxn ang="T151">
                    <a:pos x="T70" y="T71"/>
                  </a:cxn>
                  <a:cxn ang="T152">
                    <a:pos x="T72" y="T73"/>
                  </a:cxn>
                  <a:cxn ang="T153">
                    <a:pos x="T74" y="T75"/>
                  </a:cxn>
                  <a:cxn ang="T154">
                    <a:pos x="T76" y="T77"/>
                  </a:cxn>
                  <a:cxn ang="T155">
                    <a:pos x="T78" y="T79"/>
                  </a:cxn>
                  <a:cxn ang="T156">
                    <a:pos x="T80" y="T81"/>
                  </a:cxn>
                  <a:cxn ang="T157">
                    <a:pos x="T82" y="T83"/>
                  </a:cxn>
                  <a:cxn ang="T158">
                    <a:pos x="T84" y="T85"/>
                  </a:cxn>
                  <a:cxn ang="T159">
                    <a:pos x="T86" y="T87"/>
                  </a:cxn>
                  <a:cxn ang="T160">
                    <a:pos x="T88" y="T89"/>
                  </a:cxn>
                  <a:cxn ang="T161">
                    <a:pos x="T90" y="T91"/>
                  </a:cxn>
                  <a:cxn ang="T162">
                    <a:pos x="T92" y="T93"/>
                  </a:cxn>
                  <a:cxn ang="T163">
                    <a:pos x="T94" y="T95"/>
                  </a:cxn>
                  <a:cxn ang="T164">
                    <a:pos x="T96" y="T97"/>
                  </a:cxn>
                  <a:cxn ang="T165">
                    <a:pos x="T98" y="T99"/>
                  </a:cxn>
                  <a:cxn ang="T166">
                    <a:pos x="T100" y="T101"/>
                  </a:cxn>
                  <a:cxn ang="T167">
                    <a:pos x="T102" y="T103"/>
                  </a:cxn>
                  <a:cxn ang="T168">
                    <a:pos x="T104" y="T105"/>
                  </a:cxn>
                  <a:cxn ang="T169">
                    <a:pos x="T106" y="T107"/>
                  </a:cxn>
                  <a:cxn ang="T170">
                    <a:pos x="T108" y="T109"/>
                  </a:cxn>
                  <a:cxn ang="T171">
                    <a:pos x="T110" y="T111"/>
                  </a:cxn>
                  <a:cxn ang="T172">
                    <a:pos x="T112" y="T113"/>
                  </a:cxn>
                  <a:cxn ang="T173">
                    <a:pos x="T114" y="T115"/>
                  </a:cxn>
                </a:cxnLst>
                <a:rect l="T174" t="T175" r="T176" b="T177"/>
                <a:pathLst>
                  <a:path w="322" h="692">
                    <a:moveTo>
                      <a:pt x="72" y="130"/>
                    </a:moveTo>
                    <a:lnTo>
                      <a:pt x="28" y="218"/>
                    </a:lnTo>
                    <a:lnTo>
                      <a:pt x="42" y="374"/>
                    </a:lnTo>
                    <a:lnTo>
                      <a:pt x="0" y="480"/>
                    </a:lnTo>
                    <a:lnTo>
                      <a:pt x="4" y="642"/>
                    </a:lnTo>
                    <a:lnTo>
                      <a:pt x="6" y="644"/>
                    </a:lnTo>
                    <a:lnTo>
                      <a:pt x="36" y="658"/>
                    </a:lnTo>
                    <a:lnTo>
                      <a:pt x="52" y="664"/>
                    </a:lnTo>
                    <a:lnTo>
                      <a:pt x="66" y="668"/>
                    </a:lnTo>
                    <a:lnTo>
                      <a:pt x="76" y="672"/>
                    </a:lnTo>
                    <a:lnTo>
                      <a:pt x="100" y="678"/>
                    </a:lnTo>
                    <a:lnTo>
                      <a:pt x="126" y="684"/>
                    </a:lnTo>
                    <a:lnTo>
                      <a:pt x="138" y="686"/>
                    </a:lnTo>
                    <a:lnTo>
                      <a:pt x="144" y="686"/>
                    </a:lnTo>
                    <a:lnTo>
                      <a:pt x="150" y="688"/>
                    </a:lnTo>
                    <a:lnTo>
                      <a:pt x="152" y="682"/>
                    </a:lnTo>
                    <a:lnTo>
                      <a:pt x="154" y="658"/>
                    </a:lnTo>
                    <a:lnTo>
                      <a:pt x="154" y="638"/>
                    </a:lnTo>
                    <a:lnTo>
                      <a:pt x="156" y="618"/>
                    </a:lnTo>
                    <a:lnTo>
                      <a:pt x="156" y="602"/>
                    </a:lnTo>
                    <a:lnTo>
                      <a:pt x="158" y="586"/>
                    </a:lnTo>
                    <a:lnTo>
                      <a:pt x="158" y="574"/>
                    </a:lnTo>
                    <a:lnTo>
                      <a:pt x="158" y="562"/>
                    </a:lnTo>
                    <a:lnTo>
                      <a:pt x="158" y="552"/>
                    </a:lnTo>
                    <a:lnTo>
                      <a:pt x="162" y="552"/>
                    </a:lnTo>
                    <a:lnTo>
                      <a:pt x="164" y="570"/>
                    </a:lnTo>
                    <a:lnTo>
                      <a:pt x="166" y="584"/>
                    </a:lnTo>
                    <a:lnTo>
                      <a:pt x="168" y="598"/>
                    </a:lnTo>
                    <a:lnTo>
                      <a:pt x="170" y="610"/>
                    </a:lnTo>
                    <a:lnTo>
                      <a:pt x="182" y="654"/>
                    </a:lnTo>
                    <a:lnTo>
                      <a:pt x="186" y="672"/>
                    </a:lnTo>
                    <a:lnTo>
                      <a:pt x="188" y="692"/>
                    </a:lnTo>
                    <a:lnTo>
                      <a:pt x="208" y="692"/>
                    </a:lnTo>
                    <a:lnTo>
                      <a:pt x="242" y="692"/>
                    </a:lnTo>
                    <a:lnTo>
                      <a:pt x="274" y="692"/>
                    </a:lnTo>
                    <a:lnTo>
                      <a:pt x="280" y="672"/>
                    </a:lnTo>
                    <a:lnTo>
                      <a:pt x="282" y="658"/>
                    </a:lnTo>
                    <a:lnTo>
                      <a:pt x="286" y="646"/>
                    </a:lnTo>
                    <a:lnTo>
                      <a:pt x="286" y="638"/>
                    </a:lnTo>
                    <a:lnTo>
                      <a:pt x="286" y="634"/>
                    </a:lnTo>
                    <a:lnTo>
                      <a:pt x="284" y="618"/>
                    </a:lnTo>
                    <a:lnTo>
                      <a:pt x="284" y="616"/>
                    </a:lnTo>
                    <a:lnTo>
                      <a:pt x="282" y="614"/>
                    </a:lnTo>
                    <a:lnTo>
                      <a:pt x="284" y="616"/>
                    </a:lnTo>
                    <a:lnTo>
                      <a:pt x="302" y="628"/>
                    </a:lnTo>
                    <a:lnTo>
                      <a:pt x="322" y="642"/>
                    </a:lnTo>
                    <a:lnTo>
                      <a:pt x="320" y="638"/>
                    </a:lnTo>
                    <a:lnTo>
                      <a:pt x="316" y="632"/>
                    </a:lnTo>
                    <a:lnTo>
                      <a:pt x="312" y="626"/>
                    </a:lnTo>
                    <a:lnTo>
                      <a:pt x="308" y="618"/>
                    </a:lnTo>
                    <a:lnTo>
                      <a:pt x="306" y="610"/>
                    </a:lnTo>
                    <a:lnTo>
                      <a:pt x="302" y="600"/>
                    </a:lnTo>
                    <a:lnTo>
                      <a:pt x="298" y="588"/>
                    </a:lnTo>
                    <a:lnTo>
                      <a:pt x="292" y="576"/>
                    </a:lnTo>
                    <a:lnTo>
                      <a:pt x="288" y="560"/>
                    </a:lnTo>
                    <a:lnTo>
                      <a:pt x="282" y="544"/>
                    </a:lnTo>
                    <a:lnTo>
                      <a:pt x="280" y="540"/>
                    </a:lnTo>
                    <a:lnTo>
                      <a:pt x="274" y="512"/>
                    </a:lnTo>
                    <a:lnTo>
                      <a:pt x="272" y="498"/>
                    </a:lnTo>
                    <a:lnTo>
                      <a:pt x="272" y="494"/>
                    </a:lnTo>
                    <a:lnTo>
                      <a:pt x="272" y="492"/>
                    </a:lnTo>
                    <a:lnTo>
                      <a:pt x="270" y="490"/>
                    </a:lnTo>
                    <a:lnTo>
                      <a:pt x="268" y="484"/>
                    </a:lnTo>
                    <a:lnTo>
                      <a:pt x="262" y="456"/>
                    </a:lnTo>
                    <a:lnTo>
                      <a:pt x="260" y="440"/>
                    </a:lnTo>
                    <a:lnTo>
                      <a:pt x="256" y="426"/>
                    </a:lnTo>
                    <a:lnTo>
                      <a:pt x="250" y="394"/>
                    </a:lnTo>
                    <a:lnTo>
                      <a:pt x="246" y="362"/>
                    </a:lnTo>
                    <a:lnTo>
                      <a:pt x="242" y="328"/>
                    </a:lnTo>
                    <a:lnTo>
                      <a:pt x="242" y="308"/>
                    </a:lnTo>
                    <a:lnTo>
                      <a:pt x="240" y="290"/>
                    </a:lnTo>
                    <a:lnTo>
                      <a:pt x="236" y="254"/>
                    </a:lnTo>
                    <a:lnTo>
                      <a:pt x="236" y="252"/>
                    </a:lnTo>
                    <a:lnTo>
                      <a:pt x="236" y="246"/>
                    </a:lnTo>
                    <a:lnTo>
                      <a:pt x="230" y="210"/>
                    </a:lnTo>
                    <a:lnTo>
                      <a:pt x="224" y="178"/>
                    </a:lnTo>
                    <a:lnTo>
                      <a:pt x="222" y="148"/>
                    </a:lnTo>
                    <a:lnTo>
                      <a:pt x="218" y="122"/>
                    </a:lnTo>
                    <a:lnTo>
                      <a:pt x="216" y="98"/>
                    </a:lnTo>
                    <a:lnTo>
                      <a:pt x="214" y="86"/>
                    </a:lnTo>
                    <a:lnTo>
                      <a:pt x="212" y="76"/>
                    </a:lnTo>
                    <a:lnTo>
                      <a:pt x="212" y="70"/>
                    </a:lnTo>
                    <a:lnTo>
                      <a:pt x="212" y="52"/>
                    </a:lnTo>
                    <a:lnTo>
                      <a:pt x="212" y="36"/>
                    </a:lnTo>
                    <a:lnTo>
                      <a:pt x="212" y="28"/>
                    </a:lnTo>
                    <a:lnTo>
                      <a:pt x="214" y="18"/>
                    </a:lnTo>
                    <a:lnTo>
                      <a:pt x="214" y="12"/>
                    </a:lnTo>
                    <a:lnTo>
                      <a:pt x="214" y="10"/>
                    </a:lnTo>
                    <a:lnTo>
                      <a:pt x="218" y="4"/>
                    </a:lnTo>
                    <a:lnTo>
                      <a:pt x="220" y="2"/>
                    </a:lnTo>
                    <a:lnTo>
                      <a:pt x="218" y="0"/>
                    </a:lnTo>
                    <a:lnTo>
                      <a:pt x="196" y="6"/>
                    </a:lnTo>
                    <a:lnTo>
                      <a:pt x="192" y="4"/>
                    </a:lnTo>
                    <a:lnTo>
                      <a:pt x="190" y="14"/>
                    </a:lnTo>
                    <a:lnTo>
                      <a:pt x="186" y="22"/>
                    </a:lnTo>
                    <a:lnTo>
                      <a:pt x="182" y="32"/>
                    </a:lnTo>
                    <a:lnTo>
                      <a:pt x="174" y="40"/>
                    </a:lnTo>
                    <a:lnTo>
                      <a:pt x="166" y="46"/>
                    </a:lnTo>
                    <a:lnTo>
                      <a:pt x="156" y="52"/>
                    </a:lnTo>
                    <a:lnTo>
                      <a:pt x="146" y="56"/>
                    </a:lnTo>
                    <a:lnTo>
                      <a:pt x="132" y="64"/>
                    </a:lnTo>
                    <a:lnTo>
                      <a:pt x="140" y="270"/>
                    </a:lnTo>
                    <a:lnTo>
                      <a:pt x="96" y="78"/>
                    </a:lnTo>
                    <a:lnTo>
                      <a:pt x="80" y="78"/>
                    </a:lnTo>
                    <a:lnTo>
                      <a:pt x="80" y="70"/>
                    </a:lnTo>
                    <a:lnTo>
                      <a:pt x="66" y="62"/>
                    </a:lnTo>
                    <a:lnTo>
                      <a:pt x="52" y="78"/>
                    </a:lnTo>
                    <a:lnTo>
                      <a:pt x="56" y="80"/>
                    </a:lnTo>
                    <a:lnTo>
                      <a:pt x="56" y="86"/>
                    </a:lnTo>
                    <a:lnTo>
                      <a:pt x="64" y="98"/>
                    </a:lnTo>
                    <a:lnTo>
                      <a:pt x="74" y="118"/>
                    </a:lnTo>
                    <a:lnTo>
                      <a:pt x="72" y="13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>
                  <a:solidFill>
                    <a:sysClr val="windowText" lastClr="000000"/>
                  </a:solidFill>
                  <a:latin typeface="+mn-lt"/>
                  <a:cs typeface="+mn-cs"/>
                </a:endParaRPr>
              </a:p>
            </p:txBody>
          </p:sp>
          <p:sp>
            <p:nvSpPr>
              <p:cNvPr id="95" name="Freeform 67"/>
              <p:cNvSpPr>
                <a:spLocks/>
              </p:cNvSpPr>
              <p:nvPr/>
            </p:nvSpPr>
            <p:spPr bwMode="auto">
              <a:xfrm>
                <a:off x="1147870" y="2368292"/>
                <a:ext cx="166944" cy="605302"/>
              </a:xfrm>
              <a:custGeom>
                <a:avLst/>
                <a:gdLst>
                  <a:gd name="T0" fmla="*/ 38100 w 106"/>
                  <a:gd name="T1" fmla="*/ 282575 h 382"/>
                  <a:gd name="T2" fmla="*/ 38100 w 106"/>
                  <a:gd name="T3" fmla="*/ 285750 h 382"/>
                  <a:gd name="T4" fmla="*/ 53975 w 106"/>
                  <a:gd name="T5" fmla="*/ 358775 h 382"/>
                  <a:gd name="T6" fmla="*/ 63500 w 106"/>
                  <a:gd name="T7" fmla="*/ 396875 h 382"/>
                  <a:gd name="T8" fmla="*/ 73025 w 106"/>
                  <a:gd name="T9" fmla="*/ 438150 h 382"/>
                  <a:gd name="T10" fmla="*/ 101600 w 106"/>
                  <a:gd name="T11" fmla="*/ 517525 h 382"/>
                  <a:gd name="T12" fmla="*/ 130175 w 106"/>
                  <a:gd name="T13" fmla="*/ 606425 h 382"/>
                  <a:gd name="T14" fmla="*/ 133350 w 106"/>
                  <a:gd name="T15" fmla="*/ 603250 h 382"/>
                  <a:gd name="T16" fmla="*/ 142875 w 106"/>
                  <a:gd name="T17" fmla="*/ 558800 h 382"/>
                  <a:gd name="T18" fmla="*/ 146050 w 106"/>
                  <a:gd name="T19" fmla="*/ 520700 h 382"/>
                  <a:gd name="T20" fmla="*/ 152400 w 106"/>
                  <a:gd name="T21" fmla="*/ 466725 h 382"/>
                  <a:gd name="T22" fmla="*/ 158750 w 106"/>
                  <a:gd name="T23" fmla="*/ 419100 h 382"/>
                  <a:gd name="T24" fmla="*/ 161925 w 106"/>
                  <a:gd name="T25" fmla="*/ 381000 h 382"/>
                  <a:gd name="T26" fmla="*/ 161925 w 106"/>
                  <a:gd name="T27" fmla="*/ 346075 h 382"/>
                  <a:gd name="T28" fmla="*/ 165100 w 106"/>
                  <a:gd name="T29" fmla="*/ 320675 h 382"/>
                  <a:gd name="T30" fmla="*/ 168275 w 106"/>
                  <a:gd name="T31" fmla="*/ 301625 h 382"/>
                  <a:gd name="T32" fmla="*/ 168275 w 106"/>
                  <a:gd name="T33" fmla="*/ 288925 h 382"/>
                  <a:gd name="T34" fmla="*/ 168275 w 106"/>
                  <a:gd name="T35" fmla="*/ 285750 h 382"/>
                  <a:gd name="T36" fmla="*/ 168275 w 106"/>
                  <a:gd name="T37" fmla="*/ 279400 h 382"/>
                  <a:gd name="T38" fmla="*/ 161925 w 106"/>
                  <a:gd name="T39" fmla="*/ 276225 h 382"/>
                  <a:gd name="T40" fmla="*/ 158750 w 106"/>
                  <a:gd name="T41" fmla="*/ 269875 h 382"/>
                  <a:gd name="T42" fmla="*/ 146050 w 106"/>
                  <a:gd name="T43" fmla="*/ 263525 h 382"/>
                  <a:gd name="T44" fmla="*/ 136525 w 106"/>
                  <a:gd name="T45" fmla="*/ 250825 h 382"/>
                  <a:gd name="T46" fmla="*/ 117475 w 106"/>
                  <a:gd name="T47" fmla="*/ 234950 h 382"/>
                  <a:gd name="T48" fmla="*/ 95250 w 106"/>
                  <a:gd name="T49" fmla="*/ 215900 h 382"/>
                  <a:gd name="T50" fmla="*/ 66675 w 106"/>
                  <a:gd name="T51" fmla="*/ 193675 h 382"/>
                  <a:gd name="T52" fmla="*/ 88900 w 106"/>
                  <a:gd name="T53" fmla="*/ 184150 h 382"/>
                  <a:gd name="T54" fmla="*/ 98425 w 106"/>
                  <a:gd name="T55" fmla="*/ 177800 h 382"/>
                  <a:gd name="T56" fmla="*/ 130175 w 106"/>
                  <a:gd name="T57" fmla="*/ 161925 h 382"/>
                  <a:gd name="T58" fmla="*/ 155575 w 106"/>
                  <a:gd name="T59" fmla="*/ 152400 h 382"/>
                  <a:gd name="T60" fmla="*/ 155575 w 106"/>
                  <a:gd name="T61" fmla="*/ 152400 h 382"/>
                  <a:gd name="T62" fmla="*/ 155575 w 106"/>
                  <a:gd name="T63" fmla="*/ 142875 h 382"/>
                  <a:gd name="T64" fmla="*/ 146050 w 106"/>
                  <a:gd name="T65" fmla="*/ 130175 h 382"/>
                  <a:gd name="T66" fmla="*/ 136525 w 106"/>
                  <a:gd name="T67" fmla="*/ 120650 h 382"/>
                  <a:gd name="T68" fmla="*/ 111125 w 106"/>
                  <a:gd name="T69" fmla="*/ 92075 h 382"/>
                  <a:gd name="T70" fmla="*/ 82550 w 106"/>
                  <a:gd name="T71" fmla="*/ 63500 h 382"/>
                  <a:gd name="T72" fmla="*/ 47625 w 106"/>
                  <a:gd name="T73" fmla="*/ 38100 h 382"/>
                  <a:gd name="T74" fmla="*/ 25400 w 106"/>
                  <a:gd name="T75" fmla="*/ 15875 h 382"/>
                  <a:gd name="T76" fmla="*/ 3175 w 106"/>
                  <a:gd name="T77" fmla="*/ 0 h 382"/>
                  <a:gd name="T78" fmla="*/ 0 w 106"/>
                  <a:gd name="T79" fmla="*/ 3175 h 382"/>
                  <a:gd name="T80" fmla="*/ 3175 w 106"/>
                  <a:gd name="T81" fmla="*/ 19050 h 382"/>
                  <a:gd name="T82" fmla="*/ 6350 w 106"/>
                  <a:gd name="T83" fmla="*/ 38100 h 382"/>
                  <a:gd name="T84" fmla="*/ 9525 w 106"/>
                  <a:gd name="T85" fmla="*/ 76200 h 382"/>
                  <a:gd name="T86" fmla="*/ 15875 w 106"/>
                  <a:gd name="T87" fmla="*/ 117475 h 382"/>
                  <a:gd name="T88" fmla="*/ 19050 w 106"/>
                  <a:gd name="T89" fmla="*/ 165100 h 382"/>
                  <a:gd name="T90" fmla="*/ 28575 w 106"/>
                  <a:gd name="T91" fmla="*/ 215900 h 382"/>
                  <a:gd name="T92" fmla="*/ 38100 w 106"/>
                  <a:gd name="T93" fmla="*/ 273050 h 382"/>
                  <a:gd name="T94" fmla="*/ 38100 w 106"/>
                  <a:gd name="T95" fmla="*/ 273050 h 382"/>
                  <a:gd name="T96" fmla="*/ 38100 w 106"/>
                  <a:gd name="T97" fmla="*/ 276225 h 382"/>
                  <a:gd name="T98" fmla="*/ 38100 w 106"/>
                  <a:gd name="T99" fmla="*/ 282575 h 382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w 106"/>
                  <a:gd name="T151" fmla="*/ 0 h 382"/>
                  <a:gd name="T152" fmla="*/ 106 w 106"/>
                  <a:gd name="T153" fmla="*/ 382 h 382"/>
                </a:gdLst>
                <a:ahLst/>
                <a:cxnLst>
                  <a:cxn ang="T100">
                    <a:pos x="T0" y="T1"/>
                  </a:cxn>
                  <a:cxn ang="T101">
                    <a:pos x="T2" y="T3"/>
                  </a:cxn>
                  <a:cxn ang="T102">
                    <a:pos x="T4" y="T5"/>
                  </a:cxn>
                  <a:cxn ang="T103">
                    <a:pos x="T6" y="T7"/>
                  </a:cxn>
                  <a:cxn ang="T104">
                    <a:pos x="T8" y="T9"/>
                  </a:cxn>
                  <a:cxn ang="T105">
                    <a:pos x="T10" y="T11"/>
                  </a:cxn>
                  <a:cxn ang="T106">
                    <a:pos x="T12" y="T13"/>
                  </a:cxn>
                  <a:cxn ang="T107">
                    <a:pos x="T14" y="T15"/>
                  </a:cxn>
                  <a:cxn ang="T108">
                    <a:pos x="T16" y="T17"/>
                  </a:cxn>
                  <a:cxn ang="T109">
                    <a:pos x="T18" y="T19"/>
                  </a:cxn>
                  <a:cxn ang="T110">
                    <a:pos x="T20" y="T21"/>
                  </a:cxn>
                  <a:cxn ang="T111">
                    <a:pos x="T22" y="T23"/>
                  </a:cxn>
                  <a:cxn ang="T112">
                    <a:pos x="T24" y="T25"/>
                  </a:cxn>
                  <a:cxn ang="T113">
                    <a:pos x="T26" y="T27"/>
                  </a:cxn>
                  <a:cxn ang="T114">
                    <a:pos x="T28" y="T29"/>
                  </a:cxn>
                  <a:cxn ang="T115">
                    <a:pos x="T30" y="T31"/>
                  </a:cxn>
                  <a:cxn ang="T116">
                    <a:pos x="T32" y="T33"/>
                  </a:cxn>
                  <a:cxn ang="T117">
                    <a:pos x="T34" y="T35"/>
                  </a:cxn>
                  <a:cxn ang="T118">
                    <a:pos x="T36" y="T37"/>
                  </a:cxn>
                  <a:cxn ang="T119">
                    <a:pos x="T38" y="T39"/>
                  </a:cxn>
                  <a:cxn ang="T120">
                    <a:pos x="T40" y="T41"/>
                  </a:cxn>
                  <a:cxn ang="T121">
                    <a:pos x="T42" y="T43"/>
                  </a:cxn>
                  <a:cxn ang="T122">
                    <a:pos x="T44" y="T45"/>
                  </a:cxn>
                  <a:cxn ang="T123">
                    <a:pos x="T46" y="T47"/>
                  </a:cxn>
                  <a:cxn ang="T124">
                    <a:pos x="T48" y="T49"/>
                  </a:cxn>
                  <a:cxn ang="T125">
                    <a:pos x="T50" y="T51"/>
                  </a:cxn>
                  <a:cxn ang="T126">
                    <a:pos x="T52" y="T53"/>
                  </a:cxn>
                  <a:cxn ang="T127">
                    <a:pos x="T54" y="T55"/>
                  </a:cxn>
                  <a:cxn ang="T128">
                    <a:pos x="T56" y="T57"/>
                  </a:cxn>
                  <a:cxn ang="T129">
                    <a:pos x="T58" y="T59"/>
                  </a:cxn>
                  <a:cxn ang="T130">
                    <a:pos x="T60" y="T61"/>
                  </a:cxn>
                  <a:cxn ang="T131">
                    <a:pos x="T62" y="T63"/>
                  </a:cxn>
                  <a:cxn ang="T132">
                    <a:pos x="T64" y="T65"/>
                  </a:cxn>
                  <a:cxn ang="T133">
                    <a:pos x="T66" y="T67"/>
                  </a:cxn>
                  <a:cxn ang="T134">
                    <a:pos x="T68" y="T69"/>
                  </a:cxn>
                  <a:cxn ang="T135">
                    <a:pos x="T70" y="T71"/>
                  </a:cxn>
                  <a:cxn ang="T136">
                    <a:pos x="T72" y="T73"/>
                  </a:cxn>
                  <a:cxn ang="T137">
                    <a:pos x="T74" y="T75"/>
                  </a:cxn>
                  <a:cxn ang="T138">
                    <a:pos x="T76" y="T77"/>
                  </a:cxn>
                  <a:cxn ang="T139">
                    <a:pos x="T78" y="T79"/>
                  </a:cxn>
                  <a:cxn ang="T140">
                    <a:pos x="T80" y="T81"/>
                  </a:cxn>
                  <a:cxn ang="T141">
                    <a:pos x="T82" y="T83"/>
                  </a:cxn>
                  <a:cxn ang="T142">
                    <a:pos x="T84" y="T85"/>
                  </a:cxn>
                  <a:cxn ang="T143">
                    <a:pos x="T86" y="T87"/>
                  </a:cxn>
                  <a:cxn ang="T144">
                    <a:pos x="T88" y="T89"/>
                  </a:cxn>
                  <a:cxn ang="T145">
                    <a:pos x="T90" y="T91"/>
                  </a:cxn>
                  <a:cxn ang="T146">
                    <a:pos x="T92" y="T93"/>
                  </a:cxn>
                  <a:cxn ang="T147">
                    <a:pos x="T94" y="T95"/>
                  </a:cxn>
                  <a:cxn ang="T148">
                    <a:pos x="T96" y="T97"/>
                  </a:cxn>
                  <a:cxn ang="T149">
                    <a:pos x="T98" y="T99"/>
                  </a:cxn>
                </a:cxnLst>
                <a:rect l="T150" t="T151" r="T152" b="T153"/>
                <a:pathLst>
                  <a:path w="106" h="382">
                    <a:moveTo>
                      <a:pt x="24" y="178"/>
                    </a:moveTo>
                    <a:lnTo>
                      <a:pt x="24" y="180"/>
                    </a:lnTo>
                    <a:lnTo>
                      <a:pt x="34" y="226"/>
                    </a:lnTo>
                    <a:lnTo>
                      <a:pt x="40" y="250"/>
                    </a:lnTo>
                    <a:lnTo>
                      <a:pt x="46" y="276"/>
                    </a:lnTo>
                    <a:lnTo>
                      <a:pt x="64" y="326"/>
                    </a:lnTo>
                    <a:lnTo>
                      <a:pt x="82" y="382"/>
                    </a:lnTo>
                    <a:lnTo>
                      <a:pt x="84" y="380"/>
                    </a:lnTo>
                    <a:lnTo>
                      <a:pt x="90" y="352"/>
                    </a:lnTo>
                    <a:lnTo>
                      <a:pt x="92" y="328"/>
                    </a:lnTo>
                    <a:lnTo>
                      <a:pt x="96" y="294"/>
                    </a:lnTo>
                    <a:lnTo>
                      <a:pt x="100" y="264"/>
                    </a:lnTo>
                    <a:lnTo>
                      <a:pt x="102" y="240"/>
                    </a:lnTo>
                    <a:lnTo>
                      <a:pt x="102" y="218"/>
                    </a:lnTo>
                    <a:lnTo>
                      <a:pt x="104" y="202"/>
                    </a:lnTo>
                    <a:lnTo>
                      <a:pt x="106" y="190"/>
                    </a:lnTo>
                    <a:lnTo>
                      <a:pt x="106" y="182"/>
                    </a:lnTo>
                    <a:lnTo>
                      <a:pt x="106" y="180"/>
                    </a:lnTo>
                    <a:lnTo>
                      <a:pt x="106" y="176"/>
                    </a:lnTo>
                    <a:lnTo>
                      <a:pt x="102" y="174"/>
                    </a:lnTo>
                    <a:lnTo>
                      <a:pt x="100" y="170"/>
                    </a:lnTo>
                    <a:lnTo>
                      <a:pt x="92" y="166"/>
                    </a:lnTo>
                    <a:lnTo>
                      <a:pt x="86" y="158"/>
                    </a:lnTo>
                    <a:lnTo>
                      <a:pt x="74" y="148"/>
                    </a:lnTo>
                    <a:lnTo>
                      <a:pt x="60" y="136"/>
                    </a:lnTo>
                    <a:lnTo>
                      <a:pt x="42" y="122"/>
                    </a:lnTo>
                    <a:lnTo>
                      <a:pt x="56" y="116"/>
                    </a:lnTo>
                    <a:lnTo>
                      <a:pt x="62" y="112"/>
                    </a:lnTo>
                    <a:lnTo>
                      <a:pt x="82" y="102"/>
                    </a:lnTo>
                    <a:lnTo>
                      <a:pt x="98" y="96"/>
                    </a:lnTo>
                    <a:lnTo>
                      <a:pt x="98" y="90"/>
                    </a:lnTo>
                    <a:lnTo>
                      <a:pt x="92" y="82"/>
                    </a:lnTo>
                    <a:lnTo>
                      <a:pt x="86" y="76"/>
                    </a:lnTo>
                    <a:lnTo>
                      <a:pt x="70" y="58"/>
                    </a:lnTo>
                    <a:lnTo>
                      <a:pt x="52" y="40"/>
                    </a:lnTo>
                    <a:lnTo>
                      <a:pt x="30" y="24"/>
                    </a:lnTo>
                    <a:lnTo>
                      <a:pt x="16" y="1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2" y="12"/>
                    </a:lnTo>
                    <a:lnTo>
                      <a:pt x="4" y="24"/>
                    </a:lnTo>
                    <a:lnTo>
                      <a:pt x="6" y="48"/>
                    </a:lnTo>
                    <a:lnTo>
                      <a:pt x="10" y="74"/>
                    </a:lnTo>
                    <a:lnTo>
                      <a:pt x="12" y="104"/>
                    </a:lnTo>
                    <a:lnTo>
                      <a:pt x="18" y="136"/>
                    </a:lnTo>
                    <a:lnTo>
                      <a:pt x="24" y="172"/>
                    </a:lnTo>
                    <a:lnTo>
                      <a:pt x="24" y="174"/>
                    </a:lnTo>
                    <a:lnTo>
                      <a:pt x="24" y="178"/>
                    </a:lnTo>
                    <a:close/>
                  </a:path>
                </a:pathLst>
              </a:custGeom>
              <a:solidFill>
                <a:srgbClr val="01010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>
                  <a:solidFill>
                    <a:sysClr val="windowText" lastClr="000000"/>
                  </a:solidFill>
                  <a:latin typeface="+mn-lt"/>
                  <a:cs typeface="+mn-cs"/>
                </a:endParaRPr>
              </a:p>
            </p:txBody>
          </p:sp>
          <p:sp>
            <p:nvSpPr>
              <p:cNvPr id="96" name="Freeform 68"/>
              <p:cNvSpPr>
                <a:spLocks/>
              </p:cNvSpPr>
              <p:nvPr/>
            </p:nvSpPr>
            <p:spPr bwMode="auto">
              <a:xfrm>
                <a:off x="1147870" y="2303727"/>
                <a:ext cx="193307" cy="718291"/>
              </a:xfrm>
              <a:custGeom>
                <a:avLst/>
                <a:gdLst/>
                <a:ahLst/>
                <a:cxnLst>
                  <a:cxn ang="0">
                    <a:pos x="30" y="62"/>
                  </a:cxn>
                  <a:cxn ang="0">
                    <a:pos x="70" y="96"/>
                  </a:cxn>
                  <a:cxn ang="0">
                    <a:pos x="92" y="120"/>
                  </a:cxn>
                  <a:cxn ang="0">
                    <a:pos x="98" y="134"/>
                  </a:cxn>
                  <a:cxn ang="0">
                    <a:pos x="82" y="140"/>
                  </a:cxn>
                  <a:cxn ang="0">
                    <a:pos x="56" y="154"/>
                  </a:cxn>
                  <a:cxn ang="0">
                    <a:pos x="60" y="174"/>
                  </a:cxn>
                  <a:cxn ang="0">
                    <a:pos x="86" y="196"/>
                  </a:cxn>
                  <a:cxn ang="0">
                    <a:pos x="100" y="208"/>
                  </a:cxn>
                  <a:cxn ang="0">
                    <a:pos x="106" y="214"/>
                  </a:cxn>
                  <a:cxn ang="0">
                    <a:pos x="106" y="220"/>
                  </a:cxn>
                  <a:cxn ang="0">
                    <a:pos x="104" y="240"/>
                  </a:cxn>
                  <a:cxn ang="0">
                    <a:pos x="102" y="278"/>
                  </a:cxn>
                  <a:cxn ang="0">
                    <a:pos x="96" y="332"/>
                  </a:cxn>
                  <a:cxn ang="0">
                    <a:pos x="90" y="390"/>
                  </a:cxn>
                  <a:cxn ang="0">
                    <a:pos x="82" y="420"/>
                  </a:cxn>
                  <a:cxn ang="0">
                    <a:pos x="84" y="424"/>
                  </a:cxn>
                  <a:cxn ang="0">
                    <a:pos x="98" y="440"/>
                  </a:cxn>
                  <a:cxn ang="0">
                    <a:pos x="112" y="354"/>
                  </a:cxn>
                  <a:cxn ang="0">
                    <a:pos x="118" y="292"/>
                  </a:cxn>
                  <a:cxn ang="0">
                    <a:pos x="122" y="246"/>
                  </a:cxn>
                  <a:cxn ang="0">
                    <a:pos x="124" y="218"/>
                  </a:cxn>
                  <a:cxn ang="0">
                    <a:pos x="124" y="208"/>
                  </a:cxn>
                  <a:cxn ang="0">
                    <a:pos x="122" y="200"/>
                  </a:cxn>
                  <a:cxn ang="0">
                    <a:pos x="112" y="192"/>
                  </a:cxn>
                  <a:cxn ang="0">
                    <a:pos x="104" y="184"/>
                  </a:cxn>
                  <a:cxn ang="0">
                    <a:pos x="84" y="166"/>
                  </a:cxn>
                  <a:cxn ang="0">
                    <a:pos x="68" y="150"/>
                  </a:cxn>
                  <a:cxn ang="0">
                    <a:pos x="90" y="142"/>
                  </a:cxn>
                  <a:cxn ang="0">
                    <a:pos x="106" y="138"/>
                  </a:cxn>
                  <a:cxn ang="0">
                    <a:pos x="114" y="128"/>
                  </a:cxn>
                  <a:cxn ang="0">
                    <a:pos x="120" y="118"/>
                  </a:cxn>
                  <a:cxn ang="0">
                    <a:pos x="104" y="100"/>
                  </a:cxn>
                  <a:cxn ang="0">
                    <a:pos x="74" y="72"/>
                  </a:cxn>
                  <a:cxn ang="0">
                    <a:pos x="32" y="34"/>
                  </a:cxn>
                  <a:cxn ang="0">
                    <a:pos x="8" y="10"/>
                  </a:cxn>
                  <a:cxn ang="0">
                    <a:pos x="0" y="16"/>
                  </a:cxn>
                  <a:cxn ang="0">
                    <a:pos x="0" y="40"/>
                  </a:cxn>
                  <a:cxn ang="0">
                    <a:pos x="16" y="48"/>
                  </a:cxn>
                </a:cxnLst>
                <a:rect l="0" t="0" r="r" b="b"/>
                <a:pathLst>
                  <a:path w="124" h="452">
                    <a:moveTo>
                      <a:pt x="16" y="48"/>
                    </a:moveTo>
                    <a:lnTo>
                      <a:pt x="30" y="62"/>
                    </a:lnTo>
                    <a:lnTo>
                      <a:pt x="52" y="78"/>
                    </a:lnTo>
                    <a:lnTo>
                      <a:pt x="70" y="96"/>
                    </a:lnTo>
                    <a:lnTo>
                      <a:pt x="86" y="114"/>
                    </a:lnTo>
                    <a:lnTo>
                      <a:pt x="92" y="120"/>
                    </a:lnTo>
                    <a:lnTo>
                      <a:pt x="98" y="128"/>
                    </a:lnTo>
                    <a:lnTo>
                      <a:pt x="98" y="134"/>
                    </a:lnTo>
                    <a:lnTo>
                      <a:pt x="98" y="134"/>
                    </a:lnTo>
                    <a:lnTo>
                      <a:pt x="82" y="140"/>
                    </a:lnTo>
                    <a:lnTo>
                      <a:pt x="62" y="150"/>
                    </a:lnTo>
                    <a:lnTo>
                      <a:pt x="56" y="154"/>
                    </a:lnTo>
                    <a:lnTo>
                      <a:pt x="42" y="160"/>
                    </a:lnTo>
                    <a:lnTo>
                      <a:pt x="60" y="174"/>
                    </a:lnTo>
                    <a:lnTo>
                      <a:pt x="74" y="186"/>
                    </a:lnTo>
                    <a:lnTo>
                      <a:pt x="86" y="196"/>
                    </a:lnTo>
                    <a:lnTo>
                      <a:pt x="92" y="204"/>
                    </a:lnTo>
                    <a:lnTo>
                      <a:pt x="100" y="208"/>
                    </a:lnTo>
                    <a:lnTo>
                      <a:pt x="102" y="212"/>
                    </a:lnTo>
                    <a:lnTo>
                      <a:pt x="106" y="214"/>
                    </a:lnTo>
                    <a:lnTo>
                      <a:pt x="106" y="218"/>
                    </a:lnTo>
                    <a:lnTo>
                      <a:pt x="106" y="220"/>
                    </a:lnTo>
                    <a:lnTo>
                      <a:pt x="106" y="228"/>
                    </a:lnTo>
                    <a:lnTo>
                      <a:pt x="104" y="240"/>
                    </a:lnTo>
                    <a:lnTo>
                      <a:pt x="102" y="256"/>
                    </a:lnTo>
                    <a:lnTo>
                      <a:pt x="102" y="278"/>
                    </a:lnTo>
                    <a:lnTo>
                      <a:pt x="100" y="302"/>
                    </a:lnTo>
                    <a:lnTo>
                      <a:pt x="96" y="332"/>
                    </a:lnTo>
                    <a:lnTo>
                      <a:pt x="92" y="366"/>
                    </a:lnTo>
                    <a:lnTo>
                      <a:pt x="90" y="390"/>
                    </a:lnTo>
                    <a:lnTo>
                      <a:pt x="84" y="418"/>
                    </a:lnTo>
                    <a:lnTo>
                      <a:pt x="82" y="420"/>
                    </a:lnTo>
                    <a:lnTo>
                      <a:pt x="84" y="424"/>
                    </a:lnTo>
                    <a:lnTo>
                      <a:pt x="84" y="424"/>
                    </a:lnTo>
                    <a:lnTo>
                      <a:pt x="96" y="452"/>
                    </a:lnTo>
                    <a:lnTo>
                      <a:pt x="98" y="440"/>
                    </a:lnTo>
                    <a:lnTo>
                      <a:pt x="106" y="394"/>
                    </a:lnTo>
                    <a:lnTo>
                      <a:pt x="112" y="354"/>
                    </a:lnTo>
                    <a:lnTo>
                      <a:pt x="116" y="320"/>
                    </a:lnTo>
                    <a:lnTo>
                      <a:pt x="118" y="292"/>
                    </a:lnTo>
                    <a:lnTo>
                      <a:pt x="120" y="266"/>
                    </a:lnTo>
                    <a:lnTo>
                      <a:pt x="122" y="246"/>
                    </a:lnTo>
                    <a:lnTo>
                      <a:pt x="124" y="228"/>
                    </a:lnTo>
                    <a:lnTo>
                      <a:pt x="124" y="218"/>
                    </a:lnTo>
                    <a:lnTo>
                      <a:pt x="124" y="210"/>
                    </a:lnTo>
                    <a:lnTo>
                      <a:pt x="124" y="208"/>
                    </a:lnTo>
                    <a:lnTo>
                      <a:pt x="124" y="204"/>
                    </a:lnTo>
                    <a:lnTo>
                      <a:pt x="122" y="200"/>
                    </a:lnTo>
                    <a:lnTo>
                      <a:pt x="118" y="196"/>
                    </a:lnTo>
                    <a:lnTo>
                      <a:pt x="112" y="192"/>
                    </a:lnTo>
                    <a:lnTo>
                      <a:pt x="108" y="188"/>
                    </a:lnTo>
                    <a:lnTo>
                      <a:pt x="104" y="184"/>
                    </a:lnTo>
                    <a:lnTo>
                      <a:pt x="96" y="178"/>
                    </a:lnTo>
                    <a:lnTo>
                      <a:pt x="84" y="166"/>
                    </a:lnTo>
                    <a:lnTo>
                      <a:pt x="68" y="156"/>
                    </a:lnTo>
                    <a:lnTo>
                      <a:pt x="68" y="150"/>
                    </a:lnTo>
                    <a:lnTo>
                      <a:pt x="80" y="144"/>
                    </a:lnTo>
                    <a:lnTo>
                      <a:pt x="90" y="142"/>
                    </a:lnTo>
                    <a:lnTo>
                      <a:pt x="98" y="138"/>
                    </a:lnTo>
                    <a:lnTo>
                      <a:pt x="106" y="138"/>
                    </a:lnTo>
                    <a:lnTo>
                      <a:pt x="100" y="134"/>
                    </a:lnTo>
                    <a:lnTo>
                      <a:pt x="114" y="128"/>
                    </a:lnTo>
                    <a:lnTo>
                      <a:pt x="124" y="128"/>
                    </a:lnTo>
                    <a:lnTo>
                      <a:pt x="120" y="118"/>
                    </a:lnTo>
                    <a:lnTo>
                      <a:pt x="112" y="110"/>
                    </a:lnTo>
                    <a:lnTo>
                      <a:pt x="104" y="100"/>
                    </a:lnTo>
                    <a:lnTo>
                      <a:pt x="96" y="92"/>
                    </a:lnTo>
                    <a:lnTo>
                      <a:pt x="74" y="72"/>
                    </a:lnTo>
                    <a:lnTo>
                      <a:pt x="48" y="50"/>
                    </a:lnTo>
                    <a:lnTo>
                      <a:pt x="32" y="34"/>
                    </a:lnTo>
                    <a:lnTo>
                      <a:pt x="18" y="20"/>
                    </a:lnTo>
                    <a:lnTo>
                      <a:pt x="8" y="10"/>
                    </a:lnTo>
                    <a:lnTo>
                      <a:pt x="0" y="0"/>
                    </a:lnTo>
                    <a:lnTo>
                      <a:pt x="0" y="16"/>
                    </a:lnTo>
                    <a:lnTo>
                      <a:pt x="0" y="34"/>
                    </a:lnTo>
                    <a:lnTo>
                      <a:pt x="0" y="40"/>
                    </a:lnTo>
                    <a:lnTo>
                      <a:pt x="2" y="38"/>
                    </a:lnTo>
                    <a:lnTo>
                      <a:pt x="16" y="48"/>
                    </a:lnTo>
                    <a:close/>
                  </a:path>
                </a:pathLst>
              </a:custGeom>
              <a:solidFill>
                <a:srgbClr val="010101"/>
              </a:solidFill>
              <a:ln w="9525">
                <a:solidFill>
                  <a:srgbClr val="D7D8D9">
                    <a:lumMod val="10000"/>
                  </a:srgb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>
                  <a:solidFill>
                    <a:sysClr val="windowText" lastClr="000000"/>
                  </a:solidFill>
                  <a:latin typeface="Arial" pitchFamily="34" charset="0"/>
                  <a:cs typeface="+mn-cs"/>
                </a:endParaRPr>
              </a:p>
            </p:txBody>
          </p:sp>
          <p:sp>
            <p:nvSpPr>
              <p:cNvPr id="97" name="Freeform 69"/>
              <p:cNvSpPr>
                <a:spLocks/>
              </p:cNvSpPr>
              <p:nvPr/>
            </p:nvSpPr>
            <p:spPr bwMode="auto">
              <a:xfrm>
                <a:off x="1183017" y="2650768"/>
                <a:ext cx="254811" cy="702145"/>
              </a:xfrm>
              <a:custGeom>
                <a:avLst/>
                <a:gdLst>
                  <a:gd name="T0" fmla="*/ 158750 w 162"/>
                  <a:gd name="T1" fmla="*/ 514350 h 438"/>
                  <a:gd name="T2" fmla="*/ 155575 w 162"/>
                  <a:gd name="T3" fmla="*/ 539750 h 438"/>
                  <a:gd name="T4" fmla="*/ 152400 w 162"/>
                  <a:gd name="T5" fmla="*/ 555625 h 438"/>
                  <a:gd name="T6" fmla="*/ 139700 w 162"/>
                  <a:gd name="T7" fmla="*/ 581025 h 438"/>
                  <a:gd name="T8" fmla="*/ 152400 w 162"/>
                  <a:gd name="T9" fmla="*/ 555625 h 438"/>
                  <a:gd name="T10" fmla="*/ 155575 w 162"/>
                  <a:gd name="T11" fmla="*/ 539750 h 438"/>
                  <a:gd name="T12" fmla="*/ 158750 w 162"/>
                  <a:gd name="T13" fmla="*/ 514350 h 438"/>
                  <a:gd name="T14" fmla="*/ 158750 w 162"/>
                  <a:gd name="T15" fmla="*/ 473075 h 438"/>
                  <a:gd name="T16" fmla="*/ 95250 w 162"/>
                  <a:gd name="T17" fmla="*/ 327025 h 438"/>
                  <a:gd name="T18" fmla="*/ 92075 w 162"/>
                  <a:gd name="T19" fmla="*/ 320675 h 438"/>
                  <a:gd name="T20" fmla="*/ 34925 w 162"/>
                  <a:gd name="T21" fmla="*/ 152400 h 438"/>
                  <a:gd name="T22" fmla="*/ 15875 w 162"/>
                  <a:gd name="T23" fmla="*/ 73025 h 438"/>
                  <a:gd name="T24" fmla="*/ 0 w 162"/>
                  <a:gd name="T25" fmla="*/ 0 h 438"/>
                  <a:gd name="T26" fmla="*/ 9525 w 162"/>
                  <a:gd name="T27" fmla="*/ 85725 h 438"/>
                  <a:gd name="T28" fmla="*/ 15875 w 162"/>
                  <a:gd name="T29" fmla="*/ 171450 h 438"/>
                  <a:gd name="T30" fmla="*/ 31750 w 162"/>
                  <a:gd name="T31" fmla="*/ 273050 h 438"/>
                  <a:gd name="T32" fmla="*/ 41275 w 162"/>
                  <a:gd name="T33" fmla="*/ 320675 h 438"/>
                  <a:gd name="T34" fmla="*/ 53975 w 162"/>
                  <a:gd name="T35" fmla="*/ 374650 h 438"/>
                  <a:gd name="T36" fmla="*/ 57150 w 162"/>
                  <a:gd name="T37" fmla="*/ 381000 h 438"/>
                  <a:gd name="T38" fmla="*/ 60325 w 162"/>
                  <a:gd name="T39" fmla="*/ 409575 h 438"/>
                  <a:gd name="T40" fmla="*/ 73025 w 162"/>
                  <a:gd name="T41" fmla="*/ 460375 h 438"/>
                  <a:gd name="T42" fmla="*/ 88900 w 162"/>
                  <a:gd name="T43" fmla="*/ 511175 h 438"/>
                  <a:gd name="T44" fmla="*/ 104775 w 162"/>
                  <a:gd name="T45" fmla="*/ 549275 h 438"/>
                  <a:gd name="T46" fmla="*/ 114300 w 162"/>
                  <a:gd name="T47" fmla="*/ 577850 h 438"/>
                  <a:gd name="T48" fmla="*/ 127000 w 162"/>
                  <a:gd name="T49" fmla="*/ 600075 h 438"/>
                  <a:gd name="T50" fmla="*/ 136525 w 162"/>
                  <a:gd name="T51" fmla="*/ 615950 h 438"/>
                  <a:gd name="T52" fmla="*/ 76200 w 162"/>
                  <a:gd name="T53" fmla="*/ 574675 h 438"/>
                  <a:gd name="T54" fmla="*/ 76200 w 162"/>
                  <a:gd name="T55" fmla="*/ 577850 h 438"/>
                  <a:gd name="T56" fmla="*/ 79375 w 162"/>
                  <a:gd name="T57" fmla="*/ 609600 h 438"/>
                  <a:gd name="T58" fmla="*/ 73025 w 162"/>
                  <a:gd name="T59" fmla="*/ 641350 h 438"/>
                  <a:gd name="T60" fmla="*/ 60325 w 162"/>
                  <a:gd name="T61" fmla="*/ 695325 h 438"/>
                  <a:gd name="T62" fmla="*/ 107950 w 162"/>
                  <a:gd name="T63" fmla="*/ 688975 h 438"/>
                  <a:gd name="T64" fmla="*/ 206375 w 162"/>
                  <a:gd name="T65" fmla="*/ 676275 h 438"/>
                  <a:gd name="T66" fmla="*/ 225425 w 162"/>
                  <a:gd name="T67" fmla="*/ 669925 h 438"/>
                  <a:gd name="T68" fmla="*/ 254000 w 162"/>
                  <a:gd name="T69" fmla="*/ 666750 h 438"/>
                  <a:gd name="T70" fmla="*/ 222250 w 162"/>
                  <a:gd name="T71" fmla="*/ 596900 h 438"/>
                  <a:gd name="T72" fmla="*/ 187325 w 162"/>
                  <a:gd name="T73" fmla="*/ 527050 h 438"/>
                  <a:gd name="T74" fmla="*/ 158750 w 162"/>
                  <a:gd name="T75" fmla="*/ 495300 h 438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162"/>
                  <a:gd name="T115" fmla="*/ 0 h 438"/>
                  <a:gd name="T116" fmla="*/ 162 w 162"/>
                  <a:gd name="T117" fmla="*/ 438 h 438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162" h="438">
                    <a:moveTo>
                      <a:pt x="100" y="312"/>
                    </a:moveTo>
                    <a:lnTo>
                      <a:pt x="100" y="324"/>
                    </a:lnTo>
                    <a:lnTo>
                      <a:pt x="100" y="332"/>
                    </a:lnTo>
                    <a:lnTo>
                      <a:pt x="98" y="340"/>
                    </a:lnTo>
                    <a:lnTo>
                      <a:pt x="98" y="344"/>
                    </a:lnTo>
                    <a:lnTo>
                      <a:pt x="96" y="350"/>
                    </a:lnTo>
                    <a:lnTo>
                      <a:pt x="94" y="356"/>
                    </a:lnTo>
                    <a:lnTo>
                      <a:pt x="88" y="366"/>
                    </a:lnTo>
                    <a:lnTo>
                      <a:pt x="94" y="356"/>
                    </a:lnTo>
                    <a:lnTo>
                      <a:pt x="96" y="350"/>
                    </a:lnTo>
                    <a:lnTo>
                      <a:pt x="98" y="344"/>
                    </a:lnTo>
                    <a:lnTo>
                      <a:pt x="98" y="340"/>
                    </a:lnTo>
                    <a:lnTo>
                      <a:pt x="100" y="332"/>
                    </a:lnTo>
                    <a:lnTo>
                      <a:pt x="100" y="324"/>
                    </a:lnTo>
                    <a:lnTo>
                      <a:pt x="100" y="312"/>
                    </a:lnTo>
                    <a:lnTo>
                      <a:pt x="100" y="298"/>
                    </a:lnTo>
                    <a:lnTo>
                      <a:pt x="72" y="234"/>
                    </a:lnTo>
                    <a:lnTo>
                      <a:pt x="60" y="206"/>
                    </a:lnTo>
                    <a:lnTo>
                      <a:pt x="58" y="202"/>
                    </a:lnTo>
                    <a:lnTo>
                      <a:pt x="40" y="146"/>
                    </a:lnTo>
                    <a:lnTo>
                      <a:pt x="22" y="96"/>
                    </a:lnTo>
                    <a:lnTo>
                      <a:pt x="16" y="70"/>
                    </a:lnTo>
                    <a:lnTo>
                      <a:pt x="10" y="46"/>
                    </a:lnTo>
                    <a:lnTo>
                      <a:pt x="0" y="0"/>
                    </a:lnTo>
                    <a:lnTo>
                      <a:pt x="4" y="36"/>
                    </a:lnTo>
                    <a:lnTo>
                      <a:pt x="6" y="54"/>
                    </a:lnTo>
                    <a:lnTo>
                      <a:pt x="6" y="74"/>
                    </a:lnTo>
                    <a:lnTo>
                      <a:pt x="10" y="108"/>
                    </a:lnTo>
                    <a:lnTo>
                      <a:pt x="14" y="140"/>
                    </a:lnTo>
                    <a:lnTo>
                      <a:pt x="20" y="172"/>
                    </a:lnTo>
                    <a:lnTo>
                      <a:pt x="24" y="186"/>
                    </a:lnTo>
                    <a:lnTo>
                      <a:pt x="26" y="202"/>
                    </a:lnTo>
                    <a:lnTo>
                      <a:pt x="32" y="230"/>
                    </a:lnTo>
                    <a:lnTo>
                      <a:pt x="34" y="236"/>
                    </a:lnTo>
                    <a:lnTo>
                      <a:pt x="36" y="238"/>
                    </a:lnTo>
                    <a:lnTo>
                      <a:pt x="36" y="240"/>
                    </a:lnTo>
                    <a:lnTo>
                      <a:pt x="36" y="244"/>
                    </a:lnTo>
                    <a:lnTo>
                      <a:pt x="38" y="258"/>
                    </a:lnTo>
                    <a:lnTo>
                      <a:pt x="44" y="286"/>
                    </a:lnTo>
                    <a:lnTo>
                      <a:pt x="46" y="290"/>
                    </a:lnTo>
                    <a:lnTo>
                      <a:pt x="52" y="306"/>
                    </a:lnTo>
                    <a:lnTo>
                      <a:pt x="56" y="322"/>
                    </a:lnTo>
                    <a:lnTo>
                      <a:pt x="62" y="334"/>
                    </a:lnTo>
                    <a:lnTo>
                      <a:pt x="66" y="346"/>
                    </a:lnTo>
                    <a:lnTo>
                      <a:pt x="70" y="356"/>
                    </a:lnTo>
                    <a:lnTo>
                      <a:pt x="72" y="364"/>
                    </a:lnTo>
                    <a:lnTo>
                      <a:pt x="76" y="372"/>
                    </a:lnTo>
                    <a:lnTo>
                      <a:pt x="80" y="378"/>
                    </a:lnTo>
                    <a:lnTo>
                      <a:pt x="84" y="384"/>
                    </a:lnTo>
                    <a:lnTo>
                      <a:pt x="86" y="388"/>
                    </a:lnTo>
                    <a:lnTo>
                      <a:pt x="66" y="374"/>
                    </a:lnTo>
                    <a:lnTo>
                      <a:pt x="48" y="362"/>
                    </a:lnTo>
                    <a:lnTo>
                      <a:pt x="48" y="364"/>
                    </a:lnTo>
                    <a:lnTo>
                      <a:pt x="50" y="380"/>
                    </a:lnTo>
                    <a:lnTo>
                      <a:pt x="50" y="384"/>
                    </a:lnTo>
                    <a:lnTo>
                      <a:pt x="50" y="392"/>
                    </a:lnTo>
                    <a:lnTo>
                      <a:pt x="46" y="404"/>
                    </a:lnTo>
                    <a:lnTo>
                      <a:pt x="44" y="418"/>
                    </a:lnTo>
                    <a:lnTo>
                      <a:pt x="38" y="438"/>
                    </a:lnTo>
                    <a:lnTo>
                      <a:pt x="54" y="436"/>
                    </a:lnTo>
                    <a:lnTo>
                      <a:pt x="68" y="434"/>
                    </a:lnTo>
                    <a:lnTo>
                      <a:pt x="98" y="430"/>
                    </a:lnTo>
                    <a:lnTo>
                      <a:pt x="130" y="426"/>
                    </a:lnTo>
                    <a:lnTo>
                      <a:pt x="138" y="422"/>
                    </a:lnTo>
                    <a:lnTo>
                      <a:pt x="142" y="422"/>
                    </a:lnTo>
                    <a:lnTo>
                      <a:pt x="144" y="422"/>
                    </a:lnTo>
                    <a:lnTo>
                      <a:pt x="160" y="420"/>
                    </a:lnTo>
                    <a:lnTo>
                      <a:pt x="162" y="418"/>
                    </a:lnTo>
                    <a:lnTo>
                      <a:pt x="140" y="376"/>
                    </a:lnTo>
                    <a:lnTo>
                      <a:pt x="118" y="334"/>
                    </a:lnTo>
                    <a:lnTo>
                      <a:pt x="118" y="332"/>
                    </a:lnTo>
                    <a:lnTo>
                      <a:pt x="100" y="298"/>
                    </a:lnTo>
                    <a:lnTo>
                      <a:pt x="100" y="312"/>
                    </a:lnTo>
                    <a:close/>
                  </a:path>
                </a:pathLst>
              </a:custGeom>
              <a:solidFill>
                <a:srgbClr val="CDCCCC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>
                  <a:solidFill>
                    <a:sysClr val="windowText" lastClr="000000"/>
                  </a:solidFill>
                  <a:latin typeface="+mn-lt"/>
                  <a:cs typeface="+mn-cs"/>
                </a:endParaRPr>
              </a:p>
            </p:txBody>
          </p:sp>
          <p:sp>
            <p:nvSpPr>
              <p:cNvPr id="98" name="Freeform 70"/>
              <p:cNvSpPr>
                <a:spLocks/>
              </p:cNvSpPr>
              <p:nvPr/>
            </p:nvSpPr>
            <p:spPr bwMode="auto">
              <a:xfrm>
                <a:off x="690963" y="2408648"/>
                <a:ext cx="237238" cy="887773"/>
              </a:xfrm>
              <a:custGeom>
                <a:avLst/>
                <a:gdLst>
                  <a:gd name="T0" fmla="*/ 184150 w 148"/>
                  <a:gd name="T1" fmla="*/ 438150 h 558"/>
                  <a:gd name="T2" fmla="*/ 161925 w 148"/>
                  <a:gd name="T3" fmla="*/ 190500 h 558"/>
                  <a:gd name="T4" fmla="*/ 231775 w 148"/>
                  <a:gd name="T5" fmla="*/ 50800 h 558"/>
                  <a:gd name="T6" fmla="*/ 234950 w 148"/>
                  <a:gd name="T7" fmla="*/ 31750 h 558"/>
                  <a:gd name="T8" fmla="*/ 219075 w 148"/>
                  <a:gd name="T9" fmla="*/ 0 h 558"/>
                  <a:gd name="T10" fmla="*/ 209550 w 148"/>
                  <a:gd name="T11" fmla="*/ 6350 h 558"/>
                  <a:gd name="T12" fmla="*/ 206375 w 148"/>
                  <a:gd name="T13" fmla="*/ 15875 h 558"/>
                  <a:gd name="T14" fmla="*/ 104775 w 148"/>
                  <a:gd name="T15" fmla="*/ 285750 h 558"/>
                  <a:gd name="T16" fmla="*/ 79375 w 148"/>
                  <a:gd name="T17" fmla="*/ 520700 h 558"/>
                  <a:gd name="T18" fmla="*/ 0 w 148"/>
                  <a:gd name="T19" fmla="*/ 885825 h 558"/>
                  <a:gd name="T20" fmla="*/ 117475 w 148"/>
                  <a:gd name="T21" fmla="*/ 606425 h 558"/>
                  <a:gd name="T22" fmla="*/ 184150 w 148"/>
                  <a:gd name="T23" fmla="*/ 438150 h 558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148"/>
                  <a:gd name="T37" fmla="*/ 0 h 558"/>
                  <a:gd name="T38" fmla="*/ 148 w 148"/>
                  <a:gd name="T39" fmla="*/ 558 h 558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148" h="558">
                    <a:moveTo>
                      <a:pt x="116" y="276"/>
                    </a:moveTo>
                    <a:lnTo>
                      <a:pt x="102" y="120"/>
                    </a:lnTo>
                    <a:lnTo>
                      <a:pt x="146" y="32"/>
                    </a:lnTo>
                    <a:lnTo>
                      <a:pt x="148" y="20"/>
                    </a:lnTo>
                    <a:lnTo>
                      <a:pt x="138" y="0"/>
                    </a:lnTo>
                    <a:lnTo>
                      <a:pt x="132" y="4"/>
                    </a:lnTo>
                    <a:lnTo>
                      <a:pt x="130" y="10"/>
                    </a:lnTo>
                    <a:lnTo>
                      <a:pt x="66" y="180"/>
                    </a:lnTo>
                    <a:lnTo>
                      <a:pt x="50" y="328"/>
                    </a:lnTo>
                    <a:lnTo>
                      <a:pt x="0" y="558"/>
                    </a:lnTo>
                    <a:lnTo>
                      <a:pt x="74" y="382"/>
                    </a:lnTo>
                    <a:lnTo>
                      <a:pt x="116" y="276"/>
                    </a:lnTo>
                    <a:close/>
                  </a:path>
                </a:pathLst>
              </a:custGeom>
              <a:solidFill>
                <a:srgbClr val="010101"/>
              </a:solidFill>
              <a:ln w="8">
                <a:solidFill>
                  <a:srgbClr val="01010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>
                  <a:solidFill>
                    <a:sysClr val="windowText" lastClr="000000"/>
                  </a:solidFill>
                  <a:latin typeface="+mn-lt"/>
                  <a:cs typeface="+mn-cs"/>
                </a:endParaRPr>
              </a:p>
            </p:txBody>
          </p:sp>
          <p:sp>
            <p:nvSpPr>
              <p:cNvPr id="99" name="Freeform 71"/>
              <p:cNvSpPr>
                <a:spLocks/>
              </p:cNvSpPr>
              <p:nvPr/>
            </p:nvSpPr>
            <p:spPr bwMode="auto">
              <a:xfrm>
                <a:off x="1042430" y="3126934"/>
                <a:ext cx="61504" cy="225979"/>
              </a:xfrm>
              <a:custGeom>
                <a:avLst/>
                <a:gdLst>
                  <a:gd name="T0" fmla="*/ 50800 w 38"/>
                  <a:gd name="T1" fmla="*/ 161925 h 140"/>
                  <a:gd name="T2" fmla="*/ 31750 w 38"/>
                  <a:gd name="T3" fmla="*/ 92075 h 140"/>
                  <a:gd name="T4" fmla="*/ 28575 w 38"/>
                  <a:gd name="T5" fmla="*/ 73025 h 140"/>
                  <a:gd name="T6" fmla="*/ 25400 w 38"/>
                  <a:gd name="T7" fmla="*/ 50800 h 140"/>
                  <a:gd name="T8" fmla="*/ 22225 w 38"/>
                  <a:gd name="T9" fmla="*/ 28575 h 140"/>
                  <a:gd name="T10" fmla="*/ 19050 w 38"/>
                  <a:gd name="T11" fmla="*/ 0 h 140"/>
                  <a:gd name="T12" fmla="*/ 12700 w 38"/>
                  <a:gd name="T13" fmla="*/ 0 h 140"/>
                  <a:gd name="T14" fmla="*/ 12700 w 38"/>
                  <a:gd name="T15" fmla="*/ 15875 h 140"/>
                  <a:gd name="T16" fmla="*/ 12700 w 38"/>
                  <a:gd name="T17" fmla="*/ 34925 h 140"/>
                  <a:gd name="T18" fmla="*/ 12700 w 38"/>
                  <a:gd name="T19" fmla="*/ 53975 h 140"/>
                  <a:gd name="T20" fmla="*/ 9525 w 38"/>
                  <a:gd name="T21" fmla="*/ 79375 h 140"/>
                  <a:gd name="T22" fmla="*/ 9525 w 38"/>
                  <a:gd name="T23" fmla="*/ 104775 h 140"/>
                  <a:gd name="T24" fmla="*/ 6350 w 38"/>
                  <a:gd name="T25" fmla="*/ 136525 h 140"/>
                  <a:gd name="T26" fmla="*/ 6350 w 38"/>
                  <a:gd name="T27" fmla="*/ 168275 h 140"/>
                  <a:gd name="T28" fmla="*/ 3175 w 38"/>
                  <a:gd name="T29" fmla="*/ 206375 h 140"/>
                  <a:gd name="T30" fmla="*/ 0 w 38"/>
                  <a:gd name="T31" fmla="*/ 215900 h 140"/>
                  <a:gd name="T32" fmla="*/ 60325 w 38"/>
                  <a:gd name="T33" fmla="*/ 222250 h 140"/>
                  <a:gd name="T34" fmla="*/ 57150 w 38"/>
                  <a:gd name="T35" fmla="*/ 190500 h 140"/>
                  <a:gd name="T36" fmla="*/ 50800 w 38"/>
                  <a:gd name="T37" fmla="*/ 161925 h 140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w 38"/>
                  <a:gd name="T58" fmla="*/ 0 h 140"/>
                  <a:gd name="T59" fmla="*/ 38 w 38"/>
                  <a:gd name="T60" fmla="*/ 140 h 140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T57" t="T58" r="T59" b="T60"/>
                <a:pathLst>
                  <a:path w="38" h="140">
                    <a:moveTo>
                      <a:pt x="32" y="102"/>
                    </a:moveTo>
                    <a:lnTo>
                      <a:pt x="20" y="58"/>
                    </a:lnTo>
                    <a:lnTo>
                      <a:pt x="18" y="46"/>
                    </a:lnTo>
                    <a:lnTo>
                      <a:pt x="16" y="32"/>
                    </a:lnTo>
                    <a:lnTo>
                      <a:pt x="14" y="18"/>
                    </a:lnTo>
                    <a:lnTo>
                      <a:pt x="12" y="0"/>
                    </a:lnTo>
                    <a:lnTo>
                      <a:pt x="8" y="0"/>
                    </a:lnTo>
                    <a:lnTo>
                      <a:pt x="8" y="10"/>
                    </a:lnTo>
                    <a:lnTo>
                      <a:pt x="8" y="22"/>
                    </a:lnTo>
                    <a:lnTo>
                      <a:pt x="8" y="34"/>
                    </a:lnTo>
                    <a:lnTo>
                      <a:pt x="6" y="50"/>
                    </a:lnTo>
                    <a:lnTo>
                      <a:pt x="6" y="66"/>
                    </a:lnTo>
                    <a:lnTo>
                      <a:pt x="4" y="86"/>
                    </a:lnTo>
                    <a:lnTo>
                      <a:pt x="4" y="106"/>
                    </a:lnTo>
                    <a:lnTo>
                      <a:pt x="2" y="130"/>
                    </a:lnTo>
                    <a:lnTo>
                      <a:pt x="0" y="136"/>
                    </a:lnTo>
                    <a:lnTo>
                      <a:pt x="38" y="140"/>
                    </a:lnTo>
                    <a:lnTo>
                      <a:pt x="36" y="120"/>
                    </a:lnTo>
                    <a:lnTo>
                      <a:pt x="32" y="102"/>
                    </a:lnTo>
                    <a:close/>
                  </a:path>
                </a:pathLst>
              </a:custGeom>
              <a:solidFill>
                <a:srgbClr val="CDCCCC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>
                  <a:solidFill>
                    <a:sysClr val="windowText" lastClr="000000"/>
                  </a:solidFill>
                  <a:latin typeface="+mn-lt"/>
                  <a:cs typeface="+mn-cs"/>
                </a:endParaRPr>
              </a:p>
            </p:txBody>
          </p:sp>
          <p:sp>
            <p:nvSpPr>
              <p:cNvPr id="100" name="Freeform 72"/>
              <p:cNvSpPr>
                <a:spLocks/>
              </p:cNvSpPr>
              <p:nvPr/>
            </p:nvSpPr>
            <p:spPr bwMode="auto">
              <a:xfrm>
                <a:off x="647026" y="3013945"/>
                <a:ext cx="219670" cy="847422"/>
              </a:xfrm>
              <a:custGeom>
                <a:avLst/>
                <a:gdLst>
                  <a:gd name="T0" fmla="*/ 209550 w 140"/>
                  <a:gd name="T1" fmla="*/ 358775 h 532"/>
                  <a:gd name="T2" fmla="*/ 222250 w 140"/>
                  <a:gd name="T3" fmla="*/ 282575 h 532"/>
                  <a:gd name="T4" fmla="*/ 174625 w 140"/>
                  <a:gd name="T5" fmla="*/ 260350 h 532"/>
                  <a:gd name="T6" fmla="*/ 171450 w 140"/>
                  <a:gd name="T7" fmla="*/ 257175 h 532"/>
                  <a:gd name="T8" fmla="*/ 165100 w 140"/>
                  <a:gd name="T9" fmla="*/ 0 h 532"/>
                  <a:gd name="T10" fmla="*/ 47625 w 140"/>
                  <a:gd name="T11" fmla="*/ 279400 h 532"/>
                  <a:gd name="T12" fmla="*/ 22225 w 140"/>
                  <a:gd name="T13" fmla="*/ 358775 h 532"/>
                  <a:gd name="T14" fmla="*/ 22225 w 140"/>
                  <a:gd name="T15" fmla="*/ 361950 h 532"/>
                  <a:gd name="T16" fmla="*/ 15875 w 140"/>
                  <a:gd name="T17" fmla="*/ 406400 h 532"/>
                  <a:gd name="T18" fmla="*/ 6350 w 140"/>
                  <a:gd name="T19" fmla="*/ 511175 h 532"/>
                  <a:gd name="T20" fmla="*/ 0 w 140"/>
                  <a:gd name="T21" fmla="*/ 577850 h 532"/>
                  <a:gd name="T22" fmla="*/ 3175 w 140"/>
                  <a:gd name="T23" fmla="*/ 577850 h 532"/>
                  <a:gd name="T24" fmla="*/ 6350 w 140"/>
                  <a:gd name="T25" fmla="*/ 844550 h 532"/>
                  <a:gd name="T26" fmla="*/ 123825 w 140"/>
                  <a:gd name="T27" fmla="*/ 339725 h 532"/>
                  <a:gd name="T28" fmla="*/ 209550 w 140"/>
                  <a:gd name="T29" fmla="*/ 358775 h 532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140"/>
                  <a:gd name="T46" fmla="*/ 0 h 532"/>
                  <a:gd name="T47" fmla="*/ 140 w 140"/>
                  <a:gd name="T48" fmla="*/ 532 h 532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140" h="532">
                    <a:moveTo>
                      <a:pt x="132" y="226"/>
                    </a:moveTo>
                    <a:lnTo>
                      <a:pt x="140" y="178"/>
                    </a:lnTo>
                    <a:lnTo>
                      <a:pt x="110" y="164"/>
                    </a:lnTo>
                    <a:lnTo>
                      <a:pt x="108" y="162"/>
                    </a:lnTo>
                    <a:lnTo>
                      <a:pt x="104" y="0"/>
                    </a:lnTo>
                    <a:lnTo>
                      <a:pt x="30" y="176"/>
                    </a:lnTo>
                    <a:lnTo>
                      <a:pt x="14" y="226"/>
                    </a:lnTo>
                    <a:lnTo>
                      <a:pt x="14" y="228"/>
                    </a:lnTo>
                    <a:lnTo>
                      <a:pt x="10" y="256"/>
                    </a:lnTo>
                    <a:lnTo>
                      <a:pt x="4" y="322"/>
                    </a:lnTo>
                    <a:lnTo>
                      <a:pt x="0" y="364"/>
                    </a:lnTo>
                    <a:lnTo>
                      <a:pt x="2" y="364"/>
                    </a:lnTo>
                    <a:lnTo>
                      <a:pt x="4" y="532"/>
                    </a:lnTo>
                    <a:lnTo>
                      <a:pt x="78" y="214"/>
                    </a:lnTo>
                    <a:lnTo>
                      <a:pt x="132" y="226"/>
                    </a:lnTo>
                    <a:close/>
                  </a:path>
                </a:pathLst>
              </a:custGeom>
              <a:solidFill>
                <a:srgbClr val="01010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>
                  <a:solidFill>
                    <a:sysClr val="windowText" lastClr="000000"/>
                  </a:solidFill>
                  <a:latin typeface="+mn-lt"/>
                  <a:cs typeface="+mn-cs"/>
                </a:endParaRPr>
              </a:p>
            </p:txBody>
          </p:sp>
          <p:sp>
            <p:nvSpPr>
              <p:cNvPr id="101" name="Freeform 73"/>
              <p:cNvSpPr>
                <a:spLocks/>
              </p:cNvSpPr>
              <p:nvPr/>
            </p:nvSpPr>
            <p:spPr bwMode="auto">
              <a:xfrm>
                <a:off x="603096" y="3296421"/>
                <a:ext cx="535985" cy="1606059"/>
              </a:xfrm>
              <a:custGeom>
                <a:avLst/>
                <a:gdLst>
                  <a:gd name="T0" fmla="*/ 79375 w 336"/>
                  <a:gd name="T1" fmla="*/ 1562100 h 1014"/>
                  <a:gd name="T2" fmla="*/ 127000 w 336"/>
                  <a:gd name="T3" fmla="*/ 1463675 h 1014"/>
                  <a:gd name="T4" fmla="*/ 136525 w 336"/>
                  <a:gd name="T5" fmla="*/ 1143000 h 1014"/>
                  <a:gd name="T6" fmla="*/ 120650 w 336"/>
                  <a:gd name="T7" fmla="*/ 1092200 h 1014"/>
                  <a:gd name="T8" fmla="*/ 158750 w 336"/>
                  <a:gd name="T9" fmla="*/ 1012825 h 1014"/>
                  <a:gd name="T10" fmla="*/ 215900 w 336"/>
                  <a:gd name="T11" fmla="*/ 555625 h 1014"/>
                  <a:gd name="T12" fmla="*/ 279400 w 336"/>
                  <a:gd name="T13" fmla="*/ 530225 h 1014"/>
                  <a:gd name="T14" fmla="*/ 206375 w 336"/>
                  <a:gd name="T15" fmla="*/ 447675 h 1014"/>
                  <a:gd name="T16" fmla="*/ 314325 w 336"/>
                  <a:gd name="T17" fmla="*/ 447675 h 1014"/>
                  <a:gd name="T18" fmla="*/ 238125 w 336"/>
                  <a:gd name="T19" fmla="*/ 346075 h 1014"/>
                  <a:gd name="T20" fmla="*/ 304800 w 336"/>
                  <a:gd name="T21" fmla="*/ 95250 h 1014"/>
                  <a:gd name="T22" fmla="*/ 403225 w 336"/>
                  <a:gd name="T23" fmla="*/ 311150 h 1014"/>
                  <a:gd name="T24" fmla="*/ 403225 w 336"/>
                  <a:gd name="T25" fmla="*/ 142875 h 1014"/>
                  <a:gd name="T26" fmla="*/ 390525 w 336"/>
                  <a:gd name="T27" fmla="*/ 136525 h 1014"/>
                  <a:gd name="T28" fmla="*/ 374650 w 336"/>
                  <a:gd name="T29" fmla="*/ 133350 h 1014"/>
                  <a:gd name="T30" fmla="*/ 377825 w 336"/>
                  <a:gd name="T31" fmla="*/ 53975 h 1014"/>
                  <a:gd name="T32" fmla="*/ 396875 w 336"/>
                  <a:gd name="T33" fmla="*/ 57150 h 1014"/>
                  <a:gd name="T34" fmla="*/ 400050 w 336"/>
                  <a:gd name="T35" fmla="*/ 57150 h 1014"/>
                  <a:gd name="T36" fmla="*/ 403225 w 336"/>
                  <a:gd name="T37" fmla="*/ 60325 h 1014"/>
                  <a:gd name="T38" fmla="*/ 409575 w 336"/>
                  <a:gd name="T39" fmla="*/ 63500 h 1014"/>
                  <a:gd name="T40" fmla="*/ 419100 w 336"/>
                  <a:gd name="T41" fmla="*/ 63500 h 1014"/>
                  <a:gd name="T42" fmla="*/ 425450 w 336"/>
                  <a:gd name="T43" fmla="*/ 63500 h 1014"/>
                  <a:gd name="T44" fmla="*/ 428625 w 336"/>
                  <a:gd name="T45" fmla="*/ 63500 h 1014"/>
                  <a:gd name="T46" fmla="*/ 447675 w 336"/>
                  <a:gd name="T47" fmla="*/ 66675 h 1014"/>
                  <a:gd name="T48" fmla="*/ 466725 w 336"/>
                  <a:gd name="T49" fmla="*/ 66675 h 1014"/>
                  <a:gd name="T50" fmla="*/ 488950 w 336"/>
                  <a:gd name="T51" fmla="*/ 69850 h 1014"/>
                  <a:gd name="T52" fmla="*/ 533400 w 336"/>
                  <a:gd name="T53" fmla="*/ 69850 h 1014"/>
                  <a:gd name="T54" fmla="*/ 533400 w 336"/>
                  <a:gd name="T55" fmla="*/ 53975 h 1014"/>
                  <a:gd name="T56" fmla="*/ 501650 w 336"/>
                  <a:gd name="T57" fmla="*/ 53975 h 1014"/>
                  <a:gd name="T58" fmla="*/ 441325 w 336"/>
                  <a:gd name="T59" fmla="*/ 47625 h 1014"/>
                  <a:gd name="T60" fmla="*/ 431800 w 336"/>
                  <a:gd name="T61" fmla="*/ 44450 h 1014"/>
                  <a:gd name="T62" fmla="*/ 422275 w 336"/>
                  <a:gd name="T63" fmla="*/ 44450 h 1014"/>
                  <a:gd name="T64" fmla="*/ 403225 w 336"/>
                  <a:gd name="T65" fmla="*/ 41275 h 1014"/>
                  <a:gd name="T66" fmla="*/ 361950 w 336"/>
                  <a:gd name="T67" fmla="*/ 31750 h 1014"/>
                  <a:gd name="T68" fmla="*/ 323850 w 336"/>
                  <a:gd name="T69" fmla="*/ 22225 h 1014"/>
                  <a:gd name="T70" fmla="*/ 307975 w 336"/>
                  <a:gd name="T71" fmla="*/ 15875 h 1014"/>
                  <a:gd name="T72" fmla="*/ 285750 w 336"/>
                  <a:gd name="T73" fmla="*/ 9525 h 1014"/>
                  <a:gd name="T74" fmla="*/ 260350 w 336"/>
                  <a:gd name="T75" fmla="*/ 0 h 1014"/>
                  <a:gd name="T76" fmla="*/ 247650 w 336"/>
                  <a:gd name="T77" fmla="*/ 76200 h 1014"/>
                  <a:gd name="T78" fmla="*/ 161925 w 336"/>
                  <a:gd name="T79" fmla="*/ 57150 h 1014"/>
                  <a:gd name="T80" fmla="*/ 44450 w 336"/>
                  <a:gd name="T81" fmla="*/ 561975 h 1014"/>
                  <a:gd name="T82" fmla="*/ 47625 w 336"/>
                  <a:gd name="T83" fmla="*/ 736600 h 1014"/>
                  <a:gd name="T84" fmla="*/ 0 w 336"/>
                  <a:gd name="T85" fmla="*/ 1466850 h 1014"/>
                  <a:gd name="T86" fmla="*/ 12700 w 336"/>
                  <a:gd name="T87" fmla="*/ 1549400 h 1014"/>
                  <a:gd name="T88" fmla="*/ 3175 w 336"/>
                  <a:gd name="T89" fmla="*/ 1577975 h 1014"/>
                  <a:gd name="T90" fmla="*/ 117475 w 336"/>
                  <a:gd name="T91" fmla="*/ 1609725 h 1014"/>
                  <a:gd name="T92" fmla="*/ 79375 w 336"/>
                  <a:gd name="T93" fmla="*/ 1562100 h 1014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w 336"/>
                  <a:gd name="T142" fmla="*/ 0 h 1014"/>
                  <a:gd name="T143" fmla="*/ 336 w 336"/>
                  <a:gd name="T144" fmla="*/ 1014 h 1014"/>
                </a:gdLst>
                <a:ahLst/>
                <a:cxnLst>
                  <a:cxn ang="T94">
                    <a:pos x="T0" y="T1"/>
                  </a:cxn>
                  <a:cxn ang="T95">
                    <a:pos x="T2" y="T3"/>
                  </a:cxn>
                  <a:cxn ang="T96">
                    <a:pos x="T4" y="T5"/>
                  </a:cxn>
                  <a:cxn ang="T97">
                    <a:pos x="T6" y="T7"/>
                  </a:cxn>
                  <a:cxn ang="T98">
                    <a:pos x="T8" y="T9"/>
                  </a:cxn>
                  <a:cxn ang="T99">
                    <a:pos x="T10" y="T11"/>
                  </a:cxn>
                  <a:cxn ang="T100">
                    <a:pos x="T12" y="T13"/>
                  </a:cxn>
                  <a:cxn ang="T101">
                    <a:pos x="T14" y="T15"/>
                  </a:cxn>
                  <a:cxn ang="T102">
                    <a:pos x="T16" y="T17"/>
                  </a:cxn>
                  <a:cxn ang="T103">
                    <a:pos x="T18" y="T19"/>
                  </a:cxn>
                  <a:cxn ang="T104">
                    <a:pos x="T20" y="T21"/>
                  </a:cxn>
                  <a:cxn ang="T105">
                    <a:pos x="T22" y="T23"/>
                  </a:cxn>
                  <a:cxn ang="T106">
                    <a:pos x="T24" y="T25"/>
                  </a:cxn>
                  <a:cxn ang="T107">
                    <a:pos x="T26" y="T27"/>
                  </a:cxn>
                  <a:cxn ang="T108">
                    <a:pos x="T28" y="T29"/>
                  </a:cxn>
                  <a:cxn ang="T109">
                    <a:pos x="T30" y="T31"/>
                  </a:cxn>
                  <a:cxn ang="T110">
                    <a:pos x="T32" y="T33"/>
                  </a:cxn>
                  <a:cxn ang="T111">
                    <a:pos x="T34" y="T35"/>
                  </a:cxn>
                  <a:cxn ang="T112">
                    <a:pos x="T36" y="T37"/>
                  </a:cxn>
                  <a:cxn ang="T113">
                    <a:pos x="T38" y="T39"/>
                  </a:cxn>
                  <a:cxn ang="T114">
                    <a:pos x="T40" y="T41"/>
                  </a:cxn>
                  <a:cxn ang="T115">
                    <a:pos x="T42" y="T43"/>
                  </a:cxn>
                  <a:cxn ang="T116">
                    <a:pos x="T44" y="T45"/>
                  </a:cxn>
                  <a:cxn ang="T117">
                    <a:pos x="T46" y="T47"/>
                  </a:cxn>
                  <a:cxn ang="T118">
                    <a:pos x="T48" y="T49"/>
                  </a:cxn>
                  <a:cxn ang="T119">
                    <a:pos x="T50" y="T51"/>
                  </a:cxn>
                  <a:cxn ang="T120">
                    <a:pos x="T52" y="T53"/>
                  </a:cxn>
                  <a:cxn ang="T121">
                    <a:pos x="T54" y="T55"/>
                  </a:cxn>
                  <a:cxn ang="T122">
                    <a:pos x="T56" y="T57"/>
                  </a:cxn>
                  <a:cxn ang="T123">
                    <a:pos x="T58" y="T59"/>
                  </a:cxn>
                  <a:cxn ang="T124">
                    <a:pos x="T60" y="T61"/>
                  </a:cxn>
                  <a:cxn ang="T125">
                    <a:pos x="T62" y="T63"/>
                  </a:cxn>
                  <a:cxn ang="T126">
                    <a:pos x="T64" y="T65"/>
                  </a:cxn>
                  <a:cxn ang="T127">
                    <a:pos x="T66" y="T67"/>
                  </a:cxn>
                  <a:cxn ang="T128">
                    <a:pos x="T68" y="T69"/>
                  </a:cxn>
                  <a:cxn ang="T129">
                    <a:pos x="T70" y="T71"/>
                  </a:cxn>
                  <a:cxn ang="T130">
                    <a:pos x="T72" y="T73"/>
                  </a:cxn>
                  <a:cxn ang="T131">
                    <a:pos x="T74" y="T75"/>
                  </a:cxn>
                  <a:cxn ang="T132">
                    <a:pos x="T76" y="T77"/>
                  </a:cxn>
                  <a:cxn ang="T133">
                    <a:pos x="T78" y="T79"/>
                  </a:cxn>
                  <a:cxn ang="T134">
                    <a:pos x="T80" y="T81"/>
                  </a:cxn>
                  <a:cxn ang="T135">
                    <a:pos x="T82" y="T83"/>
                  </a:cxn>
                  <a:cxn ang="T136">
                    <a:pos x="T84" y="T85"/>
                  </a:cxn>
                  <a:cxn ang="T137">
                    <a:pos x="T86" y="T87"/>
                  </a:cxn>
                  <a:cxn ang="T138">
                    <a:pos x="T88" y="T89"/>
                  </a:cxn>
                  <a:cxn ang="T139">
                    <a:pos x="T90" y="T91"/>
                  </a:cxn>
                  <a:cxn ang="T140">
                    <a:pos x="T92" y="T93"/>
                  </a:cxn>
                </a:cxnLst>
                <a:rect l="T141" t="T142" r="T143" b="T144"/>
                <a:pathLst>
                  <a:path w="336" h="1014">
                    <a:moveTo>
                      <a:pt x="50" y="984"/>
                    </a:moveTo>
                    <a:lnTo>
                      <a:pt x="80" y="922"/>
                    </a:lnTo>
                    <a:lnTo>
                      <a:pt x="86" y="720"/>
                    </a:lnTo>
                    <a:lnTo>
                      <a:pt x="76" y="688"/>
                    </a:lnTo>
                    <a:lnTo>
                      <a:pt x="100" y="638"/>
                    </a:lnTo>
                    <a:lnTo>
                      <a:pt x="136" y="350"/>
                    </a:lnTo>
                    <a:lnTo>
                      <a:pt x="176" y="334"/>
                    </a:lnTo>
                    <a:lnTo>
                      <a:pt x="130" y="282"/>
                    </a:lnTo>
                    <a:lnTo>
                      <a:pt x="198" y="282"/>
                    </a:lnTo>
                    <a:lnTo>
                      <a:pt x="150" y="218"/>
                    </a:lnTo>
                    <a:lnTo>
                      <a:pt x="192" y="60"/>
                    </a:lnTo>
                    <a:lnTo>
                      <a:pt x="254" y="196"/>
                    </a:lnTo>
                    <a:lnTo>
                      <a:pt x="254" y="90"/>
                    </a:lnTo>
                    <a:lnTo>
                      <a:pt x="246" y="86"/>
                    </a:lnTo>
                    <a:lnTo>
                      <a:pt x="236" y="84"/>
                    </a:lnTo>
                    <a:lnTo>
                      <a:pt x="238" y="34"/>
                    </a:lnTo>
                    <a:lnTo>
                      <a:pt x="250" y="36"/>
                    </a:lnTo>
                    <a:lnTo>
                      <a:pt x="252" y="36"/>
                    </a:lnTo>
                    <a:lnTo>
                      <a:pt x="254" y="38"/>
                    </a:lnTo>
                    <a:lnTo>
                      <a:pt x="258" y="40"/>
                    </a:lnTo>
                    <a:lnTo>
                      <a:pt x="264" y="40"/>
                    </a:lnTo>
                    <a:lnTo>
                      <a:pt x="268" y="40"/>
                    </a:lnTo>
                    <a:lnTo>
                      <a:pt x="270" y="40"/>
                    </a:lnTo>
                    <a:lnTo>
                      <a:pt x="282" y="42"/>
                    </a:lnTo>
                    <a:lnTo>
                      <a:pt x="294" y="42"/>
                    </a:lnTo>
                    <a:lnTo>
                      <a:pt x="308" y="44"/>
                    </a:lnTo>
                    <a:lnTo>
                      <a:pt x="336" y="44"/>
                    </a:lnTo>
                    <a:lnTo>
                      <a:pt x="336" y="34"/>
                    </a:lnTo>
                    <a:lnTo>
                      <a:pt x="316" y="34"/>
                    </a:lnTo>
                    <a:lnTo>
                      <a:pt x="278" y="30"/>
                    </a:lnTo>
                    <a:lnTo>
                      <a:pt x="272" y="28"/>
                    </a:lnTo>
                    <a:lnTo>
                      <a:pt x="266" y="28"/>
                    </a:lnTo>
                    <a:lnTo>
                      <a:pt x="254" y="26"/>
                    </a:lnTo>
                    <a:lnTo>
                      <a:pt x="228" y="20"/>
                    </a:lnTo>
                    <a:lnTo>
                      <a:pt x="204" y="14"/>
                    </a:lnTo>
                    <a:lnTo>
                      <a:pt x="194" y="10"/>
                    </a:lnTo>
                    <a:lnTo>
                      <a:pt x="180" y="6"/>
                    </a:lnTo>
                    <a:lnTo>
                      <a:pt x="164" y="0"/>
                    </a:lnTo>
                    <a:lnTo>
                      <a:pt x="156" y="48"/>
                    </a:lnTo>
                    <a:lnTo>
                      <a:pt x="102" y="36"/>
                    </a:lnTo>
                    <a:lnTo>
                      <a:pt x="28" y="354"/>
                    </a:lnTo>
                    <a:lnTo>
                      <a:pt x="30" y="464"/>
                    </a:lnTo>
                    <a:lnTo>
                      <a:pt x="0" y="924"/>
                    </a:lnTo>
                    <a:lnTo>
                      <a:pt x="8" y="976"/>
                    </a:lnTo>
                    <a:lnTo>
                      <a:pt x="2" y="994"/>
                    </a:lnTo>
                    <a:lnTo>
                      <a:pt x="74" y="1014"/>
                    </a:lnTo>
                    <a:lnTo>
                      <a:pt x="50" y="984"/>
                    </a:lnTo>
                    <a:close/>
                  </a:path>
                </a:pathLst>
              </a:custGeom>
              <a:solidFill>
                <a:srgbClr val="010101"/>
              </a:solidFill>
              <a:ln w="8">
                <a:solidFill>
                  <a:srgbClr val="01010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>
                  <a:solidFill>
                    <a:sysClr val="windowText" lastClr="000000"/>
                  </a:solidFill>
                  <a:latin typeface="+mn-lt"/>
                  <a:cs typeface="+mn-cs"/>
                </a:endParaRPr>
              </a:p>
            </p:txBody>
          </p:sp>
          <p:sp>
            <p:nvSpPr>
              <p:cNvPr id="102" name="Freeform 74"/>
              <p:cNvSpPr>
                <a:spLocks/>
              </p:cNvSpPr>
              <p:nvPr/>
            </p:nvSpPr>
            <p:spPr bwMode="auto">
              <a:xfrm>
                <a:off x="1103934" y="3457834"/>
                <a:ext cx="843522" cy="1614132"/>
              </a:xfrm>
              <a:custGeom>
                <a:avLst/>
                <a:gdLst>
                  <a:gd name="T0" fmla="*/ 685800 w 530"/>
                  <a:gd name="T1" fmla="*/ 1482725 h 1018"/>
                  <a:gd name="T2" fmla="*/ 695325 w 530"/>
                  <a:gd name="T3" fmla="*/ 1393825 h 1018"/>
                  <a:gd name="T4" fmla="*/ 615950 w 530"/>
                  <a:gd name="T5" fmla="*/ 1403350 h 1018"/>
                  <a:gd name="T6" fmla="*/ 647700 w 530"/>
                  <a:gd name="T7" fmla="*/ 1314450 h 1018"/>
                  <a:gd name="T8" fmla="*/ 520700 w 530"/>
                  <a:gd name="T9" fmla="*/ 1060450 h 1018"/>
                  <a:gd name="T10" fmla="*/ 390525 w 530"/>
                  <a:gd name="T11" fmla="*/ 974725 h 1018"/>
                  <a:gd name="T12" fmla="*/ 400050 w 530"/>
                  <a:gd name="T13" fmla="*/ 885825 h 1018"/>
                  <a:gd name="T14" fmla="*/ 206375 w 530"/>
                  <a:gd name="T15" fmla="*/ 396875 h 1018"/>
                  <a:gd name="T16" fmla="*/ 149225 w 530"/>
                  <a:gd name="T17" fmla="*/ 358775 h 1018"/>
                  <a:gd name="T18" fmla="*/ 225425 w 530"/>
                  <a:gd name="T19" fmla="*/ 279400 h 1018"/>
                  <a:gd name="T20" fmla="*/ 85725 w 530"/>
                  <a:gd name="T21" fmla="*/ 263525 h 1018"/>
                  <a:gd name="T22" fmla="*/ 225425 w 530"/>
                  <a:gd name="T23" fmla="*/ 142875 h 1018"/>
                  <a:gd name="T24" fmla="*/ 41275 w 530"/>
                  <a:gd name="T25" fmla="*/ 190500 h 1018"/>
                  <a:gd name="T26" fmla="*/ 161925 w 530"/>
                  <a:gd name="T27" fmla="*/ 0 h 1018"/>
                  <a:gd name="T28" fmla="*/ 0 w 530"/>
                  <a:gd name="T29" fmla="*/ 130175 h 1018"/>
                  <a:gd name="T30" fmla="*/ 3175 w 530"/>
                  <a:gd name="T31" fmla="*/ 431800 h 1018"/>
                  <a:gd name="T32" fmla="*/ 254000 w 530"/>
                  <a:gd name="T33" fmla="*/ 1003300 h 1018"/>
                  <a:gd name="T34" fmla="*/ 609600 w 530"/>
                  <a:gd name="T35" fmla="*/ 1590675 h 1018"/>
                  <a:gd name="T36" fmla="*/ 654050 w 530"/>
                  <a:gd name="T37" fmla="*/ 1603375 h 1018"/>
                  <a:gd name="T38" fmla="*/ 692150 w 530"/>
                  <a:gd name="T39" fmla="*/ 1612900 h 1018"/>
                  <a:gd name="T40" fmla="*/ 733425 w 530"/>
                  <a:gd name="T41" fmla="*/ 1616075 h 1018"/>
                  <a:gd name="T42" fmla="*/ 768350 w 530"/>
                  <a:gd name="T43" fmla="*/ 1616075 h 1018"/>
                  <a:gd name="T44" fmla="*/ 771525 w 530"/>
                  <a:gd name="T45" fmla="*/ 1612900 h 1018"/>
                  <a:gd name="T46" fmla="*/ 841375 w 530"/>
                  <a:gd name="T47" fmla="*/ 1587500 h 1018"/>
                  <a:gd name="T48" fmla="*/ 685800 w 530"/>
                  <a:gd name="T49" fmla="*/ 1482725 h 1018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w 530"/>
                  <a:gd name="T76" fmla="*/ 0 h 1018"/>
                  <a:gd name="T77" fmla="*/ 530 w 530"/>
                  <a:gd name="T78" fmla="*/ 1018 h 1018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T75" t="T76" r="T77" b="T78"/>
                <a:pathLst>
                  <a:path w="530" h="1018">
                    <a:moveTo>
                      <a:pt x="432" y="934"/>
                    </a:moveTo>
                    <a:lnTo>
                      <a:pt x="438" y="878"/>
                    </a:lnTo>
                    <a:lnTo>
                      <a:pt x="388" y="884"/>
                    </a:lnTo>
                    <a:lnTo>
                      <a:pt x="408" y="828"/>
                    </a:lnTo>
                    <a:lnTo>
                      <a:pt x="328" y="668"/>
                    </a:lnTo>
                    <a:lnTo>
                      <a:pt x="246" y="614"/>
                    </a:lnTo>
                    <a:lnTo>
                      <a:pt x="252" y="558"/>
                    </a:lnTo>
                    <a:lnTo>
                      <a:pt x="130" y="250"/>
                    </a:lnTo>
                    <a:lnTo>
                      <a:pt x="94" y="226"/>
                    </a:lnTo>
                    <a:lnTo>
                      <a:pt x="142" y="176"/>
                    </a:lnTo>
                    <a:lnTo>
                      <a:pt x="54" y="166"/>
                    </a:lnTo>
                    <a:lnTo>
                      <a:pt x="142" y="90"/>
                    </a:lnTo>
                    <a:lnTo>
                      <a:pt x="26" y="120"/>
                    </a:lnTo>
                    <a:lnTo>
                      <a:pt x="102" y="0"/>
                    </a:lnTo>
                    <a:lnTo>
                      <a:pt x="0" y="82"/>
                    </a:lnTo>
                    <a:lnTo>
                      <a:pt x="2" y="272"/>
                    </a:lnTo>
                    <a:lnTo>
                      <a:pt x="160" y="632"/>
                    </a:lnTo>
                    <a:lnTo>
                      <a:pt x="384" y="1002"/>
                    </a:lnTo>
                    <a:lnTo>
                      <a:pt x="412" y="1010"/>
                    </a:lnTo>
                    <a:lnTo>
                      <a:pt x="436" y="1016"/>
                    </a:lnTo>
                    <a:lnTo>
                      <a:pt x="462" y="1018"/>
                    </a:lnTo>
                    <a:lnTo>
                      <a:pt x="484" y="1018"/>
                    </a:lnTo>
                    <a:lnTo>
                      <a:pt x="486" y="1016"/>
                    </a:lnTo>
                    <a:lnTo>
                      <a:pt x="530" y="1000"/>
                    </a:lnTo>
                    <a:lnTo>
                      <a:pt x="432" y="934"/>
                    </a:lnTo>
                    <a:close/>
                  </a:path>
                </a:pathLst>
              </a:custGeom>
              <a:solidFill>
                <a:srgbClr val="010101"/>
              </a:solidFill>
              <a:ln w="8">
                <a:solidFill>
                  <a:srgbClr val="01010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>
                  <a:solidFill>
                    <a:sysClr val="windowText" lastClr="000000"/>
                  </a:solidFill>
                  <a:latin typeface="+mn-lt"/>
                  <a:cs typeface="+mn-cs"/>
                </a:endParaRPr>
              </a:p>
            </p:txBody>
          </p:sp>
          <p:sp>
            <p:nvSpPr>
              <p:cNvPr id="103" name="Freeform 75"/>
              <p:cNvSpPr>
                <a:spLocks/>
              </p:cNvSpPr>
              <p:nvPr/>
            </p:nvSpPr>
            <p:spPr bwMode="auto">
              <a:xfrm>
                <a:off x="506439" y="1658074"/>
                <a:ext cx="1625539" cy="3599515"/>
              </a:xfrm>
              <a:custGeom>
                <a:avLst/>
                <a:gdLst>
                  <a:gd name="T0" fmla="*/ 1558925 w 1024"/>
                  <a:gd name="T1" fmla="*/ 3314700 h 2268"/>
                  <a:gd name="T2" fmla="*/ 1558925 w 1024"/>
                  <a:gd name="T3" fmla="*/ 3282950 h 2268"/>
                  <a:gd name="T4" fmla="*/ 1543050 w 1024"/>
                  <a:gd name="T5" fmla="*/ 3241674 h 2268"/>
                  <a:gd name="T6" fmla="*/ 1104900 w 1024"/>
                  <a:gd name="T7" fmla="*/ 1943100 h 2268"/>
                  <a:gd name="T8" fmla="*/ 1466850 w 1024"/>
                  <a:gd name="T9" fmla="*/ 1733550 h 2268"/>
                  <a:gd name="T10" fmla="*/ 1155700 w 1024"/>
                  <a:gd name="T11" fmla="*/ 863600 h 2268"/>
                  <a:gd name="T12" fmla="*/ 1203325 w 1024"/>
                  <a:gd name="T13" fmla="*/ 860425 h 2268"/>
                  <a:gd name="T14" fmla="*/ 1346200 w 1024"/>
                  <a:gd name="T15" fmla="*/ 838200 h 2268"/>
                  <a:gd name="T16" fmla="*/ 1454150 w 1024"/>
                  <a:gd name="T17" fmla="*/ 784225 h 2268"/>
                  <a:gd name="T18" fmla="*/ 1314450 w 1024"/>
                  <a:gd name="T19" fmla="*/ 82550 h 2268"/>
                  <a:gd name="T20" fmla="*/ 1289050 w 1024"/>
                  <a:gd name="T21" fmla="*/ 0 h 2268"/>
                  <a:gd name="T22" fmla="*/ 1133475 w 1024"/>
                  <a:gd name="T23" fmla="*/ 28575 h 2268"/>
                  <a:gd name="T24" fmla="*/ 1111250 w 1024"/>
                  <a:gd name="T25" fmla="*/ 88900 h 2268"/>
                  <a:gd name="T26" fmla="*/ 1101725 w 1024"/>
                  <a:gd name="T27" fmla="*/ 130175 h 2268"/>
                  <a:gd name="T28" fmla="*/ 1143000 w 1024"/>
                  <a:gd name="T29" fmla="*/ 161925 h 2268"/>
                  <a:gd name="T30" fmla="*/ 1174750 w 1024"/>
                  <a:gd name="T31" fmla="*/ 168275 h 2268"/>
                  <a:gd name="T32" fmla="*/ 1181100 w 1024"/>
                  <a:gd name="T33" fmla="*/ 203200 h 2268"/>
                  <a:gd name="T34" fmla="*/ 1216025 w 1024"/>
                  <a:gd name="T35" fmla="*/ 574675 h 2268"/>
                  <a:gd name="T36" fmla="*/ 1193800 w 1024"/>
                  <a:gd name="T37" fmla="*/ 568325 h 2268"/>
                  <a:gd name="T38" fmla="*/ 1190625 w 1024"/>
                  <a:gd name="T39" fmla="*/ 590550 h 2268"/>
                  <a:gd name="T40" fmla="*/ 1133475 w 1024"/>
                  <a:gd name="T41" fmla="*/ 568325 h 2268"/>
                  <a:gd name="T42" fmla="*/ 971550 w 1024"/>
                  <a:gd name="T43" fmla="*/ 498475 h 2268"/>
                  <a:gd name="T44" fmla="*/ 904875 w 1024"/>
                  <a:gd name="T45" fmla="*/ 549275 h 2268"/>
                  <a:gd name="T46" fmla="*/ 885825 w 1024"/>
                  <a:gd name="T47" fmla="*/ 654050 h 2268"/>
                  <a:gd name="T48" fmla="*/ 866775 w 1024"/>
                  <a:gd name="T49" fmla="*/ 777875 h 2268"/>
                  <a:gd name="T50" fmla="*/ 854075 w 1024"/>
                  <a:gd name="T51" fmla="*/ 923925 h 2268"/>
                  <a:gd name="T52" fmla="*/ 844550 w 1024"/>
                  <a:gd name="T53" fmla="*/ 1174750 h 2268"/>
                  <a:gd name="T54" fmla="*/ 844550 w 1024"/>
                  <a:gd name="T55" fmla="*/ 1250950 h 2268"/>
                  <a:gd name="T56" fmla="*/ 844550 w 1024"/>
                  <a:gd name="T57" fmla="*/ 1374775 h 2268"/>
                  <a:gd name="T58" fmla="*/ 854075 w 1024"/>
                  <a:gd name="T59" fmla="*/ 1482725 h 2268"/>
                  <a:gd name="T60" fmla="*/ 863600 w 1024"/>
                  <a:gd name="T61" fmla="*/ 1524000 h 2268"/>
                  <a:gd name="T62" fmla="*/ 933450 w 1024"/>
                  <a:gd name="T63" fmla="*/ 1660525 h 2268"/>
                  <a:gd name="T64" fmla="*/ 930275 w 1024"/>
                  <a:gd name="T65" fmla="*/ 1663700 h 2268"/>
                  <a:gd name="T66" fmla="*/ 895350 w 1024"/>
                  <a:gd name="T67" fmla="*/ 1666875 h 2268"/>
                  <a:gd name="T68" fmla="*/ 784225 w 1024"/>
                  <a:gd name="T69" fmla="*/ 1685925 h 2268"/>
                  <a:gd name="T70" fmla="*/ 685800 w 1024"/>
                  <a:gd name="T71" fmla="*/ 1692275 h 2268"/>
                  <a:gd name="T72" fmla="*/ 447675 w 1024"/>
                  <a:gd name="T73" fmla="*/ 1689100 h 2268"/>
                  <a:gd name="T74" fmla="*/ 501650 w 1024"/>
                  <a:gd name="T75" fmla="*/ 1797050 h 2268"/>
                  <a:gd name="T76" fmla="*/ 336550 w 1024"/>
                  <a:gd name="T77" fmla="*/ 1984375 h 2268"/>
                  <a:gd name="T78" fmla="*/ 377825 w 1024"/>
                  <a:gd name="T79" fmla="*/ 2168525 h 2268"/>
                  <a:gd name="T80" fmla="*/ 219075 w 1024"/>
                  <a:gd name="T81" fmla="*/ 2730500 h 2268"/>
                  <a:gd name="T82" fmla="*/ 177800 w 1024"/>
                  <a:gd name="T83" fmla="*/ 3200399 h 2268"/>
                  <a:gd name="T84" fmla="*/ 0 w 1024"/>
                  <a:gd name="T85" fmla="*/ 3556000 h 2268"/>
                  <a:gd name="T86" fmla="*/ 28575 w 1024"/>
                  <a:gd name="T87" fmla="*/ 3578225 h 2268"/>
                  <a:gd name="T88" fmla="*/ 69850 w 1024"/>
                  <a:gd name="T89" fmla="*/ 3594100 h 2268"/>
                  <a:gd name="T90" fmla="*/ 98425 w 1024"/>
                  <a:gd name="T91" fmla="*/ 3597275 h 2268"/>
                  <a:gd name="T92" fmla="*/ 142875 w 1024"/>
                  <a:gd name="T93" fmla="*/ 3597275 h 2268"/>
                  <a:gd name="T94" fmla="*/ 196850 w 1024"/>
                  <a:gd name="T95" fmla="*/ 3556000 h 2268"/>
                  <a:gd name="T96" fmla="*/ 288925 w 1024"/>
                  <a:gd name="T97" fmla="*/ 3419475 h 2268"/>
                  <a:gd name="T98" fmla="*/ 320675 w 1024"/>
                  <a:gd name="T99" fmla="*/ 3397250 h 2268"/>
                  <a:gd name="T100" fmla="*/ 333375 w 1024"/>
                  <a:gd name="T101" fmla="*/ 3270250 h 2268"/>
                  <a:gd name="T102" fmla="*/ 476250 w 1024"/>
                  <a:gd name="T103" fmla="*/ 2717800 h 2268"/>
                  <a:gd name="T104" fmla="*/ 596900 w 1024"/>
                  <a:gd name="T105" fmla="*/ 1927225 h 2268"/>
                  <a:gd name="T106" fmla="*/ 822325 w 1024"/>
                  <a:gd name="T107" fmla="*/ 1939925 h 2268"/>
                  <a:gd name="T108" fmla="*/ 746125 w 1024"/>
                  <a:gd name="T109" fmla="*/ 2155825 h 2268"/>
                  <a:gd name="T110" fmla="*/ 987425 w 1024"/>
                  <a:gd name="T111" fmla="*/ 2771775 h 2268"/>
                  <a:gd name="T112" fmla="*/ 1212850 w 1024"/>
                  <a:gd name="T113" fmla="*/ 3200399 h 2268"/>
                  <a:gd name="T114" fmla="*/ 1438275 w 1024"/>
                  <a:gd name="T115" fmla="*/ 3384550 h 2268"/>
                  <a:gd name="T116" fmla="*/ 1444625 w 1024"/>
                  <a:gd name="T117" fmla="*/ 3524250 h 2268"/>
                  <a:gd name="T118" fmla="*/ 1476375 w 1024"/>
                  <a:gd name="T119" fmla="*/ 3527425 h 2268"/>
                  <a:gd name="T120" fmla="*/ 1552575 w 1024"/>
                  <a:gd name="T121" fmla="*/ 3517900 h 2268"/>
                  <a:gd name="T122" fmla="*/ 1603375 w 1024"/>
                  <a:gd name="T123" fmla="*/ 3502025 h 2268"/>
                  <a:gd name="T124" fmla="*/ 1549400 w 1024"/>
                  <a:gd name="T125" fmla="*/ 3333750 h 2268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  <a:gd name="T189" fmla="*/ 0 w 1024"/>
                  <a:gd name="T190" fmla="*/ 0 h 2268"/>
                  <a:gd name="T191" fmla="*/ 1024 w 1024"/>
                  <a:gd name="T192" fmla="*/ 2268 h 2268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T189" t="T190" r="T191" b="T192"/>
                <a:pathLst>
                  <a:path w="1024" h="2268">
                    <a:moveTo>
                      <a:pt x="976" y="2100"/>
                    </a:moveTo>
                    <a:lnTo>
                      <a:pt x="980" y="2094"/>
                    </a:lnTo>
                    <a:lnTo>
                      <a:pt x="982" y="2088"/>
                    </a:lnTo>
                    <a:lnTo>
                      <a:pt x="984" y="2082"/>
                    </a:lnTo>
                    <a:lnTo>
                      <a:pt x="982" y="2076"/>
                    </a:lnTo>
                    <a:lnTo>
                      <a:pt x="982" y="2068"/>
                    </a:lnTo>
                    <a:lnTo>
                      <a:pt x="980" y="2060"/>
                    </a:lnTo>
                    <a:lnTo>
                      <a:pt x="978" y="2050"/>
                    </a:lnTo>
                    <a:lnTo>
                      <a:pt x="972" y="2042"/>
                    </a:lnTo>
                    <a:lnTo>
                      <a:pt x="900" y="1962"/>
                    </a:lnTo>
                    <a:lnTo>
                      <a:pt x="708" y="1488"/>
                    </a:lnTo>
                    <a:lnTo>
                      <a:pt x="696" y="1224"/>
                    </a:lnTo>
                    <a:lnTo>
                      <a:pt x="714" y="1260"/>
                    </a:lnTo>
                    <a:lnTo>
                      <a:pt x="924" y="1092"/>
                    </a:lnTo>
                    <a:lnTo>
                      <a:pt x="670" y="540"/>
                    </a:lnTo>
                    <a:lnTo>
                      <a:pt x="700" y="542"/>
                    </a:lnTo>
                    <a:lnTo>
                      <a:pt x="728" y="544"/>
                    </a:lnTo>
                    <a:lnTo>
                      <a:pt x="736" y="542"/>
                    </a:lnTo>
                    <a:lnTo>
                      <a:pt x="744" y="542"/>
                    </a:lnTo>
                    <a:lnTo>
                      <a:pt x="758" y="542"/>
                    </a:lnTo>
                    <a:lnTo>
                      <a:pt x="788" y="540"/>
                    </a:lnTo>
                    <a:lnTo>
                      <a:pt x="818" y="534"/>
                    </a:lnTo>
                    <a:lnTo>
                      <a:pt x="848" y="528"/>
                    </a:lnTo>
                    <a:lnTo>
                      <a:pt x="878" y="518"/>
                    </a:lnTo>
                    <a:lnTo>
                      <a:pt x="908" y="510"/>
                    </a:lnTo>
                    <a:lnTo>
                      <a:pt x="916" y="494"/>
                    </a:lnTo>
                    <a:lnTo>
                      <a:pt x="914" y="172"/>
                    </a:lnTo>
                    <a:lnTo>
                      <a:pt x="862" y="66"/>
                    </a:lnTo>
                    <a:lnTo>
                      <a:pt x="828" y="52"/>
                    </a:lnTo>
                    <a:lnTo>
                      <a:pt x="822" y="28"/>
                    </a:lnTo>
                    <a:lnTo>
                      <a:pt x="818" y="14"/>
                    </a:lnTo>
                    <a:lnTo>
                      <a:pt x="812" y="0"/>
                    </a:lnTo>
                    <a:lnTo>
                      <a:pt x="732" y="0"/>
                    </a:lnTo>
                    <a:lnTo>
                      <a:pt x="726" y="8"/>
                    </a:lnTo>
                    <a:lnTo>
                      <a:pt x="714" y="18"/>
                    </a:lnTo>
                    <a:lnTo>
                      <a:pt x="706" y="32"/>
                    </a:lnTo>
                    <a:lnTo>
                      <a:pt x="704" y="42"/>
                    </a:lnTo>
                    <a:lnTo>
                      <a:pt x="700" y="56"/>
                    </a:lnTo>
                    <a:lnTo>
                      <a:pt x="700" y="66"/>
                    </a:lnTo>
                    <a:lnTo>
                      <a:pt x="696" y="74"/>
                    </a:lnTo>
                    <a:lnTo>
                      <a:pt x="694" y="82"/>
                    </a:lnTo>
                    <a:lnTo>
                      <a:pt x="688" y="90"/>
                    </a:lnTo>
                    <a:lnTo>
                      <a:pt x="706" y="96"/>
                    </a:lnTo>
                    <a:lnTo>
                      <a:pt x="720" y="102"/>
                    </a:lnTo>
                    <a:lnTo>
                      <a:pt x="728" y="106"/>
                    </a:lnTo>
                    <a:lnTo>
                      <a:pt x="734" y="110"/>
                    </a:lnTo>
                    <a:lnTo>
                      <a:pt x="740" y="106"/>
                    </a:lnTo>
                    <a:lnTo>
                      <a:pt x="742" y="106"/>
                    </a:lnTo>
                    <a:lnTo>
                      <a:pt x="758" y="110"/>
                    </a:lnTo>
                    <a:lnTo>
                      <a:pt x="744" y="128"/>
                    </a:lnTo>
                    <a:lnTo>
                      <a:pt x="782" y="372"/>
                    </a:lnTo>
                    <a:lnTo>
                      <a:pt x="774" y="364"/>
                    </a:lnTo>
                    <a:lnTo>
                      <a:pt x="766" y="362"/>
                    </a:lnTo>
                    <a:lnTo>
                      <a:pt x="760" y="358"/>
                    </a:lnTo>
                    <a:lnTo>
                      <a:pt x="754" y="358"/>
                    </a:lnTo>
                    <a:lnTo>
                      <a:pt x="752" y="358"/>
                    </a:lnTo>
                    <a:lnTo>
                      <a:pt x="750" y="362"/>
                    </a:lnTo>
                    <a:lnTo>
                      <a:pt x="750" y="364"/>
                    </a:lnTo>
                    <a:lnTo>
                      <a:pt x="750" y="372"/>
                    </a:lnTo>
                    <a:lnTo>
                      <a:pt x="746" y="374"/>
                    </a:lnTo>
                    <a:lnTo>
                      <a:pt x="746" y="370"/>
                    </a:lnTo>
                    <a:lnTo>
                      <a:pt x="714" y="358"/>
                    </a:lnTo>
                    <a:lnTo>
                      <a:pt x="682" y="346"/>
                    </a:lnTo>
                    <a:lnTo>
                      <a:pt x="648" y="330"/>
                    </a:lnTo>
                    <a:lnTo>
                      <a:pt x="612" y="314"/>
                    </a:lnTo>
                    <a:lnTo>
                      <a:pt x="600" y="318"/>
                    </a:lnTo>
                    <a:lnTo>
                      <a:pt x="586" y="328"/>
                    </a:lnTo>
                    <a:lnTo>
                      <a:pt x="570" y="346"/>
                    </a:lnTo>
                    <a:lnTo>
                      <a:pt x="564" y="376"/>
                    </a:lnTo>
                    <a:lnTo>
                      <a:pt x="562" y="392"/>
                    </a:lnTo>
                    <a:lnTo>
                      <a:pt x="558" y="412"/>
                    </a:lnTo>
                    <a:lnTo>
                      <a:pt x="556" y="428"/>
                    </a:lnTo>
                    <a:lnTo>
                      <a:pt x="552" y="448"/>
                    </a:lnTo>
                    <a:lnTo>
                      <a:pt x="546" y="490"/>
                    </a:lnTo>
                    <a:lnTo>
                      <a:pt x="546" y="512"/>
                    </a:lnTo>
                    <a:lnTo>
                      <a:pt x="544" y="534"/>
                    </a:lnTo>
                    <a:lnTo>
                      <a:pt x="538" y="582"/>
                    </a:lnTo>
                    <a:lnTo>
                      <a:pt x="536" y="632"/>
                    </a:lnTo>
                    <a:lnTo>
                      <a:pt x="532" y="688"/>
                    </a:lnTo>
                    <a:lnTo>
                      <a:pt x="532" y="740"/>
                    </a:lnTo>
                    <a:lnTo>
                      <a:pt x="532" y="764"/>
                    </a:lnTo>
                    <a:lnTo>
                      <a:pt x="532" y="774"/>
                    </a:lnTo>
                    <a:lnTo>
                      <a:pt x="532" y="788"/>
                    </a:lnTo>
                    <a:lnTo>
                      <a:pt x="532" y="808"/>
                    </a:lnTo>
                    <a:lnTo>
                      <a:pt x="532" y="828"/>
                    </a:lnTo>
                    <a:lnTo>
                      <a:pt x="532" y="866"/>
                    </a:lnTo>
                    <a:lnTo>
                      <a:pt x="534" y="896"/>
                    </a:lnTo>
                    <a:lnTo>
                      <a:pt x="536" y="924"/>
                    </a:lnTo>
                    <a:lnTo>
                      <a:pt x="538" y="934"/>
                    </a:lnTo>
                    <a:lnTo>
                      <a:pt x="540" y="944"/>
                    </a:lnTo>
                    <a:lnTo>
                      <a:pt x="542" y="952"/>
                    </a:lnTo>
                    <a:lnTo>
                      <a:pt x="544" y="960"/>
                    </a:lnTo>
                    <a:lnTo>
                      <a:pt x="544" y="962"/>
                    </a:lnTo>
                    <a:lnTo>
                      <a:pt x="566" y="1004"/>
                    </a:lnTo>
                    <a:lnTo>
                      <a:pt x="588" y="1046"/>
                    </a:lnTo>
                    <a:lnTo>
                      <a:pt x="590" y="1046"/>
                    </a:lnTo>
                    <a:lnTo>
                      <a:pt x="590" y="1048"/>
                    </a:lnTo>
                    <a:lnTo>
                      <a:pt x="586" y="1048"/>
                    </a:lnTo>
                    <a:lnTo>
                      <a:pt x="570" y="1050"/>
                    </a:lnTo>
                    <a:lnTo>
                      <a:pt x="568" y="1050"/>
                    </a:lnTo>
                    <a:lnTo>
                      <a:pt x="564" y="1050"/>
                    </a:lnTo>
                    <a:lnTo>
                      <a:pt x="556" y="1054"/>
                    </a:lnTo>
                    <a:lnTo>
                      <a:pt x="524" y="1058"/>
                    </a:lnTo>
                    <a:lnTo>
                      <a:pt x="494" y="1062"/>
                    </a:lnTo>
                    <a:lnTo>
                      <a:pt x="480" y="1064"/>
                    </a:lnTo>
                    <a:lnTo>
                      <a:pt x="464" y="1066"/>
                    </a:lnTo>
                    <a:lnTo>
                      <a:pt x="432" y="1066"/>
                    </a:lnTo>
                    <a:lnTo>
                      <a:pt x="398" y="1066"/>
                    </a:lnTo>
                    <a:lnTo>
                      <a:pt x="398" y="1074"/>
                    </a:lnTo>
                    <a:lnTo>
                      <a:pt x="282" y="1064"/>
                    </a:lnTo>
                    <a:lnTo>
                      <a:pt x="276" y="1108"/>
                    </a:lnTo>
                    <a:lnTo>
                      <a:pt x="308" y="1130"/>
                    </a:lnTo>
                    <a:lnTo>
                      <a:pt x="316" y="1132"/>
                    </a:lnTo>
                    <a:lnTo>
                      <a:pt x="316" y="1228"/>
                    </a:lnTo>
                    <a:lnTo>
                      <a:pt x="254" y="1092"/>
                    </a:lnTo>
                    <a:lnTo>
                      <a:pt x="212" y="1250"/>
                    </a:lnTo>
                    <a:lnTo>
                      <a:pt x="260" y="1314"/>
                    </a:lnTo>
                    <a:lnTo>
                      <a:pt x="192" y="1314"/>
                    </a:lnTo>
                    <a:lnTo>
                      <a:pt x="238" y="1366"/>
                    </a:lnTo>
                    <a:lnTo>
                      <a:pt x="198" y="1382"/>
                    </a:lnTo>
                    <a:lnTo>
                      <a:pt x="162" y="1670"/>
                    </a:lnTo>
                    <a:lnTo>
                      <a:pt x="138" y="1720"/>
                    </a:lnTo>
                    <a:lnTo>
                      <a:pt x="148" y="1752"/>
                    </a:lnTo>
                    <a:lnTo>
                      <a:pt x="142" y="1954"/>
                    </a:lnTo>
                    <a:lnTo>
                      <a:pt x="112" y="2016"/>
                    </a:lnTo>
                    <a:lnTo>
                      <a:pt x="136" y="2046"/>
                    </a:lnTo>
                    <a:lnTo>
                      <a:pt x="64" y="2026"/>
                    </a:lnTo>
                    <a:lnTo>
                      <a:pt x="0" y="2240"/>
                    </a:lnTo>
                    <a:lnTo>
                      <a:pt x="4" y="2244"/>
                    </a:lnTo>
                    <a:lnTo>
                      <a:pt x="10" y="2250"/>
                    </a:lnTo>
                    <a:lnTo>
                      <a:pt x="18" y="2254"/>
                    </a:lnTo>
                    <a:lnTo>
                      <a:pt x="26" y="2260"/>
                    </a:lnTo>
                    <a:lnTo>
                      <a:pt x="36" y="2262"/>
                    </a:lnTo>
                    <a:lnTo>
                      <a:pt x="44" y="2264"/>
                    </a:lnTo>
                    <a:lnTo>
                      <a:pt x="48" y="2266"/>
                    </a:lnTo>
                    <a:lnTo>
                      <a:pt x="56" y="2266"/>
                    </a:lnTo>
                    <a:lnTo>
                      <a:pt x="62" y="2266"/>
                    </a:lnTo>
                    <a:lnTo>
                      <a:pt x="76" y="2268"/>
                    </a:lnTo>
                    <a:lnTo>
                      <a:pt x="84" y="2268"/>
                    </a:lnTo>
                    <a:lnTo>
                      <a:pt x="90" y="2266"/>
                    </a:lnTo>
                    <a:lnTo>
                      <a:pt x="102" y="2260"/>
                    </a:lnTo>
                    <a:lnTo>
                      <a:pt x="116" y="2248"/>
                    </a:lnTo>
                    <a:lnTo>
                      <a:pt x="124" y="2240"/>
                    </a:lnTo>
                    <a:lnTo>
                      <a:pt x="130" y="2230"/>
                    </a:lnTo>
                    <a:lnTo>
                      <a:pt x="166" y="2160"/>
                    </a:lnTo>
                    <a:lnTo>
                      <a:pt x="182" y="2154"/>
                    </a:lnTo>
                    <a:lnTo>
                      <a:pt x="194" y="2148"/>
                    </a:lnTo>
                    <a:lnTo>
                      <a:pt x="200" y="2144"/>
                    </a:lnTo>
                    <a:lnTo>
                      <a:pt x="202" y="2140"/>
                    </a:lnTo>
                    <a:lnTo>
                      <a:pt x="204" y="2136"/>
                    </a:lnTo>
                    <a:lnTo>
                      <a:pt x="204" y="2134"/>
                    </a:lnTo>
                    <a:lnTo>
                      <a:pt x="210" y="2060"/>
                    </a:lnTo>
                    <a:lnTo>
                      <a:pt x="248" y="2022"/>
                    </a:lnTo>
                    <a:lnTo>
                      <a:pt x="256" y="1748"/>
                    </a:lnTo>
                    <a:lnTo>
                      <a:pt x="300" y="1712"/>
                    </a:lnTo>
                    <a:lnTo>
                      <a:pt x="358" y="1362"/>
                    </a:lnTo>
                    <a:lnTo>
                      <a:pt x="378" y="1404"/>
                    </a:lnTo>
                    <a:lnTo>
                      <a:pt x="376" y="1214"/>
                    </a:lnTo>
                    <a:lnTo>
                      <a:pt x="478" y="1132"/>
                    </a:lnTo>
                    <a:lnTo>
                      <a:pt x="402" y="1252"/>
                    </a:lnTo>
                    <a:lnTo>
                      <a:pt x="518" y="1222"/>
                    </a:lnTo>
                    <a:lnTo>
                      <a:pt x="430" y="1298"/>
                    </a:lnTo>
                    <a:lnTo>
                      <a:pt x="518" y="1308"/>
                    </a:lnTo>
                    <a:lnTo>
                      <a:pt x="470" y="1358"/>
                    </a:lnTo>
                    <a:lnTo>
                      <a:pt x="506" y="1382"/>
                    </a:lnTo>
                    <a:lnTo>
                      <a:pt x="628" y="1690"/>
                    </a:lnTo>
                    <a:lnTo>
                      <a:pt x="622" y="1746"/>
                    </a:lnTo>
                    <a:lnTo>
                      <a:pt x="704" y="1800"/>
                    </a:lnTo>
                    <a:lnTo>
                      <a:pt x="784" y="1960"/>
                    </a:lnTo>
                    <a:lnTo>
                      <a:pt x="764" y="2016"/>
                    </a:lnTo>
                    <a:lnTo>
                      <a:pt x="814" y="2010"/>
                    </a:lnTo>
                    <a:lnTo>
                      <a:pt x="808" y="2066"/>
                    </a:lnTo>
                    <a:lnTo>
                      <a:pt x="906" y="2132"/>
                    </a:lnTo>
                    <a:lnTo>
                      <a:pt x="862" y="2148"/>
                    </a:lnTo>
                    <a:lnTo>
                      <a:pt x="894" y="2218"/>
                    </a:lnTo>
                    <a:lnTo>
                      <a:pt x="910" y="2220"/>
                    </a:lnTo>
                    <a:lnTo>
                      <a:pt x="920" y="2220"/>
                    </a:lnTo>
                    <a:lnTo>
                      <a:pt x="924" y="2220"/>
                    </a:lnTo>
                    <a:lnTo>
                      <a:pt x="930" y="2222"/>
                    </a:lnTo>
                    <a:lnTo>
                      <a:pt x="948" y="2220"/>
                    </a:lnTo>
                    <a:lnTo>
                      <a:pt x="964" y="2220"/>
                    </a:lnTo>
                    <a:lnTo>
                      <a:pt x="978" y="2216"/>
                    </a:lnTo>
                    <a:lnTo>
                      <a:pt x="990" y="2214"/>
                    </a:lnTo>
                    <a:lnTo>
                      <a:pt x="1000" y="2210"/>
                    </a:lnTo>
                    <a:lnTo>
                      <a:pt x="1010" y="2206"/>
                    </a:lnTo>
                    <a:lnTo>
                      <a:pt x="1018" y="2200"/>
                    </a:lnTo>
                    <a:lnTo>
                      <a:pt x="1024" y="2196"/>
                    </a:lnTo>
                    <a:lnTo>
                      <a:pt x="976" y="2100"/>
                    </a:lnTo>
                    <a:close/>
                  </a:path>
                </a:pathLst>
              </a:custGeom>
              <a:solidFill>
                <a:srgbClr val="080808"/>
              </a:solidFill>
              <a:ln w="9525">
                <a:solidFill>
                  <a:srgbClr val="08080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>
                  <a:solidFill>
                    <a:sysClr val="windowText" lastClr="000000"/>
                  </a:solidFill>
                  <a:latin typeface="+mn-lt"/>
                  <a:cs typeface="+mn-cs"/>
                </a:endParaRPr>
              </a:p>
            </p:txBody>
          </p:sp>
        </p:grpSp>
        <p:grpSp>
          <p:nvGrpSpPr>
            <p:cNvPr id="81" name="Gruppe 171"/>
            <p:cNvGrpSpPr>
              <a:grpSpLocks/>
            </p:cNvGrpSpPr>
            <p:nvPr/>
          </p:nvGrpSpPr>
          <p:grpSpPr bwMode="auto">
            <a:xfrm>
              <a:off x="6218503" y="1849623"/>
              <a:ext cx="331187" cy="802872"/>
              <a:chOff x="6045328" y="1849623"/>
              <a:chExt cx="331187" cy="802872"/>
            </a:xfrm>
          </p:grpSpPr>
          <p:grpSp>
            <p:nvGrpSpPr>
              <p:cNvPr id="82" name="Gruppe 70"/>
              <p:cNvGrpSpPr>
                <a:grpSpLocks/>
              </p:cNvGrpSpPr>
              <p:nvPr/>
            </p:nvGrpSpPr>
            <p:grpSpPr bwMode="auto">
              <a:xfrm>
                <a:off x="6045328" y="1849623"/>
                <a:ext cx="331187" cy="802872"/>
                <a:chOff x="7635792" y="4784725"/>
                <a:chExt cx="3402096" cy="8248650"/>
              </a:xfrm>
            </p:grpSpPr>
            <p:sp>
              <p:nvSpPr>
                <p:cNvPr id="87" name="Freeform 96"/>
                <p:cNvSpPr>
                  <a:spLocks noEditPoints="1"/>
                </p:cNvSpPr>
                <p:nvPr/>
              </p:nvSpPr>
              <p:spPr bwMode="auto">
                <a:xfrm>
                  <a:off x="7635802" y="4784725"/>
                  <a:ext cx="3402096" cy="8248650"/>
                </a:xfrm>
                <a:custGeom>
                  <a:avLst/>
                  <a:gdLst>
                    <a:gd name="T0" fmla="*/ 3187699 w 2148"/>
                    <a:gd name="T1" fmla="*/ 193675 h 5196"/>
                    <a:gd name="T2" fmla="*/ 3003549 w 2148"/>
                    <a:gd name="T3" fmla="*/ 234950 h 5196"/>
                    <a:gd name="T4" fmla="*/ 2943224 w 2148"/>
                    <a:gd name="T5" fmla="*/ 330200 h 5196"/>
                    <a:gd name="T6" fmla="*/ 2987674 w 2148"/>
                    <a:gd name="T7" fmla="*/ 479425 h 5196"/>
                    <a:gd name="T8" fmla="*/ 2832099 w 2148"/>
                    <a:gd name="T9" fmla="*/ 1012825 h 5196"/>
                    <a:gd name="T10" fmla="*/ 2574925 w 2148"/>
                    <a:gd name="T11" fmla="*/ 1492250 h 5196"/>
                    <a:gd name="T12" fmla="*/ 2339975 w 2148"/>
                    <a:gd name="T13" fmla="*/ 1885950 h 5196"/>
                    <a:gd name="T14" fmla="*/ 2165350 w 2148"/>
                    <a:gd name="T15" fmla="*/ 2127250 h 5196"/>
                    <a:gd name="T16" fmla="*/ 1968500 w 2148"/>
                    <a:gd name="T17" fmla="*/ 2152650 h 5196"/>
                    <a:gd name="T18" fmla="*/ 1882775 w 2148"/>
                    <a:gd name="T19" fmla="*/ 1612900 h 5196"/>
                    <a:gd name="T20" fmla="*/ 1485900 w 2148"/>
                    <a:gd name="T21" fmla="*/ 1476375 h 5196"/>
                    <a:gd name="T22" fmla="*/ 1260475 w 2148"/>
                    <a:gd name="T23" fmla="*/ 1676400 h 5196"/>
                    <a:gd name="T24" fmla="*/ 1165225 w 2148"/>
                    <a:gd name="T25" fmla="*/ 2168525 h 5196"/>
                    <a:gd name="T26" fmla="*/ 1231900 w 2148"/>
                    <a:gd name="T27" fmla="*/ 2336800 h 5196"/>
                    <a:gd name="T28" fmla="*/ 1060450 w 2148"/>
                    <a:gd name="T29" fmla="*/ 2184400 h 5196"/>
                    <a:gd name="T30" fmla="*/ 742950 w 2148"/>
                    <a:gd name="T31" fmla="*/ 1473200 h 5196"/>
                    <a:gd name="T32" fmla="*/ 561975 w 2148"/>
                    <a:gd name="T33" fmla="*/ 854075 h 5196"/>
                    <a:gd name="T34" fmla="*/ 438150 w 2148"/>
                    <a:gd name="T35" fmla="*/ 371475 h 5196"/>
                    <a:gd name="T36" fmla="*/ 527050 w 2148"/>
                    <a:gd name="T37" fmla="*/ 174625 h 5196"/>
                    <a:gd name="T38" fmla="*/ 282575 w 2148"/>
                    <a:gd name="T39" fmla="*/ 6350 h 5196"/>
                    <a:gd name="T40" fmla="*/ 123825 w 2148"/>
                    <a:gd name="T41" fmla="*/ 63500 h 5196"/>
                    <a:gd name="T42" fmla="*/ 25400 w 2148"/>
                    <a:gd name="T43" fmla="*/ 228600 h 5196"/>
                    <a:gd name="T44" fmla="*/ 53975 w 2148"/>
                    <a:gd name="T45" fmla="*/ 346075 h 5196"/>
                    <a:gd name="T46" fmla="*/ 117475 w 2148"/>
                    <a:gd name="T47" fmla="*/ 479425 h 5196"/>
                    <a:gd name="T48" fmla="*/ 101600 w 2148"/>
                    <a:gd name="T49" fmla="*/ 822325 h 5196"/>
                    <a:gd name="T50" fmla="*/ 390525 w 2148"/>
                    <a:gd name="T51" fmla="*/ 1812925 h 5196"/>
                    <a:gd name="T52" fmla="*/ 508000 w 2148"/>
                    <a:gd name="T53" fmla="*/ 2000250 h 5196"/>
                    <a:gd name="T54" fmla="*/ 828675 w 2148"/>
                    <a:gd name="T55" fmla="*/ 2930525 h 5196"/>
                    <a:gd name="T56" fmla="*/ 812800 w 2148"/>
                    <a:gd name="T57" fmla="*/ 3502025 h 5196"/>
                    <a:gd name="T58" fmla="*/ 946150 w 2148"/>
                    <a:gd name="T59" fmla="*/ 4152900 h 5196"/>
                    <a:gd name="T60" fmla="*/ 920750 w 2148"/>
                    <a:gd name="T61" fmla="*/ 4610100 h 5196"/>
                    <a:gd name="T62" fmla="*/ 939800 w 2148"/>
                    <a:gd name="T63" fmla="*/ 5038725 h 5196"/>
                    <a:gd name="T64" fmla="*/ 939800 w 2148"/>
                    <a:gd name="T65" fmla="*/ 5902324 h 5196"/>
                    <a:gd name="T66" fmla="*/ 996950 w 2148"/>
                    <a:gd name="T67" fmla="*/ 6394449 h 5196"/>
                    <a:gd name="T68" fmla="*/ 1111250 w 2148"/>
                    <a:gd name="T69" fmla="*/ 7019925 h 5196"/>
                    <a:gd name="T70" fmla="*/ 1247775 w 2148"/>
                    <a:gd name="T71" fmla="*/ 7629525 h 5196"/>
                    <a:gd name="T72" fmla="*/ 1273175 w 2148"/>
                    <a:gd name="T73" fmla="*/ 8086725 h 5196"/>
                    <a:gd name="T74" fmla="*/ 1447800 w 2148"/>
                    <a:gd name="T75" fmla="*/ 8235950 h 5196"/>
                    <a:gd name="T76" fmla="*/ 1647825 w 2148"/>
                    <a:gd name="T77" fmla="*/ 8178800 h 5196"/>
                    <a:gd name="T78" fmla="*/ 1876425 w 2148"/>
                    <a:gd name="T79" fmla="*/ 8191500 h 5196"/>
                    <a:gd name="T80" fmla="*/ 1806575 w 2148"/>
                    <a:gd name="T81" fmla="*/ 7947025 h 5196"/>
                    <a:gd name="T82" fmla="*/ 1778000 w 2148"/>
                    <a:gd name="T83" fmla="*/ 7600950 h 5196"/>
                    <a:gd name="T84" fmla="*/ 2152650 w 2148"/>
                    <a:gd name="T85" fmla="*/ 6267449 h 5196"/>
                    <a:gd name="T86" fmla="*/ 2247900 w 2148"/>
                    <a:gd name="T87" fmla="*/ 4978400 h 5196"/>
                    <a:gd name="T88" fmla="*/ 2244725 w 2148"/>
                    <a:gd name="T89" fmla="*/ 3673475 h 5196"/>
                    <a:gd name="T90" fmla="*/ 2263775 w 2148"/>
                    <a:gd name="T91" fmla="*/ 3352800 h 5196"/>
                    <a:gd name="T92" fmla="*/ 2292350 w 2148"/>
                    <a:gd name="T93" fmla="*/ 2879725 h 5196"/>
                    <a:gd name="T94" fmla="*/ 2416175 w 2148"/>
                    <a:gd name="T95" fmla="*/ 2644775 h 5196"/>
                    <a:gd name="T96" fmla="*/ 2574925 w 2148"/>
                    <a:gd name="T97" fmla="*/ 2225675 h 5196"/>
                    <a:gd name="T98" fmla="*/ 2781300 w 2148"/>
                    <a:gd name="T99" fmla="*/ 1958975 h 5196"/>
                    <a:gd name="T100" fmla="*/ 2886074 w 2148"/>
                    <a:gd name="T101" fmla="*/ 1657350 h 5196"/>
                    <a:gd name="T102" fmla="*/ 3105149 w 2148"/>
                    <a:gd name="T103" fmla="*/ 1292225 h 5196"/>
                    <a:gd name="T104" fmla="*/ 3197224 w 2148"/>
                    <a:gd name="T105" fmla="*/ 847725 h 5196"/>
                    <a:gd name="T106" fmla="*/ 3286125 w 2148"/>
                    <a:gd name="T107" fmla="*/ 647700 h 5196"/>
                    <a:gd name="T108" fmla="*/ 3403600 w 2148"/>
                    <a:gd name="T109" fmla="*/ 473075 h 5196"/>
                    <a:gd name="T110" fmla="*/ 1527175 w 2148"/>
                    <a:gd name="T111" fmla="*/ 7864475 h 5196"/>
                    <a:gd name="T112" fmla="*/ 1765300 w 2148"/>
                    <a:gd name="T113" fmla="*/ 6511926 h 5196"/>
                    <a:gd name="T114" fmla="*/ 1660525 w 2148"/>
                    <a:gd name="T115" fmla="*/ 7194550 h 5196"/>
                    <a:gd name="T116" fmla="*/ 1508125 w 2148"/>
                    <a:gd name="T117" fmla="*/ 7597775 h 5196"/>
                    <a:gd name="T118" fmla="*/ 1412875 w 2148"/>
                    <a:gd name="T119" fmla="*/ 7264400 h 5196"/>
                    <a:gd name="T120" fmla="*/ 1330325 w 2148"/>
                    <a:gd name="T121" fmla="*/ 6384924 h 5196"/>
                    <a:gd name="T122" fmla="*/ 1638300 w 2148"/>
                    <a:gd name="T123" fmla="*/ 6235699 h 519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60000 65536"/>
                    <a:gd name="T184" fmla="*/ 0 60000 65536"/>
                    <a:gd name="T185" fmla="*/ 0 60000 65536"/>
                    <a:gd name="T186" fmla="*/ 0 w 2148"/>
                    <a:gd name="T187" fmla="*/ 0 h 5196"/>
                    <a:gd name="T188" fmla="*/ 2148 w 2148"/>
                    <a:gd name="T189" fmla="*/ 5196 h 5196"/>
                  </a:gdLst>
                  <a:ahLst/>
                  <a:cxnLst>
                    <a:cxn ang="T124">
                      <a:pos x="T0" y="T1"/>
                    </a:cxn>
                    <a:cxn ang="T125">
                      <a:pos x="T2" y="T3"/>
                    </a:cxn>
                    <a:cxn ang="T126">
                      <a:pos x="T4" y="T5"/>
                    </a:cxn>
                    <a:cxn ang="T127">
                      <a:pos x="T6" y="T7"/>
                    </a:cxn>
                    <a:cxn ang="T128">
                      <a:pos x="T8" y="T9"/>
                    </a:cxn>
                    <a:cxn ang="T129">
                      <a:pos x="T10" y="T11"/>
                    </a:cxn>
                    <a:cxn ang="T130">
                      <a:pos x="T12" y="T13"/>
                    </a:cxn>
                    <a:cxn ang="T131">
                      <a:pos x="T14" y="T15"/>
                    </a:cxn>
                    <a:cxn ang="T132">
                      <a:pos x="T16" y="T17"/>
                    </a:cxn>
                    <a:cxn ang="T133">
                      <a:pos x="T18" y="T19"/>
                    </a:cxn>
                    <a:cxn ang="T134">
                      <a:pos x="T20" y="T21"/>
                    </a:cxn>
                    <a:cxn ang="T135">
                      <a:pos x="T22" y="T23"/>
                    </a:cxn>
                    <a:cxn ang="T136">
                      <a:pos x="T24" y="T25"/>
                    </a:cxn>
                    <a:cxn ang="T137">
                      <a:pos x="T26" y="T27"/>
                    </a:cxn>
                    <a:cxn ang="T138">
                      <a:pos x="T28" y="T29"/>
                    </a:cxn>
                    <a:cxn ang="T139">
                      <a:pos x="T30" y="T31"/>
                    </a:cxn>
                    <a:cxn ang="T140">
                      <a:pos x="T32" y="T33"/>
                    </a:cxn>
                    <a:cxn ang="T141">
                      <a:pos x="T34" y="T35"/>
                    </a:cxn>
                    <a:cxn ang="T142">
                      <a:pos x="T36" y="T37"/>
                    </a:cxn>
                    <a:cxn ang="T143">
                      <a:pos x="T38" y="T39"/>
                    </a:cxn>
                    <a:cxn ang="T144">
                      <a:pos x="T40" y="T41"/>
                    </a:cxn>
                    <a:cxn ang="T145">
                      <a:pos x="T42" y="T43"/>
                    </a:cxn>
                    <a:cxn ang="T146">
                      <a:pos x="T44" y="T45"/>
                    </a:cxn>
                    <a:cxn ang="T147">
                      <a:pos x="T46" y="T47"/>
                    </a:cxn>
                    <a:cxn ang="T148">
                      <a:pos x="T48" y="T49"/>
                    </a:cxn>
                    <a:cxn ang="T149">
                      <a:pos x="T50" y="T51"/>
                    </a:cxn>
                    <a:cxn ang="T150">
                      <a:pos x="T52" y="T53"/>
                    </a:cxn>
                    <a:cxn ang="T151">
                      <a:pos x="T54" y="T55"/>
                    </a:cxn>
                    <a:cxn ang="T152">
                      <a:pos x="T56" y="T57"/>
                    </a:cxn>
                    <a:cxn ang="T153">
                      <a:pos x="T58" y="T59"/>
                    </a:cxn>
                    <a:cxn ang="T154">
                      <a:pos x="T60" y="T61"/>
                    </a:cxn>
                    <a:cxn ang="T155">
                      <a:pos x="T62" y="T63"/>
                    </a:cxn>
                    <a:cxn ang="T156">
                      <a:pos x="T64" y="T65"/>
                    </a:cxn>
                    <a:cxn ang="T157">
                      <a:pos x="T66" y="T67"/>
                    </a:cxn>
                    <a:cxn ang="T158">
                      <a:pos x="T68" y="T69"/>
                    </a:cxn>
                    <a:cxn ang="T159">
                      <a:pos x="T70" y="T71"/>
                    </a:cxn>
                    <a:cxn ang="T160">
                      <a:pos x="T72" y="T73"/>
                    </a:cxn>
                    <a:cxn ang="T161">
                      <a:pos x="T74" y="T75"/>
                    </a:cxn>
                    <a:cxn ang="T162">
                      <a:pos x="T76" y="T77"/>
                    </a:cxn>
                    <a:cxn ang="T163">
                      <a:pos x="T78" y="T79"/>
                    </a:cxn>
                    <a:cxn ang="T164">
                      <a:pos x="T80" y="T81"/>
                    </a:cxn>
                    <a:cxn ang="T165">
                      <a:pos x="T82" y="T83"/>
                    </a:cxn>
                    <a:cxn ang="T166">
                      <a:pos x="T84" y="T85"/>
                    </a:cxn>
                    <a:cxn ang="T167">
                      <a:pos x="T86" y="T87"/>
                    </a:cxn>
                    <a:cxn ang="T168">
                      <a:pos x="T88" y="T89"/>
                    </a:cxn>
                    <a:cxn ang="T169">
                      <a:pos x="T90" y="T91"/>
                    </a:cxn>
                    <a:cxn ang="T170">
                      <a:pos x="T92" y="T93"/>
                    </a:cxn>
                    <a:cxn ang="T171">
                      <a:pos x="T94" y="T95"/>
                    </a:cxn>
                    <a:cxn ang="T172">
                      <a:pos x="T96" y="T97"/>
                    </a:cxn>
                    <a:cxn ang="T173">
                      <a:pos x="T98" y="T99"/>
                    </a:cxn>
                    <a:cxn ang="T174">
                      <a:pos x="T100" y="T101"/>
                    </a:cxn>
                    <a:cxn ang="T175">
                      <a:pos x="T102" y="T103"/>
                    </a:cxn>
                    <a:cxn ang="T176">
                      <a:pos x="T104" y="T105"/>
                    </a:cxn>
                    <a:cxn ang="T177">
                      <a:pos x="T106" y="T107"/>
                    </a:cxn>
                    <a:cxn ang="T178">
                      <a:pos x="T108" y="T109"/>
                    </a:cxn>
                    <a:cxn ang="T179">
                      <a:pos x="T110" y="T111"/>
                    </a:cxn>
                    <a:cxn ang="T180">
                      <a:pos x="T112" y="T113"/>
                    </a:cxn>
                    <a:cxn ang="T181">
                      <a:pos x="T114" y="T115"/>
                    </a:cxn>
                    <a:cxn ang="T182">
                      <a:pos x="T116" y="T117"/>
                    </a:cxn>
                    <a:cxn ang="T183">
                      <a:pos x="T118" y="T119"/>
                    </a:cxn>
                    <a:cxn ang="T184">
                      <a:pos x="T120" y="T121"/>
                    </a:cxn>
                    <a:cxn ang="T185">
                      <a:pos x="T122" y="T123"/>
                    </a:cxn>
                  </a:cxnLst>
                  <a:rect l="T186" t="T187" r="T188" b="T189"/>
                  <a:pathLst>
                    <a:path w="2148" h="5196">
                      <a:moveTo>
                        <a:pt x="2136" y="254"/>
                      </a:moveTo>
                      <a:lnTo>
                        <a:pt x="2086" y="166"/>
                      </a:lnTo>
                      <a:lnTo>
                        <a:pt x="2078" y="154"/>
                      </a:lnTo>
                      <a:lnTo>
                        <a:pt x="2068" y="142"/>
                      </a:lnTo>
                      <a:lnTo>
                        <a:pt x="2060" y="136"/>
                      </a:lnTo>
                      <a:lnTo>
                        <a:pt x="2054" y="132"/>
                      </a:lnTo>
                      <a:lnTo>
                        <a:pt x="2026" y="126"/>
                      </a:lnTo>
                      <a:lnTo>
                        <a:pt x="2008" y="122"/>
                      </a:lnTo>
                      <a:lnTo>
                        <a:pt x="1990" y="120"/>
                      </a:lnTo>
                      <a:lnTo>
                        <a:pt x="1976" y="120"/>
                      </a:lnTo>
                      <a:lnTo>
                        <a:pt x="1964" y="124"/>
                      </a:lnTo>
                      <a:lnTo>
                        <a:pt x="1938" y="130"/>
                      </a:lnTo>
                      <a:lnTo>
                        <a:pt x="1914" y="140"/>
                      </a:lnTo>
                      <a:lnTo>
                        <a:pt x="1892" y="148"/>
                      </a:lnTo>
                      <a:lnTo>
                        <a:pt x="1872" y="150"/>
                      </a:lnTo>
                      <a:lnTo>
                        <a:pt x="1868" y="152"/>
                      </a:lnTo>
                      <a:lnTo>
                        <a:pt x="1864" y="156"/>
                      </a:lnTo>
                      <a:lnTo>
                        <a:pt x="1858" y="164"/>
                      </a:lnTo>
                      <a:lnTo>
                        <a:pt x="1854" y="176"/>
                      </a:lnTo>
                      <a:lnTo>
                        <a:pt x="1852" y="184"/>
                      </a:lnTo>
                      <a:lnTo>
                        <a:pt x="1854" y="208"/>
                      </a:lnTo>
                      <a:lnTo>
                        <a:pt x="1856" y="234"/>
                      </a:lnTo>
                      <a:lnTo>
                        <a:pt x="1858" y="252"/>
                      </a:lnTo>
                      <a:lnTo>
                        <a:pt x="1860" y="258"/>
                      </a:lnTo>
                      <a:lnTo>
                        <a:pt x="1864" y="264"/>
                      </a:lnTo>
                      <a:lnTo>
                        <a:pt x="1872" y="270"/>
                      </a:lnTo>
                      <a:lnTo>
                        <a:pt x="1882" y="302"/>
                      </a:lnTo>
                      <a:lnTo>
                        <a:pt x="1888" y="330"/>
                      </a:lnTo>
                      <a:lnTo>
                        <a:pt x="1890" y="362"/>
                      </a:lnTo>
                      <a:lnTo>
                        <a:pt x="1888" y="394"/>
                      </a:lnTo>
                      <a:lnTo>
                        <a:pt x="1882" y="428"/>
                      </a:lnTo>
                      <a:lnTo>
                        <a:pt x="1876" y="450"/>
                      </a:lnTo>
                      <a:lnTo>
                        <a:pt x="1866" y="484"/>
                      </a:lnTo>
                      <a:lnTo>
                        <a:pt x="1850" y="516"/>
                      </a:lnTo>
                      <a:lnTo>
                        <a:pt x="1784" y="638"/>
                      </a:lnTo>
                      <a:lnTo>
                        <a:pt x="1752" y="702"/>
                      </a:lnTo>
                      <a:lnTo>
                        <a:pt x="1730" y="744"/>
                      </a:lnTo>
                      <a:lnTo>
                        <a:pt x="1712" y="776"/>
                      </a:lnTo>
                      <a:lnTo>
                        <a:pt x="1694" y="808"/>
                      </a:lnTo>
                      <a:lnTo>
                        <a:pt x="1648" y="878"/>
                      </a:lnTo>
                      <a:lnTo>
                        <a:pt x="1640" y="892"/>
                      </a:lnTo>
                      <a:lnTo>
                        <a:pt x="1632" y="908"/>
                      </a:lnTo>
                      <a:lnTo>
                        <a:pt x="1626" y="924"/>
                      </a:lnTo>
                      <a:lnTo>
                        <a:pt x="1622" y="940"/>
                      </a:lnTo>
                      <a:lnTo>
                        <a:pt x="1610" y="970"/>
                      </a:lnTo>
                      <a:lnTo>
                        <a:pt x="1596" y="1002"/>
                      </a:lnTo>
                      <a:lnTo>
                        <a:pt x="1584" y="1022"/>
                      </a:lnTo>
                      <a:lnTo>
                        <a:pt x="1548" y="1086"/>
                      </a:lnTo>
                      <a:lnTo>
                        <a:pt x="1532" y="1108"/>
                      </a:lnTo>
                      <a:lnTo>
                        <a:pt x="1512" y="1138"/>
                      </a:lnTo>
                      <a:lnTo>
                        <a:pt x="1490" y="1168"/>
                      </a:lnTo>
                      <a:lnTo>
                        <a:pt x="1474" y="1188"/>
                      </a:lnTo>
                      <a:lnTo>
                        <a:pt x="1458" y="1212"/>
                      </a:lnTo>
                      <a:lnTo>
                        <a:pt x="1448" y="1228"/>
                      </a:lnTo>
                      <a:lnTo>
                        <a:pt x="1440" y="1246"/>
                      </a:lnTo>
                      <a:lnTo>
                        <a:pt x="1424" y="1270"/>
                      </a:lnTo>
                      <a:lnTo>
                        <a:pt x="1402" y="1302"/>
                      </a:lnTo>
                      <a:lnTo>
                        <a:pt x="1392" y="1316"/>
                      </a:lnTo>
                      <a:lnTo>
                        <a:pt x="1378" y="1328"/>
                      </a:lnTo>
                      <a:lnTo>
                        <a:pt x="1364" y="1340"/>
                      </a:lnTo>
                      <a:lnTo>
                        <a:pt x="1350" y="1350"/>
                      </a:lnTo>
                      <a:lnTo>
                        <a:pt x="1306" y="1376"/>
                      </a:lnTo>
                      <a:lnTo>
                        <a:pt x="1292" y="1382"/>
                      </a:lnTo>
                      <a:lnTo>
                        <a:pt x="1278" y="1384"/>
                      </a:lnTo>
                      <a:lnTo>
                        <a:pt x="1264" y="1384"/>
                      </a:lnTo>
                      <a:lnTo>
                        <a:pt x="1260" y="1382"/>
                      </a:lnTo>
                      <a:lnTo>
                        <a:pt x="1256" y="1378"/>
                      </a:lnTo>
                      <a:lnTo>
                        <a:pt x="1248" y="1370"/>
                      </a:lnTo>
                      <a:lnTo>
                        <a:pt x="1240" y="1356"/>
                      </a:lnTo>
                      <a:lnTo>
                        <a:pt x="1236" y="1342"/>
                      </a:lnTo>
                      <a:lnTo>
                        <a:pt x="1234" y="1326"/>
                      </a:lnTo>
                      <a:lnTo>
                        <a:pt x="1230" y="1230"/>
                      </a:lnTo>
                      <a:lnTo>
                        <a:pt x="1226" y="1194"/>
                      </a:lnTo>
                      <a:lnTo>
                        <a:pt x="1222" y="1158"/>
                      </a:lnTo>
                      <a:lnTo>
                        <a:pt x="1204" y="1068"/>
                      </a:lnTo>
                      <a:lnTo>
                        <a:pt x="1200" y="1052"/>
                      </a:lnTo>
                      <a:lnTo>
                        <a:pt x="1194" y="1034"/>
                      </a:lnTo>
                      <a:lnTo>
                        <a:pt x="1186" y="1016"/>
                      </a:lnTo>
                      <a:lnTo>
                        <a:pt x="1176" y="1002"/>
                      </a:lnTo>
                      <a:lnTo>
                        <a:pt x="1148" y="962"/>
                      </a:lnTo>
                      <a:lnTo>
                        <a:pt x="1138" y="950"/>
                      </a:lnTo>
                      <a:lnTo>
                        <a:pt x="1124" y="940"/>
                      </a:lnTo>
                      <a:lnTo>
                        <a:pt x="1108" y="932"/>
                      </a:lnTo>
                      <a:lnTo>
                        <a:pt x="1092" y="930"/>
                      </a:lnTo>
                      <a:lnTo>
                        <a:pt x="972" y="926"/>
                      </a:lnTo>
                      <a:lnTo>
                        <a:pt x="954" y="926"/>
                      </a:lnTo>
                      <a:lnTo>
                        <a:pt x="936" y="930"/>
                      </a:lnTo>
                      <a:lnTo>
                        <a:pt x="918" y="936"/>
                      </a:lnTo>
                      <a:lnTo>
                        <a:pt x="904" y="942"/>
                      </a:lnTo>
                      <a:lnTo>
                        <a:pt x="890" y="952"/>
                      </a:lnTo>
                      <a:lnTo>
                        <a:pt x="876" y="960"/>
                      </a:lnTo>
                      <a:lnTo>
                        <a:pt x="860" y="972"/>
                      </a:lnTo>
                      <a:lnTo>
                        <a:pt x="846" y="986"/>
                      </a:lnTo>
                      <a:lnTo>
                        <a:pt x="836" y="998"/>
                      </a:lnTo>
                      <a:lnTo>
                        <a:pt x="804" y="1042"/>
                      </a:lnTo>
                      <a:lnTo>
                        <a:pt x="794" y="1056"/>
                      </a:lnTo>
                      <a:lnTo>
                        <a:pt x="784" y="1072"/>
                      </a:lnTo>
                      <a:lnTo>
                        <a:pt x="776" y="1090"/>
                      </a:lnTo>
                      <a:lnTo>
                        <a:pt x="770" y="1104"/>
                      </a:lnTo>
                      <a:lnTo>
                        <a:pt x="754" y="1152"/>
                      </a:lnTo>
                      <a:lnTo>
                        <a:pt x="746" y="1186"/>
                      </a:lnTo>
                      <a:lnTo>
                        <a:pt x="740" y="1222"/>
                      </a:lnTo>
                      <a:lnTo>
                        <a:pt x="738" y="1272"/>
                      </a:lnTo>
                      <a:lnTo>
                        <a:pt x="734" y="1346"/>
                      </a:lnTo>
                      <a:lnTo>
                        <a:pt x="734" y="1366"/>
                      </a:lnTo>
                      <a:lnTo>
                        <a:pt x="736" y="1382"/>
                      </a:lnTo>
                      <a:lnTo>
                        <a:pt x="742" y="1398"/>
                      </a:lnTo>
                      <a:lnTo>
                        <a:pt x="750" y="1416"/>
                      </a:lnTo>
                      <a:lnTo>
                        <a:pt x="758" y="1428"/>
                      </a:lnTo>
                      <a:lnTo>
                        <a:pt x="764" y="1436"/>
                      </a:lnTo>
                      <a:lnTo>
                        <a:pt x="772" y="1448"/>
                      </a:lnTo>
                      <a:lnTo>
                        <a:pt x="778" y="1458"/>
                      </a:lnTo>
                      <a:lnTo>
                        <a:pt x="778" y="1468"/>
                      </a:lnTo>
                      <a:lnTo>
                        <a:pt x="776" y="1472"/>
                      </a:lnTo>
                      <a:lnTo>
                        <a:pt x="774" y="1474"/>
                      </a:lnTo>
                      <a:lnTo>
                        <a:pt x="770" y="1476"/>
                      </a:lnTo>
                      <a:lnTo>
                        <a:pt x="766" y="1478"/>
                      </a:lnTo>
                      <a:lnTo>
                        <a:pt x="756" y="1474"/>
                      </a:lnTo>
                      <a:lnTo>
                        <a:pt x="744" y="1468"/>
                      </a:lnTo>
                      <a:lnTo>
                        <a:pt x="734" y="1458"/>
                      </a:lnTo>
                      <a:lnTo>
                        <a:pt x="690" y="1406"/>
                      </a:lnTo>
                      <a:lnTo>
                        <a:pt x="678" y="1392"/>
                      </a:lnTo>
                      <a:lnTo>
                        <a:pt x="668" y="1376"/>
                      </a:lnTo>
                      <a:lnTo>
                        <a:pt x="658" y="1360"/>
                      </a:lnTo>
                      <a:lnTo>
                        <a:pt x="650" y="1346"/>
                      </a:lnTo>
                      <a:lnTo>
                        <a:pt x="618" y="1272"/>
                      </a:lnTo>
                      <a:lnTo>
                        <a:pt x="588" y="1208"/>
                      </a:lnTo>
                      <a:lnTo>
                        <a:pt x="528" y="1088"/>
                      </a:lnTo>
                      <a:lnTo>
                        <a:pt x="512" y="1054"/>
                      </a:lnTo>
                      <a:lnTo>
                        <a:pt x="500" y="1020"/>
                      </a:lnTo>
                      <a:lnTo>
                        <a:pt x="468" y="928"/>
                      </a:lnTo>
                      <a:lnTo>
                        <a:pt x="444" y="858"/>
                      </a:lnTo>
                      <a:lnTo>
                        <a:pt x="408" y="758"/>
                      </a:lnTo>
                      <a:lnTo>
                        <a:pt x="398" y="722"/>
                      </a:lnTo>
                      <a:lnTo>
                        <a:pt x="390" y="688"/>
                      </a:lnTo>
                      <a:lnTo>
                        <a:pt x="378" y="606"/>
                      </a:lnTo>
                      <a:lnTo>
                        <a:pt x="374" y="588"/>
                      </a:lnTo>
                      <a:lnTo>
                        <a:pt x="368" y="570"/>
                      </a:lnTo>
                      <a:lnTo>
                        <a:pt x="362" y="554"/>
                      </a:lnTo>
                      <a:lnTo>
                        <a:pt x="354" y="538"/>
                      </a:lnTo>
                      <a:lnTo>
                        <a:pt x="318" y="476"/>
                      </a:lnTo>
                      <a:lnTo>
                        <a:pt x="258" y="362"/>
                      </a:lnTo>
                      <a:lnTo>
                        <a:pt x="252" y="348"/>
                      </a:lnTo>
                      <a:lnTo>
                        <a:pt x="250" y="330"/>
                      </a:lnTo>
                      <a:lnTo>
                        <a:pt x="250" y="312"/>
                      </a:lnTo>
                      <a:lnTo>
                        <a:pt x="254" y="296"/>
                      </a:lnTo>
                      <a:lnTo>
                        <a:pt x="276" y="234"/>
                      </a:lnTo>
                      <a:lnTo>
                        <a:pt x="292" y="188"/>
                      </a:lnTo>
                      <a:lnTo>
                        <a:pt x="300" y="178"/>
                      </a:lnTo>
                      <a:lnTo>
                        <a:pt x="308" y="170"/>
                      </a:lnTo>
                      <a:lnTo>
                        <a:pt x="312" y="164"/>
                      </a:lnTo>
                      <a:lnTo>
                        <a:pt x="318" y="156"/>
                      </a:lnTo>
                      <a:lnTo>
                        <a:pt x="322" y="146"/>
                      </a:lnTo>
                      <a:lnTo>
                        <a:pt x="326" y="134"/>
                      </a:lnTo>
                      <a:lnTo>
                        <a:pt x="332" y="110"/>
                      </a:lnTo>
                      <a:lnTo>
                        <a:pt x="334" y="92"/>
                      </a:lnTo>
                      <a:lnTo>
                        <a:pt x="332" y="84"/>
                      </a:lnTo>
                      <a:lnTo>
                        <a:pt x="330" y="76"/>
                      </a:lnTo>
                      <a:lnTo>
                        <a:pt x="322" y="58"/>
                      </a:lnTo>
                      <a:lnTo>
                        <a:pt x="314" y="50"/>
                      </a:lnTo>
                      <a:lnTo>
                        <a:pt x="304" y="42"/>
                      </a:lnTo>
                      <a:lnTo>
                        <a:pt x="290" y="36"/>
                      </a:lnTo>
                      <a:lnTo>
                        <a:pt x="276" y="30"/>
                      </a:lnTo>
                      <a:lnTo>
                        <a:pt x="178" y="4"/>
                      </a:lnTo>
                      <a:lnTo>
                        <a:pt x="162" y="2"/>
                      </a:lnTo>
                      <a:lnTo>
                        <a:pt x="150" y="0"/>
                      </a:lnTo>
                      <a:lnTo>
                        <a:pt x="138" y="0"/>
                      </a:lnTo>
                      <a:lnTo>
                        <a:pt x="132" y="2"/>
                      </a:lnTo>
                      <a:lnTo>
                        <a:pt x="106" y="18"/>
                      </a:lnTo>
                      <a:lnTo>
                        <a:pt x="92" y="28"/>
                      </a:lnTo>
                      <a:lnTo>
                        <a:pt x="78" y="40"/>
                      </a:lnTo>
                      <a:lnTo>
                        <a:pt x="68" y="50"/>
                      </a:lnTo>
                      <a:lnTo>
                        <a:pt x="60" y="60"/>
                      </a:lnTo>
                      <a:lnTo>
                        <a:pt x="48" y="84"/>
                      </a:lnTo>
                      <a:lnTo>
                        <a:pt x="38" y="108"/>
                      </a:lnTo>
                      <a:lnTo>
                        <a:pt x="28" y="128"/>
                      </a:lnTo>
                      <a:lnTo>
                        <a:pt x="16" y="144"/>
                      </a:lnTo>
                      <a:lnTo>
                        <a:pt x="4" y="158"/>
                      </a:lnTo>
                      <a:lnTo>
                        <a:pt x="2" y="160"/>
                      </a:lnTo>
                      <a:lnTo>
                        <a:pt x="0" y="166"/>
                      </a:lnTo>
                      <a:lnTo>
                        <a:pt x="2" y="174"/>
                      </a:lnTo>
                      <a:lnTo>
                        <a:pt x="6" y="184"/>
                      </a:lnTo>
                      <a:lnTo>
                        <a:pt x="16" y="196"/>
                      </a:lnTo>
                      <a:lnTo>
                        <a:pt x="26" y="206"/>
                      </a:lnTo>
                      <a:lnTo>
                        <a:pt x="34" y="218"/>
                      </a:lnTo>
                      <a:lnTo>
                        <a:pt x="40" y="228"/>
                      </a:lnTo>
                      <a:lnTo>
                        <a:pt x="50" y="240"/>
                      </a:lnTo>
                      <a:lnTo>
                        <a:pt x="60" y="254"/>
                      </a:lnTo>
                      <a:lnTo>
                        <a:pt x="68" y="272"/>
                      </a:lnTo>
                      <a:lnTo>
                        <a:pt x="74" y="292"/>
                      </a:lnTo>
                      <a:lnTo>
                        <a:pt x="74" y="298"/>
                      </a:lnTo>
                      <a:lnTo>
                        <a:pt x="74" y="302"/>
                      </a:lnTo>
                      <a:lnTo>
                        <a:pt x="74" y="316"/>
                      </a:lnTo>
                      <a:lnTo>
                        <a:pt x="76" y="344"/>
                      </a:lnTo>
                      <a:lnTo>
                        <a:pt x="84" y="426"/>
                      </a:lnTo>
                      <a:lnTo>
                        <a:pt x="84" y="442"/>
                      </a:lnTo>
                      <a:lnTo>
                        <a:pt x="82" y="458"/>
                      </a:lnTo>
                      <a:lnTo>
                        <a:pt x="78" y="474"/>
                      </a:lnTo>
                      <a:lnTo>
                        <a:pt x="72" y="488"/>
                      </a:lnTo>
                      <a:lnTo>
                        <a:pt x="66" y="502"/>
                      </a:lnTo>
                      <a:lnTo>
                        <a:pt x="64" y="518"/>
                      </a:lnTo>
                      <a:lnTo>
                        <a:pt x="64" y="534"/>
                      </a:lnTo>
                      <a:lnTo>
                        <a:pt x="66" y="550"/>
                      </a:lnTo>
                      <a:lnTo>
                        <a:pt x="100" y="666"/>
                      </a:lnTo>
                      <a:lnTo>
                        <a:pt x="122" y="734"/>
                      </a:lnTo>
                      <a:lnTo>
                        <a:pt x="230" y="1044"/>
                      </a:lnTo>
                      <a:lnTo>
                        <a:pt x="238" y="1078"/>
                      </a:lnTo>
                      <a:lnTo>
                        <a:pt x="244" y="1114"/>
                      </a:lnTo>
                      <a:lnTo>
                        <a:pt x="246" y="1142"/>
                      </a:lnTo>
                      <a:lnTo>
                        <a:pt x="250" y="1156"/>
                      </a:lnTo>
                      <a:lnTo>
                        <a:pt x="256" y="1170"/>
                      </a:lnTo>
                      <a:lnTo>
                        <a:pt x="264" y="1180"/>
                      </a:lnTo>
                      <a:lnTo>
                        <a:pt x="268" y="1184"/>
                      </a:lnTo>
                      <a:lnTo>
                        <a:pt x="272" y="1186"/>
                      </a:lnTo>
                      <a:lnTo>
                        <a:pt x="282" y="1192"/>
                      </a:lnTo>
                      <a:lnTo>
                        <a:pt x="292" y="1202"/>
                      </a:lnTo>
                      <a:lnTo>
                        <a:pt x="302" y="1214"/>
                      </a:lnTo>
                      <a:lnTo>
                        <a:pt x="308" y="1228"/>
                      </a:lnTo>
                      <a:lnTo>
                        <a:pt x="320" y="1260"/>
                      </a:lnTo>
                      <a:lnTo>
                        <a:pt x="332" y="1294"/>
                      </a:lnTo>
                      <a:lnTo>
                        <a:pt x="340" y="1330"/>
                      </a:lnTo>
                      <a:lnTo>
                        <a:pt x="344" y="1366"/>
                      </a:lnTo>
                      <a:lnTo>
                        <a:pt x="352" y="1400"/>
                      </a:lnTo>
                      <a:lnTo>
                        <a:pt x="364" y="1436"/>
                      </a:lnTo>
                      <a:lnTo>
                        <a:pt x="444" y="1622"/>
                      </a:lnTo>
                      <a:lnTo>
                        <a:pt x="470" y="1690"/>
                      </a:lnTo>
                      <a:lnTo>
                        <a:pt x="522" y="1846"/>
                      </a:lnTo>
                      <a:lnTo>
                        <a:pt x="528" y="1862"/>
                      </a:lnTo>
                      <a:lnTo>
                        <a:pt x="532" y="1880"/>
                      </a:lnTo>
                      <a:lnTo>
                        <a:pt x="534" y="1898"/>
                      </a:lnTo>
                      <a:lnTo>
                        <a:pt x="536" y="1916"/>
                      </a:lnTo>
                      <a:lnTo>
                        <a:pt x="540" y="2044"/>
                      </a:lnTo>
                      <a:lnTo>
                        <a:pt x="540" y="2080"/>
                      </a:lnTo>
                      <a:lnTo>
                        <a:pt x="534" y="2116"/>
                      </a:lnTo>
                      <a:lnTo>
                        <a:pt x="512" y="2206"/>
                      </a:lnTo>
                      <a:lnTo>
                        <a:pt x="502" y="2240"/>
                      </a:lnTo>
                      <a:lnTo>
                        <a:pt x="488" y="2274"/>
                      </a:lnTo>
                      <a:lnTo>
                        <a:pt x="442" y="2364"/>
                      </a:lnTo>
                      <a:lnTo>
                        <a:pt x="410" y="2428"/>
                      </a:lnTo>
                      <a:lnTo>
                        <a:pt x="382" y="2486"/>
                      </a:lnTo>
                      <a:lnTo>
                        <a:pt x="370" y="2508"/>
                      </a:lnTo>
                      <a:lnTo>
                        <a:pt x="588" y="2612"/>
                      </a:lnTo>
                      <a:lnTo>
                        <a:pt x="586" y="2614"/>
                      </a:lnTo>
                      <a:lnTo>
                        <a:pt x="596" y="2616"/>
                      </a:lnTo>
                      <a:lnTo>
                        <a:pt x="600" y="2618"/>
                      </a:lnTo>
                      <a:lnTo>
                        <a:pt x="602" y="2698"/>
                      </a:lnTo>
                      <a:lnTo>
                        <a:pt x="592" y="2740"/>
                      </a:lnTo>
                      <a:lnTo>
                        <a:pt x="594" y="2740"/>
                      </a:lnTo>
                      <a:lnTo>
                        <a:pt x="588" y="2756"/>
                      </a:lnTo>
                      <a:lnTo>
                        <a:pt x="584" y="2824"/>
                      </a:lnTo>
                      <a:lnTo>
                        <a:pt x="580" y="2904"/>
                      </a:lnTo>
                      <a:lnTo>
                        <a:pt x="586" y="2988"/>
                      </a:lnTo>
                      <a:lnTo>
                        <a:pt x="592" y="3056"/>
                      </a:lnTo>
                      <a:lnTo>
                        <a:pt x="592" y="3070"/>
                      </a:lnTo>
                      <a:lnTo>
                        <a:pt x="594" y="3072"/>
                      </a:lnTo>
                      <a:lnTo>
                        <a:pt x="594" y="3076"/>
                      </a:lnTo>
                      <a:lnTo>
                        <a:pt x="594" y="3086"/>
                      </a:lnTo>
                      <a:lnTo>
                        <a:pt x="592" y="3096"/>
                      </a:lnTo>
                      <a:lnTo>
                        <a:pt x="592" y="3102"/>
                      </a:lnTo>
                      <a:lnTo>
                        <a:pt x="592" y="3174"/>
                      </a:lnTo>
                      <a:lnTo>
                        <a:pt x="590" y="3250"/>
                      </a:lnTo>
                      <a:lnTo>
                        <a:pt x="582" y="3396"/>
                      </a:lnTo>
                      <a:lnTo>
                        <a:pt x="582" y="3460"/>
                      </a:lnTo>
                      <a:lnTo>
                        <a:pt x="584" y="3492"/>
                      </a:lnTo>
                      <a:lnTo>
                        <a:pt x="588" y="3526"/>
                      </a:lnTo>
                      <a:lnTo>
                        <a:pt x="592" y="3574"/>
                      </a:lnTo>
                      <a:lnTo>
                        <a:pt x="594" y="3622"/>
                      </a:lnTo>
                      <a:lnTo>
                        <a:pt x="594" y="3670"/>
                      </a:lnTo>
                      <a:lnTo>
                        <a:pt x="592" y="3718"/>
                      </a:lnTo>
                      <a:lnTo>
                        <a:pt x="590" y="3766"/>
                      </a:lnTo>
                      <a:lnTo>
                        <a:pt x="586" y="3814"/>
                      </a:lnTo>
                      <a:lnTo>
                        <a:pt x="576" y="3906"/>
                      </a:lnTo>
                      <a:lnTo>
                        <a:pt x="592" y="3912"/>
                      </a:lnTo>
                      <a:lnTo>
                        <a:pt x="608" y="3916"/>
                      </a:lnTo>
                      <a:lnTo>
                        <a:pt x="638" y="3916"/>
                      </a:lnTo>
                      <a:lnTo>
                        <a:pt x="632" y="3972"/>
                      </a:lnTo>
                      <a:lnTo>
                        <a:pt x="628" y="4000"/>
                      </a:lnTo>
                      <a:lnTo>
                        <a:pt x="628" y="4028"/>
                      </a:lnTo>
                      <a:lnTo>
                        <a:pt x="626" y="4060"/>
                      </a:lnTo>
                      <a:lnTo>
                        <a:pt x="628" y="4092"/>
                      </a:lnTo>
                      <a:lnTo>
                        <a:pt x="632" y="4126"/>
                      </a:lnTo>
                      <a:lnTo>
                        <a:pt x="636" y="4158"/>
                      </a:lnTo>
                      <a:lnTo>
                        <a:pt x="644" y="4202"/>
                      </a:lnTo>
                      <a:lnTo>
                        <a:pt x="652" y="4248"/>
                      </a:lnTo>
                      <a:lnTo>
                        <a:pt x="662" y="4292"/>
                      </a:lnTo>
                      <a:lnTo>
                        <a:pt x="674" y="4336"/>
                      </a:lnTo>
                      <a:lnTo>
                        <a:pt x="700" y="4422"/>
                      </a:lnTo>
                      <a:lnTo>
                        <a:pt x="730" y="4508"/>
                      </a:lnTo>
                      <a:lnTo>
                        <a:pt x="756" y="4578"/>
                      </a:lnTo>
                      <a:lnTo>
                        <a:pt x="768" y="4616"/>
                      </a:lnTo>
                      <a:lnTo>
                        <a:pt x="778" y="4656"/>
                      </a:lnTo>
                      <a:lnTo>
                        <a:pt x="786" y="4694"/>
                      </a:lnTo>
                      <a:lnTo>
                        <a:pt x="790" y="4734"/>
                      </a:lnTo>
                      <a:lnTo>
                        <a:pt x="792" y="4752"/>
                      </a:lnTo>
                      <a:lnTo>
                        <a:pt x="792" y="4770"/>
                      </a:lnTo>
                      <a:lnTo>
                        <a:pt x="790" y="4790"/>
                      </a:lnTo>
                      <a:lnTo>
                        <a:pt x="786" y="4806"/>
                      </a:lnTo>
                      <a:lnTo>
                        <a:pt x="780" y="4850"/>
                      </a:lnTo>
                      <a:lnTo>
                        <a:pt x="776" y="4894"/>
                      </a:lnTo>
                      <a:lnTo>
                        <a:pt x="776" y="4938"/>
                      </a:lnTo>
                      <a:lnTo>
                        <a:pt x="778" y="4980"/>
                      </a:lnTo>
                      <a:lnTo>
                        <a:pt x="782" y="5008"/>
                      </a:lnTo>
                      <a:lnTo>
                        <a:pt x="790" y="5038"/>
                      </a:lnTo>
                      <a:lnTo>
                        <a:pt x="798" y="5066"/>
                      </a:lnTo>
                      <a:lnTo>
                        <a:pt x="802" y="5094"/>
                      </a:lnTo>
                      <a:lnTo>
                        <a:pt x="804" y="5104"/>
                      </a:lnTo>
                      <a:lnTo>
                        <a:pt x="804" y="5114"/>
                      </a:lnTo>
                      <a:lnTo>
                        <a:pt x="802" y="5130"/>
                      </a:lnTo>
                      <a:lnTo>
                        <a:pt x="804" y="5138"/>
                      </a:lnTo>
                      <a:lnTo>
                        <a:pt x="806" y="5146"/>
                      </a:lnTo>
                      <a:lnTo>
                        <a:pt x="812" y="5152"/>
                      </a:lnTo>
                      <a:lnTo>
                        <a:pt x="822" y="5160"/>
                      </a:lnTo>
                      <a:lnTo>
                        <a:pt x="860" y="5174"/>
                      </a:lnTo>
                      <a:lnTo>
                        <a:pt x="886" y="5182"/>
                      </a:lnTo>
                      <a:lnTo>
                        <a:pt x="912" y="5188"/>
                      </a:lnTo>
                      <a:lnTo>
                        <a:pt x="940" y="5194"/>
                      </a:lnTo>
                      <a:lnTo>
                        <a:pt x="964" y="5196"/>
                      </a:lnTo>
                      <a:lnTo>
                        <a:pt x="986" y="5196"/>
                      </a:lnTo>
                      <a:lnTo>
                        <a:pt x="996" y="5194"/>
                      </a:lnTo>
                      <a:lnTo>
                        <a:pt x="1004" y="5190"/>
                      </a:lnTo>
                      <a:lnTo>
                        <a:pt x="1018" y="5182"/>
                      </a:lnTo>
                      <a:lnTo>
                        <a:pt x="1026" y="5172"/>
                      </a:lnTo>
                      <a:lnTo>
                        <a:pt x="1034" y="5162"/>
                      </a:lnTo>
                      <a:lnTo>
                        <a:pt x="1038" y="5152"/>
                      </a:lnTo>
                      <a:lnTo>
                        <a:pt x="1042" y="5160"/>
                      </a:lnTo>
                      <a:lnTo>
                        <a:pt x="1050" y="5166"/>
                      </a:lnTo>
                      <a:lnTo>
                        <a:pt x="1058" y="5170"/>
                      </a:lnTo>
                      <a:lnTo>
                        <a:pt x="1070" y="5174"/>
                      </a:lnTo>
                      <a:lnTo>
                        <a:pt x="1096" y="5176"/>
                      </a:lnTo>
                      <a:lnTo>
                        <a:pt x="1120" y="5176"/>
                      </a:lnTo>
                      <a:lnTo>
                        <a:pt x="1142" y="5172"/>
                      </a:lnTo>
                      <a:lnTo>
                        <a:pt x="1166" y="5166"/>
                      </a:lnTo>
                      <a:lnTo>
                        <a:pt x="1182" y="5160"/>
                      </a:lnTo>
                      <a:lnTo>
                        <a:pt x="1194" y="5154"/>
                      </a:lnTo>
                      <a:lnTo>
                        <a:pt x="1202" y="5146"/>
                      </a:lnTo>
                      <a:lnTo>
                        <a:pt x="1206" y="5136"/>
                      </a:lnTo>
                      <a:lnTo>
                        <a:pt x="1208" y="5128"/>
                      </a:lnTo>
                      <a:lnTo>
                        <a:pt x="1206" y="5118"/>
                      </a:lnTo>
                      <a:lnTo>
                        <a:pt x="1202" y="5108"/>
                      </a:lnTo>
                      <a:lnTo>
                        <a:pt x="1198" y="5096"/>
                      </a:lnTo>
                      <a:lnTo>
                        <a:pt x="1182" y="5074"/>
                      </a:lnTo>
                      <a:lnTo>
                        <a:pt x="1166" y="5052"/>
                      </a:lnTo>
                      <a:lnTo>
                        <a:pt x="1150" y="5028"/>
                      </a:lnTo>
                      <a:lnTo>
                        <a:pt x="1138" y="5006"/>
                      </a:lnTo>
                      <a:lnTo>
                        <a:pt x="1132" y="4990"/>
                      </a:lnTo>
                      <a:lnTo>
                        <a:pt x="1128" y="4970"/>
                      </a:lnTo>
                      <a:lnTo>
                        <a:pt x="1124" y="4928"/>
                      </a:lnTo>
                      <a:lnTo>
                        <a:pt x="1122" y="4892"/>
                      </a:lnTo>
                      <a:lnTo>
                        <a:pt x="1118" y="4864"/>
                      </a:lnTo>
                      <a:lnTo>
                        <a:pt x="1116" y="4840"/>
                      </a:lnTo>
                      <a:lnTo>
                        <a:pt x="1114" y="4814"/>
                      </a:lnTo>
                      <a:lnTo>
                        <a:pt x="1120" y="4788"/>
                      </a:lnTo>
                      <a:lnTo>
                        <a:pt x="1130" y="4746"/>
                      </a:lnTo>
                      <a:lnTo>
                        <a:pt x="1164" y="4632"/>
                      </a:lnTo>
                      <a:lnTo>
                        <a:pt x="1198" y="4522"/>
                      </a:lnTo>
                      <a:lnTo>
                        <a:pt x="1218" y="4462"/>
                      </a:lnTo>
                      <a:lnTo>
                        <a:pt x="1234" y="4410"/>
                      </a:lnTo>
                      <a:lnTo>
                        <a:pt x="1264" y="4318"/>
                      </a:lnTo>
                      <a:lnTo>
                        <a:pt x="1296" y="4226"/>
                      </a:lnTo>
                      <a:lnTo>
                        <a:pt x="1312" y="4172"/>
                      </a:lnTo>
                      <a:lnTo>
                        <a:pt x="1356" y="3948"/>
                      </a:lnTo>
                      <a:lnTo>
                        <a:pt x="1360" y="3942"/>
                      </a:lnTo>
                      <a:lnTo>
                        <a:pt x="1362" y="3926"/>
                      </a:lnTo>
                      <a:lnTo>
                        <a:pt x="1368" y="3870"/>
                      </a:lnTo>
                      <a:lnTo>
                        <a:pt x="1374" y="3690"/>
                      </a:lnTo>
                      <a:lnTo>
                        <a:pt x="1384" y="3470"/>
                      </a:lnTo>
                      <a:lnTo>
                        <a:pt x="1390" y="3364"/>
                      </a:lnTo>
                      <a:lnTo>
                        <a:pt x="1398" y="3270"/>
                      </a:lnTo>
                      <a:lnTo>
                        <a:pt x="1412" y="3164"/>
                      </a:lnTo>
                      <a:lnTo>
                        <a:pt x="1416" y="3136"/>
                      </a:lnTo>
                      <a:lnTo>
                        <a:pt x="1420" y="3128"/>
                      </a:lnTo>
                      <a:lnTo>
                        <a:pt x="1422" y="3120"/>
                      </a:lnTo>
                      <a:lnTo>
                        <a:pt x="1414" y="3024"/>
                      </a:lnTo>
                      <a:lnTo>
                        <a:pt x="1344" y="2810"/>
                      </a:lnTo>
                      <a:lnTo>
                        <a:pt x="1284" y="2690"/>
                      </a:lnTo>
                      <a:lnTo>
                        <a:pt x="1536" y="2594"/>
                      </a:lnTo>
                      <a:lnTo>
                        <a:pt x="1428" y="2368"/>
                      </a:lnTo>
                      <a:lnTo>
                        <a:pt x="1422" y="2352"/>
                      </a:lnTo>
                      <a:lnTo>
                        <a:pt x="1418" y="2334"/>
                      </a:lnTo>
                      <a:lnTo>
                        <a:pt x="1414" y="2314"/>
                      </a:lnTo>
                      <a:lnTo>
                        <a:pt x="1414" y="2298"/>
                      </a:lnTo>
                      <a:lnTo>
                        <a:pt x="1414" y="2244"/>
                      </a:lnTo>
                      <a:lnTo>
                        <a:pt x="1412" y="2210"/>
                      </a:lnTo>
                      <a:lnTo>
                        <a:pt x="1410" y="2178"/>
                      </a:lnTo>
                      <a:lnTo>
                        <a:pt x="1410" y="2164"/>
                      </a:lnTo>
                      <a:lnTo>
                        <a:pt x="1412" y="2148"/>
                      </a:lnTo>
                      <a:lnTo>
                        <a:pt x="1416" y="2132"/>
                      </a:lnTo>
                      <a:lnTo>
                        <a:pt x="1422" y="2118"/>
                      </a:lnTo>
                      <a:lnTo>
                        <a:pt x="1426" y="2112"/>
                      </a:lnTo>
                      <a:lnTo>
                        <a:pt x="1434" y="2096"/>
                      </a:lnTo>
                      <a:lnTo>
                        <a:pt x="1438" y="2078"/>
                      </a:lnTo>
                      <a:lnTo>
                        <a:pt x="1442" y="2060"/>
                      </a:lnTo>
                      <a:lnTo>
                        <a:pt x="1444" y="2044"/>
                      </a:lnTo>
                      <a:lnTo>
                        <a:pt x="1444" y="2032"/>
                      </a:lnTo>
                      <a:lnTo>
                        <a:pt x="1444" y="1958"/>
                      </a:lnTo>
                      <a:lnTo>
                        <a:pt x="1444" y="1878"/>
                      </a:lnTo>
                      <a:lnTo>
                        <a:pt x="1444" y="1814"/>
                      </a:lnTo>
                      <a:lnTo>
                        <a:pt x="1446" y="1802"/>
                      </a:lnTo>
                      <a:lnTo>
                        <a:pt x="1450" y="1786"/>
                      </a:lnTo>
                      <a:lnTo>
                        <a:pt x="1456" y="1772"/>
                      </a:lnTo>
                      <a:lnTo>
                        <a:pt x="1466" y="1758"/>
                      </a:lnTo>
                      <a:lnTo>
                        <a:pt x="1484" y="1732"/>
                      </a:lnTo>
                      <a:lnTo>
                        <a:pt x="1504" y="1702"/>
                      </a:lnTo>
                      <a:lnTo>
                        <a:pt x="1520" y="1668"/>
                      </a:lnTo>
                      <a:lnTo>
                        <a:pt x="1522" y="1666"/>
                      </a:lnTo>
                      <a:lnTo>
                        <a:pt x="1534" y="1634"/>
                      </a:lnTo>
                      <a:lnTo>
                        <a:pt x="1544" y="1602"/>
                      </a:lnTo>
                      <a:lnTo>
                        <a:pt x="1554" y="1570"/>
                      </a:lnTo>
                      <a:lnTo>
                        <a:pt x="1564" y="1538"/>
                      </a:lnTo>
                      <a:lnTo>
                        <a:pt x="1570" y="1520"/>
                      </a:lnTo>
                      <a:lnTo>
                        <a:pt x="1598" y="1454"/>
                      </a:lnTo>
                      <a:lnTo>
                        <a:pt x="1606" y="1434"/>
                      </a:lnTo>
                      <a:lnTo>
                        <a:pt x="1622" y="1402"/>
                      </a:lnTo>
                      <a:lnTo>
                        <a:pt x="1642" y="1372"/>
                      </a:lnTo>
                      <a:lnTo>
                        <a:pt x="1654" y="1354"/>
                      </a:lnTo>
                      <a:lnTo>
                        <a:pt x="1696" y="1296"/>
                      </a:lnTo>
                      <a:lnTo>
                        <a:pt x="1700" y="1292"/>
                      </a:lnTo>
                      <a:lnTo>
                        <a:pt x="1720" y="1268"/>
                      </a:lnTo>
                      <a:lnTo>
                        <a:pt x="1736" y="1252"/>
                      </a:lnTo>
                      <a:lnTo>
                        <a:pt x="1744" y="1244"/>
                      </a:lnTo>
                      <a:lnTo>
                        <a:pt x="1752" y="1234"/>
                      </a:lnTo>
                      <a:lnTo>
                        <a:pt x="1758" y="1220"/>
                      </a:lnTo>
                      <a:lnTo>
                        <a:pt x="1764" y="1206"/>
                      </a:lnTo>
                      <a:lnTo>
                        <a:pt x="1770" y="1190"/>
                      </a:lnTo>
                      <a:lnTo>
                        <a:pt x="1794" y="1124"/>
                      </a:lnTo>
                      <a:lnTo>
                        <a:pt x="1804" y="1096"/>
                      </a:lnTo>
                      <a:lnTo>
                        <a:pt x="1810" y="1070"/>
                      </a:lnTo>
                      <a:lnTo>
                        <a:pt x="1814" y="1058"/>
                      </a:lnTo>
                      <a:lnTo>
                        <a:pt x="1818" y="1044"/>
                      </a:lnTo>
                      <a:lnTo>
                        <a:pt x="1826" y="1030"/>
                      </a:lnTo>
                      <a:lnTo>
                        <a:pt x="1834" y="1016"/>
                      </a:lnTo>
                      <a:lnTo>
                        <a:pt x="1848" y="992"/>
                      </a:lnTo>
                      <a:lnTo>
                        <a:pt x="1886" y="930"/>
                      </a:lnTo>
                      <a:lnTo>
                        <a:pt x="1912" y="886"/>
                      </a:lnTo>
                      <a:lnTo>
                        <a:pt x="1930" y="856"/>
                      </a:lnTo>
                      <a:lnTo>
                        <a:pt x="1948" y="828"/>
                      </a:lnTo>
                      <a:lnTo>
                        <a:pt x="1956" y="814"/>
                      </a:lnTo>
                      <a:lnTo>
                        <a:pt x="1964" y="798"/>
                      </a:lnTo>
                      <a:lnTo>
                        <a:pt x="1970" y="780"/>
                      </a:lnTo>
                      <a:lnTo>
                        <a:pt x="1976" y="764"/>
                      </a:lnTo>
                      <a:lnTo>
                        <a:pt x="1984" y="720"/>
                      </a:lnTo>
                      <a:lnTo>
                        <a:pt x="1998" y="650"/>
                      </a:lnTo>
                      <a:lnTo>
                        <a:pt x="2008" y="598"/>
                      </a:lnTo>
                      <a:lnTo>
                        <a:pt x="2012" y="564"/>
                      </a:lnTo>
                      <a:lnTo>
                        <a:pt x="2014" y="534"/>
                      </a:lnTo>
                      <a:lnTo>
                        <a:pt x="2016" y="522"/>
                      </a:lnTo>
                      <a:lnTo>
                        <a:pt x="2018" y="506"/>
                      </a:lnTo>
                      <a:lnTo>
                        <a:pt x="2024" y="490"/>
                      </a:lnTo>
                      <a:lnTo>
                        <a:pt x="2030" y="476"/>
                      </a:lnTo>
                      <a:lnTo>
                        <a:pt x="2044" y="452"/>
                      </a:lnTo>
                      <a:lnTo>
                        <a:pt x="2056" y="434"/>
                      </a:lnTo>
                      <a:lnTo>
                        <a:pt x="2062" y="428"/>
                      </a:lnTo>
                      <a:lnTo>
                        <a:pt x="2066" y="418"/>
                      </a:lnTo>
                      <a:lnTo>
                        <a:pt x="2070" y="408"/>
                      </a:lnTo>
                      <a:lnTo>
                        <a:pt x="2074" y="398"/>
                      </a:lnTo>
                      <a:lnTo>
                        <a:pt x="2076" y="386"/>
                      </a:lnTo>
                      <a:lnTo>
                        <a:pt x="2082" y="374"/>
                      </a:lnTo>
                      <a:lnTo>
                        <a:pt x="2088" y="364"/>
                      </a:lnTo>
                      <a:lnTo>
                        <a:pt x="2096" y="354"/>
                      </a:lnTo>
                      <a:lnTo>
                        <a:pt x="2124" y="324"/>
                      </a:lnTo>
                      <a:lnTo>
                        <a:pt x="2144" y="298"/>
                      </a:lnTo>
                      <a:lnTo>
                        <a:pt x="2148" y="292"/>
                      </a:lnTo>
                      <a:lnTo>
                        <a:pt x="2146" y="280"/>
                      </a:lnTo>
                      <a:lnTo>
                        <a:pt x="2142" y="266"/>
                      </a:lnTo>
                      <a:lnTo>
                        <a:pt x="2136" y="254"/>
                      </a:lnTo>
                      <a:close/>
                      <a:moveTo>
                        <a:pt x="988" y="5046"/>
                      </a:moveTo>
                      <a:lnTo>
                        <a:pt x="988" y="5046"/>
                      </a:lnTo>
                      <a:lnTo>
                        <a:pt x="982" y="5032"/>
                      </a:lnTo>
                      <a:lnTo>
                        <a:pt x="976" y="5016"/>
                      </a:lnTo>
                      <a:lnTo>
                        <a:pt x="968" y="4986"/>
                      </a:lnTo>
                      <a:lnTo>
                        <a:pt x="962" y="4954"/>
                      </a:lnTo>
                      <a:lnTo>
                        <a:pt x="958" y="4922"/>
                      </a:lnTo>
                      <a:lnTo>
                        <a:pt x="974" y="4938"/>
                      </a:lnTo>
                      <a:lnTo>
                        <a:pt x="980" y="4948"/>
                      </a:lnTo>
                      <a:lnTo>
                        <a:pt x="984" y="4958"/>
                      </a:lnTo>
                      <a:lnTo>
                        <a:pt x="988" y="4980"/>
                      </a:lnTo>
                      <a:lnTo>
                        <a:pt x="990" y="5002"/>
                      </a:lnTo>
                      <a:lnTo>
                        <a:pt x="988" y="5046"/>
                      </a:lnTo>
                      <a:close/>
                      <a:moveTo>
                        <a:pt x="1112" y="4102"/>
                      </a:moveTo>
                      <a:lnTo>
                        <a:pt x="1112" y="4102"/>
                      </a:lnTo>
                      <a:lnTo>
                        <a:pt x="1106" y="4132"/>
                      </a:lnTo>
                      <a:lnTo>
                        <a:pt x="1096" y="4162"/>
                      </a:lnTo>
                      <a:lnTo>
                        <a:pt x="1078" y="4220"/>
                      </a:lnTo>
                      <a:lnTo>
                        <a:pt x="1068" y="4260"/>
                      </a:lnTo>
                      <a:lnTo>
                        <a:pt x="1062" y="4300"/>
                      </a:lnTo>
                      <a:lnTo>
                        <a:pt x="1056" y="4380"/>
                      </a:lnTo>
                      <a:lnTo>
                        <a:pt x="1052" y="4456"/>
                      </a:lnTo>
                      <a:lnTo>
                        <a:pt x="1046" y="4532"/>
                      </a:lnTo>
                      <a:lnTo>
                        <a:pt x="1042" y="4568"/>
                      </a:lnTo>
                      <a:lnTo>
                        <a:pt x="1036" y="4606"/>
                      </a:lnTo>
                      <a:lnTo>
                        <a:pt x="1026" y="4642"/>
                      </a:lnTo>
                      <a:lnTo>
                        <a:pt x="1016" y="4680"/>
                      </a:lnTo>
                      <a:lnTo>
                        <a:pt x="1004" y="4706"/>
                      </a:lnTo>
                      <a:lnTo>
                        <a:pt x="992" y="4730"/>
                      </a:lnTo>
                      <a:lnTo>
                        <a:pt x="976" y="4754"/>
                      </a:lnTo>
                      <a:lnTo>
                        <a:pt x="960" y="4776"/>
                      </a:lnTo>
                      <a:lnTo>
                        <a:pt x="950" y="4786"/>
                      </a:lnTo>
                      <a:lnTo>
                        <a:pt x="938" y="4800"/>
                      </a:lnTo>
                      <a:lnTo>
                        <a:pt x="936" y="4786"/>
                      </a:lnTo>
                      <a:lnTo>
                        <a:pt x="934" y="4778"/>
                      </a:lnTo>
                      <a:lnTo>
                        <a:pt x="930" y="4774"/>
                      </a:lnTo>
                      <a:lnTo>
                        <a:pt x="924" y="4754"/>
                      </a:lnTo>
                      <a:lnTo>
                        <a:pt x="912" y="4698"/>
                      </a:lnTo>
                      <a:lnTo>
                        <a:pt x="900" y="4636"/>
                      </a:lnTo>
                      <a:lnTo>
                        <a:pt x="890" y="4576"/>
                      </a:lnTo>
                      <a:lnTo>
                        <a:pt x="886" y="4550"/>
                      </a:lnTo>
                      <a:lnTo>
                        <a:pt x="884" y="4528"/>
                      </a:lnTo>
                      <a:lnTo>
                        <a:pt x="864" y="4252"/>
                      </a:lnTo>
                      <a:lnTo>
                        <a:pt x="860" y="4198"/>
                      </a:lnTo>
                      <a:lnTo>
                        <a:pt x="854" y="4144"/>
                      </a:lnTo>
                      <a:lnTo>
                        <a:pt x="842" y="4084"/>
                      </a:lnTo>
                      <a:lnTo>
                        <a:pt x="838" y="4054"/>
                      </a:lnTo>
                      <a:lnTo>
                        <a:pt x="838" y="4022"/>
                      </a:lnTo>
                      <a:lnTo>
                        <a:pt x="846" y="3974"/>
                      </a:lnTo>
                      <a:lnTo>
                        <a:pt x="854" y="3926"/>
                      </a:lnTo>
                      <a:lnTo>
                        <a:pt x="860" y="3924"/>
                      </a:lnTo>
                      <a:lnTo>
                        <a:pt x="870" y="3924"/>
                      </a:lnTo>
                      <a:lnTo>
                        <a:pt x="912" y="3922"/>
                      </a:lnTo>
                      <a:lnTo>
                        <a:pt x="952" y="3924"/>
                      </a:lnTo>
                      <a:lnTo>
                        <a:pt x="1032" y="3928"/>
                      </a:lnTo>
                      <a:lnTo>
                        <a:pt x="1112" y="3932"/>
                      </a:lnTo>
                      <a:lnTo>
                        <a:pt x="1114" y="3942"/>
                      </a:lnTo>
                      <a:lnTo>
                        <a:pt x="1116" y="3952"/>
                      </a:lnTo>
                      <a:lnTo>
                        <a:pt x="1120" y="3978"/>
                      </a:lnTo>
                      <a:lnTo>
                        <a:pt x="1120" y="3998"/>
                      </a:lnTo>
                      <a:lnTo>
                        <a:pt x="1120" y="4024"/>
                      </a:lnTo>
                      <a:lnTo>
                        <a:pt x="1118" y="4058"/>
                      </a:lnTo>
                      <a:lnTo>
                        <a:pt x="1112" y="4102"/>
                      </a:lnTo>
                      <a:close/>
                    </a:path>
                  </a:pathLst>
                </a:custGeom>
                <a:solidFill>
                  <a:srgbClr val="0A0B0A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Text" lastClr="000000"/>
                    </a:solidFill>
                    <a:latin typeface="+mn-lt"/>
                    <a:cs typeface="+mn-cs"/>
                  </a:endParaRPr>
                </a:p>
              </p:txBody>
            </p:sp>
            <p:sp>
              <p:nvSpPr>
                <p:cNvPr id="88" name="Freeform 97"/>
                <p:cNvSpPr>
                  <a:spLocks/>
                </p:cNvSpPr>
                <p:nvPr/>
              </p:nvSpPr>
              <p:spPr bwMode="auto">
                <a:xfrm>
                  <a:off x="7717187" y="5453099"/>
                  <a:ext cx="488340" cy="374934"/>
                </a:xfrm>
                <a:custGeom>
                  <a:avLst/>
                  <a:gdLst>
                    <a:gd name="T0" fmla="*/ 0 w 308"/>
                    <a:gd name="T1" fmla="*/ 136525 h 230"/>
                    <a:gd name="T2" fmla="*/ 66675 w 308"/>
                    <a:gd name="T3" fmla="*/ 365125 h 230"/>
                    <a:gd name="T4" fmla="*/ 257175 w 308"/>
                    <a:gd name="T5" fmla="*/ 307975 h 230"/>
                    <a:gd name="T6" fmla="*/ 406400 w 308"/>
                    <a:gd name="T7" fmla="*/ 244475 h 230"/>
                    <a:gd name="T8" fmla="*/ 488950 w 308"/>
                    <a:gd name="T9" fmla="*/ 158750 h 230"/>
                    <a:gd name="T10" fmla="*/ 406400 w 308"/>
                    <a:gd name="T11" fmla="*/ 0 h 230"/>
                    <a:gd name="T12" fmla="*/ 0 w 308"/>
                    <a:gd name="T13" fmla="*/ 136525 h 230"/>
                    <a:gd name="T14" fmla="*/ 0 w 308"/>
                    <a:gd name="T15" fmla="*/ 136525 h 230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308"/>
                    <a:gd name="T25" fmla="*/ 0 h 230"/>
                    <a:gd name="T26" fmla="*/ 308 w 308"/>
                    <a:gd name="T27" fmla="*/ 230 h 230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308" h="230">
                      <a:moveTo>
                        <a:pt x="0" y="86"/>
                      </a:moveTo>
                      <a:lnTo>
                        <a:pt x="42" y="230"/>
                      </a:lnTo>
                      <a:lnTo>
                        <a:pt x="162" y="194"/>
                      </a:lnTo>
                      <a:lnTo>
                        <a:pt x="256" y="154"/>
                      </a:lnTo>
                      <a:lnTo>
                        <a:pt x="308" y="100"/>
                      </a:lnTo>
                      <a:lnTo>
                        <a:pt x="256" y="0"/>
                      </a:lnTo>
                      <a:lnTo>
                        <a:pt x="0" y="86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Text" lastClr="000000"/>
                    </a:solidFill>
                    <a:latin typeface="+mn-lt"/>
                    <a:cs typeface="+mn-cs"/>
                  </a:endParaRPr>
                </a:p>
              </p:txBody>
            </p:sp>
            <p:sp>
              <p:nvSpPr>
                <p:cNvPr id="89" name="Freeform 98"/>
                <p:cNvSpPr>
                  <a:spLocks/>
                </p:cNvSpPr>
                <p:nvPr/>
              </p:nvSpPr>
              <p:spPr bwMode="auto">
                <a:xfrm>
                  <a:off x="10435618" y="5583512"/>
                  <a:ext cx="455784" cy="342330"/>
                </a:xfrm>
                <a:custGeom>
                  <a:avLst/>
                  <a:gdLst>
                    <a:gd name="T0" fmla="*/ 463550 w 292"/>
                    <a:gd name="T1" fmla="*/ 133350 h 216"/>
                    <a:gd name="T2" fmla="*/ 365125 w 292"/>
                    <a:gd name="T3" fmla="*/ 342900 h 216"/>
                    <a:gd name="T4" fmla="*/ 206375 w 292"/>
                    <a:gd name="T5" fmla="*/ 304800 h 216"/>
                    <a:gd name="T6" fmla="*/ 60325 w 292"/>
                    <a:gd name="T7" fmla="*/ 244475 h 216"/>
                    <a:gd name="T8" fmla="*/ 0 w 292"/>
                    <a:gd name="T9" fmla="*/ 158750 h 216"/>
                    <a:gd name="T10" fmla="*/ 60325 w 292"/>
                    <a:gd name="T11" fmla="*/ 0 h 216"/>
                    <a:gd name="T12" fmla="*/ 463550 w 292"/>
                    <a:gd name="T13" fmla="*/ 133350 h 216"/>
                    <a:gd name="T14" fmla="*/ 463550 w 292"/>
                    <a:gd name="T15" fmla="*/ 133350 h 21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292"/>
                    <a:gd name="T25" fmla="*/ 0 h 216"/>
                    <a:gd name="T26" fmla="*/ 292 w 292"/>
                    <a:gd name="T27" fmla="*/ 216 h 21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292" h="216">
                      <a:moveTo>
                        <a:pt x="292" y="84"/>
                      </a:moveTo>
                      <a:lnTo>
                        <a:pt x="230" y="216"/>
                      </a:lnTo>
                      <a:lnTo>
                        <a:pt x="130" y="192"/>
                      </a:lnTo>
                      <a:lnTo>
                        <a:pt x="38" y="154"/>
                      </a:lnTo>
                      <a:lnTo>
                        <a:pt x="0" y="100"/>
                      </a:lnTo>
                      <a:lnTo>
                        <a:pt x="38" y="0"/>
                      </a:lnTo>
                      <a:lnTo>
                        <a:pt x="292" y="84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Text" lastClr="000000"/>
                    </a:solidFill>
                    <a:latin typeface="+mn-lt"/>
                    <a:cs typeface="+mn-cs"/>
                  </a:endParaRPr>
                </a:p>
              </p:txBody>
            </p:sp>
          </p:grpSp>
          <p:grpSp>
            <p:nvGrpSpPr>
              <p:cNvPr id="83" name="Gruppe 74"/>
              <p:cNvGrpSpPr>
                <a:grpSpLocks/>
              </p:cNvGrpSpPr>
              <p:nvPr/>
            </p:nvGrpSpPr>
            <p:grpSpPr bwMode="auto">
              <a:xfrm>
                <a:off x="6148326" y="2089215"/>
                <a:ext cx="88739" cy="150736"/>
                <a:chOff x="12319599" y="5789559"/>
                <a:chExt cx="808795" cy="1809769"/>
              </a:xfrm>
            </p:grpSpPr>
            <p:sp>
              <p:nvSpPr>
                <p:cNvPr id="84" name="Freeform 113"/>
                <p:cNvSpPr>
                  <a:spLocks/>
                </p:cNvSpPr>
                <p:nvPr/>
              </p:nvSpPr>
              <p:spPr bwMode="auto">
                <a:xfrm>
                  <a:off x="12319626" y="5789571"/>
                  <a:ext cx="808795" cy="1809769"/>
                </a:xfrm>
                <a:custGeom>
                  <a:avLst/>
                  <a:gdLst>
                    <a:gd name="T0" fmla="*/ 524 w 548"/>
                    <a:gd name="T1" fmla="*/ 1080 h 1142"/>
                    <a:gd name="T2" fmla="*/ 494 w 548"/>
                    <a:gd name="T3" fmla="*/ 1104 h 1142"/>
                    <a:gd name="T4" fmla="*/ 450 w 548"/>
                    <a:gd name="T5" fmla="*/ 1122 h 1142"/>
                    <a:gd name="T6" fmla="*/ 326 w 548"/>
                    <a:gd name="T7" fmla="*/ 1140 h 1142"/>
                    <a:gd name="T8" fmla="*/ 204 w 548"/>
                    <a:gd name="T9" fmla="*/ 1140 h 1142"/>
                    <a:gd name="T10" fmla="*/ 72 w 548"/>
                    <a:gd name="T11" fmla="*/ 1112 h 1142"/>
                    <a:gd name="T12" fmla="*/ 30 w 548"/>
                    <a:gd name="T13" fmla="*/ 1088 h 1142"/>
                    <a:gd name="T14" fmla="*/ 4 w 548"/>
                    <a:gd name="T15" fmla="*/ 1048 h 1142"/>
                    <a:gd name="T16" fmla="*/ 26 w 548"/>
                    <a:gd name="T17" fmla="*/ 580 h 1142"/>
                    <a:gd name="T18" fmla="*/ 36 w 548"/>
                    <a:gd name="T19" fmla="*/ 506 h 1142"/>
                    <a:gd name="T20" fmla="*/ 50 w 548"/>
                    <a:gd name="T21" fmla="*/ 440 h 1142"/>
                    <a:gd name="T22" fmla="*/ 74 w 548"/>
                    <a:gd name="T23" fmla="*/ 334 h 1142"/>
                    <a:gd name="T24" fmla="*/ 84 w 548"/>
                    <a:gd name="T25" fmla="*/ 272 h 1142"/>
                    <a:gd name="T26" fmla="*/ 112 w 548"/>
                    <a:gd name="T27" fmla="*/ 168 h 1142"/>
                    <a:gd name="T28" fmla="*/ 136 w 548"/>
                    <a:gd name="T29" fmla="*/ 120 h 1142"/>
                    <a:gd name="T30" fmla="*/ 166 w 548"/>
                    <a:gd name="T31" fmla="*/ 42 h 1142"/>
                    <a:gd name="T32" fmla="*/ 180 w 548"/>
                    <a:gd name="T33" fmla="*/ 10 h 1142"/>
                    <a:gd name="T34" fmla="*/ 194 w 548"/>
                    <a:gd name="T35" fmla="*/ 0 h 1142"/>
                    <a:gd name="T36" fmla="*/ 206 w 548"/>
                    <a:gd name="T37" fmla="*/ 6 h 1142"/>
                    <a:gd name="T38" fmla="*/ 236 w 548"/>
                    <a:gd name="T39" fmla="*/ 34 h 1142"/>
                    <a:gd name="T40" fmla="*/ 240 w 548"/>
                    <a:gd name="T41" fmla="*/ 50 h 1142"/>
                    <a:gd name="T42" fmla="*/ 234 w 548"/>
                    <a:gd name="T43" fmla="*/ 80 h 1142"/>
                    <a:gd name="T44" fmla="*/ 212 w 548"/>
                    <a:gd name="T45" fmla="*/ 112 h 1142"/>
                    <a:gd name="T46" fmla="*/ 206 w 548"/>
                    <a:gd name="T47" fmla="*/ 124 h 1142"/>
                    <a:gd name="T48" fmla="*/ 210 w 548"/>
                    <a:gd name="T49" fmla="*/ 158 h 1142"/>
                    <a:gd name="T50" fmla="*/ 238 w 548"/>
                    <a:gd name="T51" fmla="*/ 218 h 1142"/>
                    <a:gd name="T52" fmla="*/ 260 w 548"/>
                    <a:gd name="T53" fmla="*/ 248 h 1142"/>
                    <a:gd name="T54" fmla="*/ 282 w 548"/>
                    <a:gd name="T55" fmla="*/ 250 h 1142"/>
                    <a:gd name="T56" fmla="*/ 312 w 548"/>
                    <a:gd name="T57" fmla="*/ 230 h 1142"/>
                    <a:gd name="T58" fmla="*/ 364 w 548"/>
                    <a:gd name="T59" fmla="*/ 160 h 1142"/>
                    <a:gd name="T60" fmla="*/ 376 w 548"/>
                    <a:gd name="T61" fmla="*/ 128 h 1142"/>
                    <a:gd name="T62" fmla="*/ 374 w 548"/>
                    <a:gd name="T63" fmla="*/ 110 h 1142"/>
                    <a:gd name="T64" fmla="*/ 378 w 548"/>
                    <a:gd name="T65" fmla="*/ 34 h 1142"/>
                    <a:gd name="T66" fmla="*/ 384 w 548"/>
                    <a:gd name="T67" fmla="*/ 16 h 1142"/>
                    <a:gd name="T68" fmla="*/ 396 w 548"/>
                    <a:gd name="T69" fmla="*/ 10 h 1142"/>
                    <a:gd name="T70" fmla="*/ 410 w 548"/>
                    <a:gd name="T71" fmla="*/ 30 h 1142"/>
                    <a:gd name="T72" fmla="*/ 422 w 548"/>
                    <a:gd name="T73" fmla="*/ 78 h 1142"/>
                    <a:gd name="T74" fmla="*/ 416 w 548"/>
                    <a:gd name="T75" fmla="*/ 112 h 1142"/>
                    <a:gd name="T76" fmla="*/ 412 w 548"/>
                    <a:gd name="T77" fmla="*/ 128 h 1142"/>
                    <a:gd name="T78" fmla="*/ 418 w 548"/>
                    <a:gd name="T79" fmla="*/ 218 h 1142"/>
                    <a:gd name="T80" fmla="*/ 432 w 548"/>
                    <a:gd name="T81" fmla="*/ 274 h 1142"/>
                    <a:gd name="T82" fmla="*/ 470 w 548"/>
                    <a:gd name="T83" fmla="*/ 390 h 1142"/>
                    <a:gd name="T84" fmla="*/ 530 w 548"/>
                    <a:gd name="T85" fmla="*/ 540 h 1142"/>
                    <a:gd name="T86" fmla="*/ 548 w 548"/>
                    <a:gd name="T87" fmla="*/ 658 h 1142"/>
                    <a:gd name="T88" fmla="*/ 546 w 548"/>
                    <a:gd name="T89" fmla="*/ 980 h 1142"/>
                    <a:gd name="T90" fmla="*/ 530 w 548"/>
                    <a:gd name="T91" fmla="*/ 1070 h 1142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w 548"/>
                    <a:gd name="T139" fmla="*/ 0 h 1142"/>
                    <a:gd name="T140" fmla="*/ 548 w 548"/>
                    <a:gd name="T141" fmla="*/ 1142 h 1142"/>
                  </a:gdLst>
                  <a:ahLst/>
                  <a:cxnLst>
                    <a:cxn ang="T92">
                      <a:pos x="T0" y="T1"/>
                    </a:cxn>
                    <a:cxn ang="T93">
                      <a:pos x="T2" y="T3"/>
                    </a:cxn>
                    <a:cxn ang="T94">
                      <a:pos x="T4" y="T5"/>
                    </a:cxn>
                    <a:cxn ang="T95">
                      <a:pos x="T6" y="T7"/>
                    </a:cxn>
                    <a:cxn ang="T96">
                      <a:pos x="T8" y="T9"/>
                    </a:cxn>
                    <a:cxn ang="T97">
                      <a:pos x="T10" y="T11"/>
                    </a:cxn>
                    <a:cxn ang="T98">
                      <a:pos x="T12" y="T13"/>
                    </a:cxn>
                    <a:cxn ang="T99">
                      <a:pos x="T14" y="T15"/>
                    </a:cxn>
                    <a:cxn ang="T100">
                      <a:pos x="T16" y="T17"/>
                    </a:cxn>
                    <a:cxn ang="T101">
                      <a:pos x="T18" y="T19"/>
                    </a:cxn>
                    <a:cxn ang="T102">
                      <a:pos x="T20" y="T21"/>
                    </a:cxn>
                    <a:cxn ang="T103">
                      <a:pos x="T22" y="T23"/>
                    </a:cxn>
                    <a:cxn ang="T104">
                      <a:pos x="T24" y="T25"/>
                    </a:cxn>
                    <a:cxn ang="T105">
                      <a:pos x="T26" y="T27"/>
                    </a:cxn>
                    <a:cxn ang="T106">
                      <a:pos x="T28" y="T29"/>
                    </a:cxn>
                    <a:cxn ang="T107">
                      <a:pos x="T30" y="T31"/>
                    </a:cxn>
                    <a:cxn ang="T108">
                      <a:pos x="T32" y="T33"/>
                    </a:cxn>
                    <a:cxn ang="T109">
                      <a:pos x="T34" y="T35"/>
                    </a:cxn>
                    <a:cxn ang="T110">
                      <a:pos x="T36" y="T37"/>
                    </a:cxn>
                    <a:cxn ang="T111">
                      <a:pos x="T38" y="T39"/>
                    </a:cxn>
                    <a:cxn ang="T112">
                      <a:pos x="T40" y="T41"/>
                    </a:cxn>
                    <a:cxn ang="T113">
                      <a:pos x="T42" y="T43"/>
                    </a:cxn>
                    <a:cxn ang="T114">
                      <a:pos x="T44" y="T45"/>
                    </a:cxn>
                    <a:cxn ang="T115">
                      <a:pos x="T46" y="T47"/>
                    </a:cxn>
                    <a:cxn ang="T116">
                      <a:pos x="T48" y="T49"/>
                    </a:cxn>
                    <a:cxn ang="T117">
                      <a:pos x="T50" y="T51"/>
                    </a:cxn>
                    <a:cxn ang="T118">
                      <a:pos x="T52" y="T53"/>
                    </a:cxn>
                    <a:cxn ang="T119">
                      <a:pos x="T54" y="T55"/>
                    </a:cxn>
                    <a:cxn ang="T120">
                      <a:pos x="T56" y="T57"/>
                    </a:cxn>
                    <a:cxn ang="T121">
                      <a:pos x="T58" y="T59"/>
                    </a:cxn>
                    <a:cxn ang="T122">
                      <a:pos x="T60" y="T61"/>
                    </a:cxn>
                    <a:cxn ang="T123">
                      <a:pos x="T62" y="T63"/>
                    </a:cxn>
                    <a:cxn ang="T124">
                      <a:pos x="T64" y="T65"/>
                    </a:cxn>
                    <a:cxn ang="T125">
                      <a:pos x="T66" y="T67"/>
                    </a:cxn>
                    <a:cxn ang="T126">
                      <a:pos x="T68" y="T69"/>
                    </a:cxn>
                    <a:cxn ang="T127">
                      <a:pos x="T70" y="T71"/>
                    </a:cxn>
                    <a:cxn ang="T128">
                      <a:pos x="T72" y="T73"/>
                    </a:cxn>
                    <a:cxn ang="T129">
                      <a:pos x="T74" y="T75"/>
                    </a:cxn>
                    <a:cxn ang="T130">
                      <a:pos x="T76" y="T77"/>
                    </a:cxn>
                    <a:cxn ang="T131">
                      <a:pos x="T78" y="T79"/>
                    </a:cxn>
                    <a:cxn ang="T132">
                      <a:pos x="T80" y="T81"/>
                    </a:cxn>
                    <a:cxn ang="T133">
                      <a:pos x="T82" y="T83"/>
                    </a:cxn>
                    <a:cxn ang="T134">
                      <a:pos x="T84" y="T85"/>
                    </a:cxn>
                    <a:cxn ang="T135">
                      <a:pos x="T86" y="T87"/>
                    </a:cxn>
                    <a:cxn ang="T136">
                      <a:pos x="T88" y="T89"/>
                    </a:cxn>
                    <a:cxn ang="T137">
                      <a:pos x="T90" y="T91"/>
                    </a:cxn>
                  </a:cxnLst>
                  <a:rect l="T138" t="T139" r="T140" b="T141"/>
                  <a:pathLst>
                    <a:path w="548" h="1142">
                      <a:moveTo>
                        <a:pt x="530" y="1070"/>
                      </a:moveTo>
                      <a:lnTo>
                        <a:pt x="530" y="1070"/>
                      </a:lnTo>
                      <a:lnTo>
                        <a:pt x="524" y="1080"/>
                      </a:lnTo>
                      <a:lnTo>
                        <a:pt x="516" y="1088"/>
                      </a:lnTo>
                      <a:lnTo>
                        <a:pt x="506" y="1098"/>
                      </a:lnTo>
                      <a:lnTo>
                        <a:pt x="494" y="1104"/>
                      </a:lnTo>
                      <a:lnTo>
                        <a:pt x="480" y="1112"/>
                      </a:lnTo>
                      <a:lnTo>
                        <a:pt x="464" y="1118"/>
                      </a:lnTo>
                      <a:lnTo>
                        <a:pt x="450" y="1122"/>
                      </a:lnTo>
                      <a:lnTo>
                        <a:pt x="432" y="1126"/>
                      </a:lnTo>
                      <a:lnTo>
                        <a:pt x="326" y="1140"/>
                      </a:lnTo>
                      <a:lnTo>
                        <a:pt x="288" y="1142"/>
                      </a:lnTo>
                      <a:lnTo>
                        <a:pt x="246" y="1142"/>
                      </a:lnTo>
                      <a:lnTo>
                        <a:pt x="204" y="1140"/>
                      </a:lnTo>
                      <a:lnTo>
                        <a:pt x="168" y="1134"/>
                      </a:lnTo>
                      <a:lnTo>
                        <a:pt x="72" y="1112"/>
                      </a:lnTo>
                      <a:lnTo>
                        <a:pt x="58" y="1106"/>
                      </a:lnTo>
                      <a:lnTo>
                        <a:pt x="42" y="1098"/>
                      </a:lnTo>
                      <a:lnTo>
                        <a:pt x="30" y="1088"/>
                      </a:lnTo>
                      <a:lnTo>
                        <a:pt x="20" y="1076"/>
                      </a:lnTo>
                      <a:lnTo>
                        <a:pt x="10" y="1062"/>
                      </a:lnTo>
                      <a:lnTo>
                        <a:pt x="4" y="1048"/>
                      </a:lnTo>
                      <a:lnTo>
                        <a:pt x="0" y="1032"/>
                      </a:lnTo>
                      <a:lnTo>
                        <a:pt x="0" y="1014"/>
                      </a:lnTo>
                      <a:lnTo>
                        <a:pt x="26" y="580"/>
                      </a:lnTo>
                      <a:lnTo>
                        <a:pt x="30" y="546"/>
                      </a:lnTo>
                      <a:lnTo>
                        <a:pt x="36" y="506"/>
                      </a:lnTo>
                      <a:lnTo>
                        <a:pt x="44" y="470"/>
                      </a:lnTo>
                      <a:lnTo>
                        <a:pt x="50" y="440"/>
                      </a:lnTo>
                      <a:lnTo>
                        <a:pt x="60" y="410"/>
                      </a:lnTo>
                      <a:lnTo>
                        <a:pt x="68" y="372"/>
                      </a:lnTo>
                      <a:lnTo>
                        <a:pt x="74" y="334"/>
                      </a:lnTo>
                      <a:lnTo>
                        <a:pt x="80" y="298"/>
                      </a:lnTo>
                      <a:lnTo>
                        <a:pt x="84" y="272"/>
                      </a:lnTo>
                      <a:lnTo>
                        <a:pt x="90" y="238"/>
                      </a:lnTo>
                      <a:lnTo>
                        <a:pt x="100" y="202"/>
                      </a:lnTo>
                      <a:lnTo>
                        <a:pt x="112" y="168"/>
                      </a:lnTo>
                      <a:lnTo>
                        <a:pt x="124" y="142"/>
                      </a:lnTo>
                      <a:lnTo>
                        <a:pt x="136" y="120"/>
                      </a:lnTo>
                      <a:lnTo>
                        <a:pt x="150" y="92"/>
                      </a:lnTo>
                      <a:lnTo>
                        <a:pt x="160" y="66"/>
                      </a:lnTo>
                      <a:lnTo>
                        <a:pt x="166" y="42"/>
                      </a:lnTo>
                      <a:lnTo>
                        <a:pt x="172" y="24"/>
                      </a:lnTo>
                      <a:lnTo>
                        <a:pt x="180" y="10"/>
                      </a:lnTo>
                      <a:lnTo>
                        <a:pt x="184" y="4"/>
                      </a:lnTo>
                      <a:lnTo>
                        <a:pt x="188" y="2"/>
                      </a:lnTo>
                      <a:lnTo>
                        <a:pt x="194" y="0"/>
                      </a:lnTo>
                      <a:lnTo>
                        <a:pt x="198" y="0"/>
                      </a:lnTo>
                      <a:lnTo>
                        <a:pt x="206" y="6"/>
                      </a:lnTo>
                      <a:lnTo>
                        <a:pt x="216" y="14"/>
                      </a:lnTo>
                      <a:lnTo>
                        <a:pt x="226" y="24"/>
                      </a:lnTo>
                      <a:lnTo>
                        <a:pt x="236" y="34"/>
                      </a:lnTo>
                      <a:lnTo>
                        <a:pt x="238" y="42"/>
                      </a:lnTo>
                      <a:lnTo>
                        <a:pt x="240" y="50"/>
                      </a:lnTo>
                      <a:lnTo>
                        <a:pt x="240" y="58"/>
                      </a:lnTo>
                      <a:lnTo>
                        <a:pt x="238" y="68"/>
                      </a:lnTo>
                      <a:lnTo>
                        <a:pt x="234" y="80"/>
                      </a:lnTo>
                      <a:lnTo>
                        <a:pt x="228" y="90"/>
                      </a:lnTo>
                      <a:lnTo>
                        <a:pt x="220" y="102"/>
                      </a:lnTo>
                      <a:lnTo>
                        <a:pt x="212" y="112"/>
                      </a:lnTo>
                      <a:lnTo>
                        <a:pt x="210" y="118"/>
                      </a:lnTo>
                      <a:lnTo>
                        <a:pt x="206" y="124"/>
                      </a:lnTo>
                      <a:lnTo>
                        <a:pt x="206" y="132"/>
                      </a:lnTo>
                      <a:lnTo>
                        <a:pt x="206" y="140"/>
                      </a:lnTo>
                      <a:lnTo>
                        <a:pt x="210" y="158"/>
                      </a:lnTo>
                      <a:lnTo>
                        <a:pt x="218" y="178"/>
                      </a:lnTo>
                      <a:lnTo>
                        <a:pt x="228" y="198"/>
                      </a:lnTo>
                      <a:lnTo>
                        <a:pt x="238" y="218"/>
                      </a:lnTo>
                      <a:lnTo>
                        <a:pt x="250" y="234"/>
                      </a:lnTo>
                      <a:lnTo>
                        <a:pt x="260" y="248"/>
                      </a:lnTo>
                      <a:lnTo>
                        <a:pt x="266" y="252"/>
                      </a:lnTo>
                      <a:lnTo>
                        <a:pt x="274" y="254"/>
                      </a:lnTo>
                      <a:lnTo>
                        <a:pt x="282" y="250"/>
                      </a:lnTo>
                      <a:lnTo>
                        <a:pt x="292" y="246"/>
                      </a:lnTo>
                      <a:lnTo>
                        <a:pt x="302" y="238"/>
                      </a:lnTo>
                      <a:lnTo>
                        <a:pt x="312" y="230"/>
                      </a:lnTo>
                      <a:lnTo>
                        <a:pt x="332" y="208"/>
                      </a:lnTo>
                      <a:lnTo>
                        <a:pt x="350" y="184"/>
                      </a:lnTo>
                      <a:lnTo>
                        <a:pt x="364" y="160"/>
                      </a:lnTo>
                      <a:lnTo>
                        <a:pt x="374" y="140"/>
                      </a:lnTo>
                      <a:lnTo>
                        <a:pt x="376" y="134"/>
                      </a:lnTo>
                      <a:lnTo>
                        <a:pt x="376" y="128"/>
                      </a:lnTo>
                      <a:lnTo>
                        <a:pt x="374" y="120"/>
                      </a:lnTo>
                      <a:lnTo>
                        <a:pt x="374" y="110"/>
                      </a:lnTo>
                      <a:lnTo>
                        <a:pt x="374" y="86"/>
                      </a:lnTo>
                      <a:lnTo>
                        <a:pt x="376" y="60"/>
                      </a:lnTo>
                      <a:lnTo>
                        <a:pt x="378" y="34"/>
                      </a:lnTo>
                      <a:lnTo>
                        <a:pt x="380" y="24"/>
                      </a:lnTo>
                      <a:lnTo>
                        <a:pt x="384" y="16"/>
                      </a:lnTo>
                      <a:lnTo>
                        <a:pt x="386" y="12"/>
                      </a:lnTo>
                      <a:lnTo>
                        <a:pt x="390" y="10"/>
                      </a:lnTo>
                      <a:lnTo>
                        <a:pt x="396" y="10"/>
                      </a:lnTo>
                      <a:lnTo>
                        <a:pt x="400" y="14"/>
                      </a:lnTo>
                      <a:lnTo>
                        <a:pt x="404" y="22"/>
                      </a:lnTo>
                      <a:lnTo>
                        <a:pt x="410" y="30"/>
                      </a:lnTo>
                      <a:lnTo>
                        <a:pt x="418" y="54"/>
                      </a:lnTo>
                      <a:lnTo>
                        <a:pt x="422" y="78"/>
                      </a:lnTo>
                      <a:lnTo>
                        <a:pt x="422" y="98"/>
                      </a:lnTo>
                      <a:lnTo>
                        <a:pt x="420" y="106"/>
                      </a:lnTo>
                      <a:lnTo>
                        <a:pt x="416" y="112"/>
                      </a:lnTo>
                      <a:lnTo>
                        <a:pt x="414" y="118"/>
                      </a:lnTo>
                      <a:lnTo>
                        <a:pt x="412" y="128"/>
                      </a:lnTo>
                      <a:lnTo>
                        <a:pt x="412" y="154"/>
                      </a:lnTo>
                      <a:lnTo>
                        <a:pt x="414" y="184"/>
                      </a:lnTo>
                      <a:lnTo>
                        <a:pt x="418" y="218"/>
                      </a:lnTo>
                      <a:lnTo>
                        <a:pt x="424" y="238"/>
                      </a:lnTo>
                      <a:lnTo>
                        <a:pt x="432" y="274"/>
                      </a:lnTo>
                      <a:lnTo>
                        <a:pt x="444" y="314"/>
                      </a:lnTo>
                      <a:lnTo>
                        <a:pt x="458" y="356"/>
                      </a:lnTo>
                      <a:lnTo>
                        <a:pt x="470" y="390"/>
                      </a:lnTo>
                      <a:lnTo>
                        <a:pt x="518" y="504"/>
                      </a:lnTo>
                      <a:lnTo>
                        <a:pt x="530" y="540"/>
                      </a:lnTo>
                      <a:lnTo>
                        <a:pt x="540" y="580"/>
                      </a:lnTo>
                      <a:lnTo>
                        <a:pt x="546" y="622"/>
                      </a:lnTo>
                      <a:lnTo>
                        <a:pt x="548" y="658"/>
                      </a:lnTo>
                      <a:lnTo>
                        <a:pt x="548" y="946"/>
                      </a:lnTo>
                      <a:lnTo>
                        <a:pt x="546" y="980"/>
                      </a:lnTo>
                      <a:lnTo>
                        <a:pt x="542" y="1014"/>
                      </a:lnTo>
                      <a:lnTo>
                        <a:pt x="538" y="1046"/>
                      </a:lnTo>
                      <a:lnTo>
                        <a:pt x="530" y="107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4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Text" lastClr="000000"/>
                    </a:solidFill>
                    <a:latin typeface="+mn-lt"/>
                    <a:cs typeface="+mn-cs"/>
                  </a:endParaRPr>
                </a:p>
              </p:txBody>
            </p:sp>
            <p:sp>
              <p:nvSpPr>
                <p:cNvPr id="85" name="Freeform 114"/>
                <p:cNvSpPr>
                  <a:spLocks/>
                </p:cNvSpPr>
                <p:nvPr/>
              </p:nvSpPr>
              <p:spPr bwMode="auto">
                <a:xfrm>
                  <a:off x="12868451" y="5808615"/>
                  <a:ext cx="129989" cy="247659"/>
                </a:xfrm>
                <a:custGeom>
                  <a:avLst/>
                  <a:gdLst>
                    <a:gd name="T0" fmla="*/ 6 w 80"/>
                    <a:gd name="T1" fmla="*/ 0 h 152"/>
                    <a:gd name="T2" fmla="*/ 6 w 80"/>
                    <a:gd name="T3" fmla="*/ 0 h 152"/>
                    <a:gd name="T4" fmla="*/ 2 w 80"/>
                    <a:gd name="T5" fmla="*/ 34 h 152"/>
                    <a:gd name="T6" fmla="*/ 0 w 80"/>
                    <a:gd name="T7" fmla="*/ 66 h 152"/>
                    <a:gd name="T8" fmla="*/ 0 w 80"/>
                    <a:gd name="T9" fmla="*/ 82 h 152"/>
                    <a:gd name="T10" fmla="*/ 2 w 80"/>
                    <a:gd name="T11" fmla="*/ 96 h 152"/>
                    <a:gd name="T12" fmla="*/ 2 w 80"/>
                    <a:gd name="T13" fmla="*/ 96 h 152"/>
                    <a:gd name="T14" fmla="*/ 4 w 80"/>
                    <a:gd name="T15" fmla="*/ 108 h 152"/>
                    <a:gd name="T16" fmla="*/ 10 w 80"/>
                    <a:gd name="T17" fmla="*/ 114 h 152"/>
                    <a:gd name="T18" fmla="*/ 16 w 80"/>
                    <a:gd name="T19" fmla="*/ 118 h 152"/>
                    <a:gd name="T20" fmla="*/ 26 w 80"/>
                    <a:gd name="T21" fmla="*/ 122 h 152"/>
                    <a:gd name="T22" fmla="*/ 36 w 80"/>
                    <a:gd name="T23" fmla="*/ 124 h 152"/>
                    <a:gd name="T24" fmla="*/ 48 w 80"/>
                    <a:gd name="T25" fmla="*/ 130 h 152"/>
                    <a:gd name="T26" fmla="*/ 64 w 80"/>
                    <a:gd name="T27" fmla="*/ 138 h 152"/>
                    <a:gd name="T28" fmla="*/ 80 w 80"/>
                    <a:gd name="T29" fmla="*/ 152 h 152"/>
                    <a:gd name="T30" fmla="*/ 80 w 80"/>
                    <a:gd name="T31" fmla="*/ 152 h 152"/>
                    <a:gd name="T32" fmla="*/ 74 w 80"/>
                    <a:gd name="T33" fmla="*/ 128 h 152"/>
                    <a:gd name="T34" fmla="*/ 56 w 80"/>
                    <a:gd name="T35" fmla="*/ 78 h 152"/>
                    <a:gd name="T36" fmla="*/ 44 w 80"/>
                    <a:gd name="T37" fmla="*/ 50 h 152"/>
                    <a:gd name="T38" fmla="*/ 32 w 80"/>
                    <a:gd name="T39" fmla="*/ 26 h 152"/>
                    <a:gd name="T40" fmla="*/ 26 w 80"/>
                    <a:gd name="T41" fmla="*/ 16 h 152"/>
                    <a:gd name="T42" fmla="*/ 20 w 80"/>
                    <a:gd name="T43" fmla="*/ 8 h 152"/>
                    <a:gd name="T44" fmla="*/ 12 w 80"/>
                    <a:gd name="T45" fmla="*/ 2 h 152"/>
                    <a:gd name="T46" fmla="*/ 6 w 80"/>
                    <a:gd name="T47" fmla="*/ 0 h 152"/>
                    <a:gd name="T48" fmla="*/ 6 w 80"/>
                    <a:gd name="T49" fmla="*/ 0 h 152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w 80"/>
                    <a:gd name="T76" fmla="*/ 0 h 152"/>
                    <a:gd name="T77" fmla="*/ 80 w 80"/>
                    <a:gd name="T78" fmla="*/ 152 h 152"/>
                  </a:gdLst>
                  <a:ahLst/>
                  <a:cxnLst>
                    <a:cxn ang="T50">
                      <a:pos x="T0" y="T1"/>
                    </a:cxn>
                    <a:cxn ang="T51">
                      <a:pos x="T2" y="T3"/>
                    </a:cxn>
                    <a:cxn ang="T52">
                      <a:pos x="T4" y="T5"/>
                    </a:cxn>
                    <a:cxn ang="T53">
                      <a:pos x="T6" y="T7"/>
                    </a:cxn>
                    <a:cxn ang="T54">
                      <a:pos x="T8" y="T9"/>
                    </a:cxn>
                    <a:cxn ang="T55">
                      <a:pos x="T10" y="T11"/>
                    </a:cxn>
                    <a:cxn ang="T56">
                      <a:pos x="T12" y="T13"/>
                    </a:cxn>
                    <a:cxn ang="T57">
                      <a:pos x="T14" y="T15"/>
                    </a:cxn>
                    <a:cxn ang="T58">
                      <a:pos x="T16" y="T17"/>
                    </a:cxn>
                    <a:cxn ang="T59">
                      <a:pos x="T18" y="T19"/>
                    </a:cxn>
                    <a:cxn ang="T60">
                      <a:pos x="T20" y="T21"/>
                    </a:cxn>
                    <a:cxn ang="T61">
                      <a:pos x="T22" y="T23"/>
                    </a:cxn>
                    <a:cxn ang="T62">
                      <a:pos x="T24" y="T25"/>
                    </a:cxn>
                    <a:cxn ang="T63">
                      <a:pos x="T26" y="T27"/>
                    </a:cxn>
                    <a:cxn ang="T64">
                      <a:pos x="T28" y="T29"/>
                    </a:cxn>
                    <a:cxn ang="T65">
                      <a:pos x="T30" y="T31"/>
                    </a:cxn>
                    <a:cxn ang="T66">
                      <a:pos x="T32" y="T33"/>
                    </a:cxn>
                    <a:cxn ang="T67">
                      <a:pos x="T34" y="T35"/>
                    </a:cxn>
                    <a:cxn ang="T68">
                      <a:pos x="T36" y="T37"/>
                    </a:cxn>
                    <a:cxn ang="T69">
                      <a:pos x="T38" y="T39"/>
                    </a:cxn>
                    <a:cxn ang="T70">
                      <a:pos x="T40" y="T41"/>
                    </a:cxn>
                    <a:cxn ang="T71">
                      <a:pos x="T42" y="T43"/>
                    </a:cxn>
                    <a:cxn ang="T72">
                      <a:pos x="T44" y="T45"/>
                    </a:cxn>
                    <a:cxn ang="T73">
                      <a:pos x="T46" y="T47"/>
                    </a:cxn>
                    <a:cxn ang="T74">
                      <a:pos x="T48" y="T49"/>
                    </a:cxn>
                  </a:cxnLst>
                  <a:rect l="T75" t="T76" r="T77" b="T78"/>
                  <a:pathLst>
                    <a:path w="80" h="152">
                      <a:moveTo>
                        <a:pt x="6" y="0"/>
                      </a:moveTo>
                      <a:lnTo>
                        <a:pt x="6" y="0"/>
                      </a:lnTo>
                      <a:lnTo>
                        <a:pt x="2" y="34"/>
                      </a:lnTo>
                      <a:lnTo>
                        <a:pt x="0" y="66"/>
                      </a:lnTo>
                      <a:lnTo>
                        <a:pt x="0" y="82"/>
                      </a:lnTo>
                      <a:lnTo>
                        <a:pt x="2" y="96"/>
                      </a:lnTo>
                      <a:lnTo>
                        <a:pt x="4" y="108"/>
                      </a:lnTo>
                      <a:lnTo>
                        <a:pt x="10" y="114"/>
                      </a:lnTo>
                      <a:lnTo>
                        <a:pt x="16" y="118"/>
                      </a:lnTo>
                      <a:lnTo>
                        <a:pt x="26" y="122"/>
                      </a:lnTo>
                      <a:lnTo>
                        <a:pt x="36" y="124"/>
                      </a:lnTo>
                      <a:lnTo>
                        <a:pt x="48" y="130"/>
                      </a:lnTo>
                      <a:lnTo>
                        <a:pt x="64" y="138"/>
                      </a:lnTo>
                      <a:lnTo>
                        <a:pt x="80" y="152"/>
                      </a:lnTo>
                      <a:lnTo>
                        <a:pt x="74" y="128"/>
                      </a:lnTo>
                      <a:lnTo>
                        <a:pt x="56" y="78"/>
                      </a:lnTo>
                      <a:lnTo>
                        <a:pt x="44" y="50"/>
                      </a:lnTo>
                      <a:lnTo>
                        <a:pt x="32" y="26"/>
                      </a:lnTo>
                      <a:lnTo>
                        <a:pt x="26" y="16"/>
                      </a:lnTo>
                      <a:lnTo>
                        <a:pt x="20" y="8"/>
                      </a:lnTo>
                      <a:lnTo>
                        <a:pt x="12" y="2"/>
                      </a:lnTo>
                      <a:lnTo>
                        <a:pt x="6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Text" lastClr="000000"/>
                    </a:solidFill>
                    <a:latin typeface="+mn-lt"/>
                    <a:cs typeface="+mn-cs"/>
                  </a:endParaRPr>
                </a:p>
              </p:txBody>
            </p:sp>
            <p:sp>
              <p:nvSpPr>
                <p:cNvPr id="86" name="Freeform 115"/>
                <p:cNvSpPr>
                  <a:spLocks/>
                </p:cNvSpPr>
                <p:nvPr/>
              </p:nvSpPr>
              <p:spPr bwMode="auto">
                <a:xfrm>
                  <a:off x="12435168" y="5789571"/>
                  <a:ext cx="158875" cy="247647"/>
                </a:xfrm>
                <a:custGeom>
                  <a:avLst/>
                  <a:gdLst>
                    <a:gd name="T0" fmla="*/ 112 w 122"/>
                    <a:gd name="T1" fmla="*/ 0 h 152"/>
                    <a:gd name="T2" fmla="*/ 112 w 122"/>
                    <a:gd name="T3" fmla="*/ 0 h 152"/>
                    <a:gd name="T4" fmla="*/ 114 w 122"/>
                    <a:gd name="T5" fmla="*/ 10 h 152"/>
                    <a:gd name="T6" fmla="*/ 118 w 122"/>
                    <a:gd name="T7" fmla="*/ 34 h 152"/>
                    <a:gd name="T8" fmla="*/ 122 w 122"/>
                    <a:gd name="T9" fmla="*/ 66 h 152"/>
                    <a:gd name="T10" fmla="*/ 122 w 122"/>
                    <a:gd name="T11" fmla="*/ 82 h 152"/>
                    <a:gd name="T12" fmla="*/ 120 w 122"/>
                    <a:gd name="T13" fmla="*/ 96 h 152"/>
                    <a:gd name="T14" fmla="*/ 120 w 122"/>
                    <a:gd name="T15" fmla="*/ 96 h 152"/>
                    <a:gd name="T16" fmla="*/ 118 w 122"/>
                    <a:gd name="T17" fmla="*/ 104 h 152"/>
                    <a:gd name="T18" fmla="*/ 114 w 122"/>
                    <a:gd name="T19" fmla="*/ 108 h 152"/>
                    <a:gd name="T20" fmla="*/ 108 w 122"/>
                    <a:gd name="T21" fmla="*/ 112 h 152"/>
                    <a:gd name="T22" fmla="*/ 102 w 122"/>
                    <a:gd name="T23" fmla="*/ 116 h 152"/>
                    <a:gd name="T24" fmla="*/ 86 w 122"/>
                    <a:gd name="T25" fmla="*/ 122 h 152"/>
                    <a:gd name="T26" fmla="*/ 66 w 122"/>
                    <a:gd name="T27" fmla="*/ 126 h 152"/>
                    <a:gd name="T28" fmla="*/ 48 w 122"/>
                    <a:gd name="T29" fmla="*/ 130 h 152"/>
                    <a:gd name="T30" fmla="*/ 30 w 122"/>
                    <a:gd name="T31" fmla="*/ 136 h 152"/>
                    <a:gd name="T32" fmla="*/ 12 w 122"/>
                    <a:gd name="T33" fmla="*/ 142 h 152"/>
                    <a:gd name="T34" fmla="*/ 6 w 122"/>
                    <a:gd name="T35" fmla="*/ 146 h 152"/>
                    <a:gd name="T36" fmla="*/ 0 w 122"/>
                    <a:gd name="T37" fmla="*/ 152 h 152"/>
                    <a:gd name="T38" fmla="*/ 0 w 122"/>
                    <a:gd name="T39" fmla="*/ 152 h 152"/>
                    <a:gd name="T40" fmla="*/ 10 w 122"/>
                    <a:gd name="T41" fmla="*/ 128 h 152"/>
                    <a:gd name="T42" fmla="*/ 22 w 122"/>
                    <a:gd name="T43" fmla="*/ 104 h 152"/>
                    <a:gd name="T44" fmla="*/ 38 w 122"/>
                    <a:gd name="T45" fmla="*/ 78 h 152"/>
                    <a:gd name="T46" fmla="*/ 54 w 122"/>
                    <a:gd name="T47" fmla="*/ 50 h 152"/>
                    <a:gd name="T48" fmla="*/ 72 w 122"/>
                    <a:gd name="T49" fmla="*/ 26 h 152"/>
                    <a:gd name="T50" fmla="*/ 82 w 122"/>
                    <a:gd name="T51" fmla="*/ 16 h 152"/>
                    <a:gd name="T52" fmla="*/ 92 w 122"/>
                    <a:gd name="T53" fmla="*/ 8 h 152"/>
                    <a:gd name="T54" fmla="*/ 102 w 122"/>
                    <a:gd name="T55" fmla="*/ 2 h 152"/>
                    <a:gd name="T56" fmla="*/ 112 w 122"/>
                    <a:gd name="T57" fmla="*/ 0 h 152"/>
                    <a:gd name="T58" fmla="*/ 112 w 122"/>
                    <a:gd name="T59" fmla="*/ 0 h 152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w 122"/>
                    <a:gd name="T91" fmla="*/ 0 h 152"/>
                    <a:gd name="T92" fmla="*/ 122 w 122"/>
                    <a:gd name="T93" fmla="*/ 152 h 152"/>
                  </a:gdLst>
                  <a:ahLst/>
                  <a:cxnLst>
                    <a:cxn ang="T60">
                      <a:pos x="T0" y="T1"/>
                    </a:cxn>
                    <a:cxn ang="T61">
                      <a:pos x="T2" y="T3"/>
                    </a:cxn>
                    <a:cxn ang="T62">
                      <a:pos x="T4" y="T5"/>
                    </a:cxn>
                    <a:cxn ang="T63">
                      <a:pos x="T6" y="T7"/>
                    </a:cxn>
                    <a:cxn ang="T64">
                      <a:pos x="T8" y="T9"/>
                    </a:cxn>
                    <a:cxn ang="T65">
                      <a:pos x="T10" y="T11"/>
                    </a:cxn>
                    <a:cxn ang="T66">
                      <a:pos x="T12" y="T13"/>
                    </a:cxn>
                    <a:cxn ang="T67">
                      <a:pos x="T14" y="T15"/>
                    </a:cxn>
                    <a:cxn ang="T68">
                      <a:pos x="T16" y="T17"/>
                    </a:cxn>
                    <a:cxn ang="T69">
                      <a:pos x="T18" y="T19"/>
                    </a:cxn>
                    <a:cxn ang="T70">
                      <a:pos x="T20" y="T21"/>
                    </a:cxn>
                    <a:cxn ang="T71">
                      <a:pos x="T22" y="T23"/>
                    </a:cxn>
                    <a:cxn ang="T72">
                      <a:pos x="T24" y="T25"/>
                    </a:cxn>
                    <a:cxn ang="T73">
                      <a:pos x="T26" y="T27"/>
                    </a:cxn>
                    <a:cxn ang="T74">
                      <a:pos x="T28" y="T29"/>
                    </a:cxn>
                    <a:cxn ang="T75">
                      <a:pos x="T30" y="T31"/>
                    </a:cxn>
                    <a:cxn ang="T76">
                      <a:pos x="T32" y="T33"/>
                    </a:cxn>
                    <a:cxn ang="T77">
                      <a:pos x="T34" y="T35"/>
                    </a:cxn>
                    <a:cxn ang="T78">
                      <a:pos x="T36" y="T37"/>
                    </a:cxn>
                    <a:cxn ang="T79">
                      <a:pos x="T38" y="T39"/>
                    </a:cxn>
                    <a:cxn ang="T80">
                      <a:pos x="T40" y="T41"/>
                    </a:cxn>
                    <a:cxn ang="T81">
                      <a:pos x="T42" y="T43"/>
                    </a:cxn>
                    <a:cxn ang="T82">
                      <a:pos x="T44" y="T45"/>
                    </a:cxn>
                    <a:cxn ang="T83">
                      <a:pos x="T46" y="T47"/>
                    </a:cxn>
                    <a:cxn ang="T84">
                      <a:pos x="T48" y="T49"/>
                    </a:cxn>
                    <a:cxn ang="T85">
                      <a:pos x="T50" y="T51"/>
                    </a:cxn>
                    <a:cxn ang="T86">
                      <a:pos x="T52" y="T53"/>
                    </a:cxn>
                    <a:cxn ang="T87">
                      <a:pos x="T54" y="T55"/>
                    </a:cxn>
                    <a:cxn ang="T88">
                      <a:pos x="T56" y="T57"/>
                    </a:cxn>
                    <a:cxn ang="T89">
                      <a:pos x="T58" y="T59"/>
                    </a:cxn>
                  </a:cxnLst>
                  <a:rect l="T90" t="T91" r="T92" b="T93"/>
                  <a:pathLst>
                    <a:path w="122" h="152">
                      <a:moveTo>
                        <a:pt x="112" y="0"/>
                      </a:moveTo>
                      <a:lnTo>
                        <a:pt x="112" y="0"/>
                      </a:lnTo>
                      <a:lnTo>
                        <a:pt x="114" y="10"/>
                      </a:lnTo>
                      <a:lnTo>
                        <a:pt x="118" y="34"/>
                      </a:lnTo>
                      <a:lnTo>
                        <a:pt x="122" y="66"/>
                      </a:lnTo>
                      <a:lnTo>
                        <a:pt x="122" y="82"/>
                      </a:lnTo>
                      <a:lnTo>
                        <a:pt x="120" y="96"/>
                      </a:lnTo>
                      <a:lnTo>
                        <a:pt x="118" y="104"/>
                      </a:lnTo>
                      <a:lnTo>
                        <a:pt x="114" y="108"/>
                      </a:lnTo>
                      <a:lnTo>
                        <a:pt x="108" y="112"/>
                      </a:lnTo>
                      <a:lnTo>
                        <a:pt x="102" y="116"/>
                      </a:lnTo>
                      <a:lnTo>
                        <a:pt x="86" y="122"/>
                      </a:lnTo>
                      <a:lnTo>
                        <a:pt x="66" y="126"/>
                      </a:lnTo>
                      <a:lnTo>
                        <a:pt x="48" y="130"/>
                      </a:lnTo>
                      <a:lnTo>
                        <a:pt x="30" y="136"/>
                      </a:lnTo>
                      <a:lnTo>
                        <a:pt x="12" y="142"/>
                      </a:lnTo>
                      <a:lnTo>
                        <a:pt x="6" y="146"/>
                      </a:lnTo>
                      <a:lnTo>
                        <a:pt x="0" y="152"/>
                      </a:lnTo>
                      <a:lnTo>
                        <a:pt x="10" y="128"/>
                      </a:lnTo>
                      <a:lnTo>
                        <a:pt x="22" y="104"/>
                      </a:lnTo>
                      <a:lnTo>
                        <a:pt x="38" y="78"/>
                      </a:lnTo>
                      <a:lnTo>
                        <a:pt x="54" y="50"/>
                      </a:lnTo>
                      <a:lnTo>
                        <a:pt x="72" y="26"/>
                      </a:lnTo>
                      <a:lnTo>
                        <a:pt x="82" y="16"/>
                      </a:lnTo>
                      <a:lnTo>
                        <a:pt x="92" y="8"/>
                      </a:lnTo>
                      <a:lnTo>
                        <a:pt x="102" y="2"/>
                      </a:lnTo>
                      <a:lnTo>
                        <a:pt x="11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Text" lastClr="000000"/>
                    </a:solidFill>
                    <a:latin typeface="+mn-lt"/>
                    <a:cs typeface="+mn-cs"/>
                  </a:endParaRPr>
                </a:p>
              </p:txBody>
            </p:sp>
          </p:grpSp>
        </p:grpSp>
      </p:grpSp>
      <p:grpSp>
        <p:nvGrpSpPr>
          <p:cNvPr id="104" name="Gruppe 237"/>
          <p:cNvGrpSpPr>
            <a:grpSpLocks/>
          </p:cNvGrpSpPr>
          <p:nvPr/>
        </p:nvGrpSpPr>
        <p:grpSpPr bwMode="auto">
          <a:xfrm>
            <a:off x="3016764" y="3464702"/>
            <a:ext cx="359749" cy="515127"/>
            <a:chOff x="5494973" y="3192145"/>
            <a:chExt cx="273050" cy="390525"/>
          </a:xfrm>
        </p:grpSpPr>
        <p:sp>
          <p:nvSpPr>
            <p:cNvPr id="105" name="Freeform 166"/>
            <p:cNvSpPr>
              <a:spLocks noEditPoints="1"/>
            </p:cNvSpPr>
            <p:nvPr/>
          </p:nvSpPr>
          <p:spPr bwMode="auto">
            <a:xfrm>
              <a:off x="5494973" y="3192145"/>
              <a:ext cx="273050" cy="390525"/>
            </a:xfrm>
            <a:custGeom>
              <a:avLst/>
              <a:gdLst>
                <a:gd name="T0" fmla="*/ 273050 w 172"/>
                <a:gd name="T1" fmla="*/ 44450 h 246"/>
                <a:gd name="T2" fmla="*/ 231775 w 172"/>
                <a:gd name="T3" fmla="*/ 0 h 246"/>
                <a:gd name="T4" fmla="*/ 231775 w 172"/>
                <a:gd name="T5" fmla="*/ 44450 h 246"/>
                <a:gd name="T6" fmla="*/ 273050 w 172"/>
                <a:gd name="T7" fmla="*/ 44450 h 246"/>
                <a:gd name="T8" fmla="*/ 273050 w 172"/>
                <a:gd name="T9" fmla="*/ 44450 h 246"/>
                <a:gd name="T10" fmla="*/ 0 w 172"/>
                <a:gd name="T11" fmla="*/ 390525 h 246"/>
                <a:gd name="T12" fmla="*/ 0 w 172"/>
                <a:gd name="T13" fmla="*/ 0 h 246"/>
                <a:gd name="T14" fmla="*/ 219075 w 172"/>
                <a:gd name="T15" fmla="*/ 0 h 246"/>
                <a:gd name="T16" fmla="*/ 219075 w 172"/>
                <a:gd name="T17" fmla="*/ 57150 h 246"/>
                <a:gd name="T18" fmla="*/ 273050 w 172"/>
                <a:gd name="T19" fmla="*/ 57150 h 246"/>
                <a:gd name="T20" fmla="*/ 273050 w 172"/>
                <a:gd name="T21" fmla="*/ 390525 h 246"/>
                <a:gd name="T22" fmla="*/ 0 w 172"/>
                <a:gd name="T23" fmla="*/ 390525 h 24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172"/>
                <a:gd name="T37" fmla="*/ 0 h 246"/>
                <a:gd name="T38" fmla="*/ 172 w 172"/>
                <a:gd name="T39" fmla="*/ 246 h 24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172" h="246">
                  <a:moveTo>
                    <a:pt x="172" y="28"/>
                  </a:moveTo>
                  <a:lnTo>
                    <a:pt x="146" y="0"/>
                  </a:lnTo>
                  <a:lnTo>
                    <a:pt x="146" y="28"/>
                  </a:lnTo>
                  <a:lnTo>
                    <a:pt x="172" y="28"/>
                  </a:lnTo>
                  <a:close/>
                  <a:moveTo>
                    <a:pt x="0" y="246"/>
                  </a:moveTo>
                  <a:lnTo>
                    <a:pt x="0" y="0"/>
                  </a:lnTo>
                  <a:lnTo>
                    <a:pt x="138" y="0"/>
                  </a:lnTo>
                  <a:lnTo>
                    <a:pt x="138" y="36"/>
                  </a:lnTo>
                  <a:lnTo>
                    <a:pt x="172" y="36"/>
                  </a:lnTo>
                  <a:lnTo>
                    <a:pt x="172" y="246"/>
                  </a:lnTo>
                  <a:lnTo>
                    <a:pt x="0" y="246"/>
                  </a:lnTo>
                  <a:close/>
                </a:path>
              </a:pathLst>
            </a:custGeom>
            <a:solidFill>
              <a:srgbClr val="FFFFFF"/>
            </a:solidFill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106" name="Freeform 167"/>
            <p:cNvSpPr>
              <a:spLocks noEditPoints="1"/>
            </p:cNvSpPr>
            <p:nvPr/>
          </p:nvSpPr>
          <p:spPr bwMode="auto">
            <a:xfrm>
              <a:off x="5539596" y="3233532"/>
              <a:ext cx="196553" cy="307751"/>
            </a:xfrm>
            <a:custGeom>
              <a:avLst/>
              <a:gdLst>
                <a:gd name="T0" fmla="*/ 0 w 124"/>
                <a:gd name="T1" fmla="*/ 0 h 194"/>
                <a:gd name="T2" fmla="*/ 152400 w 124"/>
                <a:gd name="T3" fmla="*/ 0 h 194"/>
                <a:gd name="T4" fmla="*/ 152400 w 124"/>
                <a:gd name="T5" fmla="*/ 12700 h 194"/>
                <a:gd name="T6" fmla="*/ 0 w 124"/>
                <a:gd name="T7" fmla="*/ 12700 h 194"/>
                <a:gd name="T8" fmla="*/ 0 w 124"/>
                <a:gd name="T9" fmla="*/ 0 h 194"/>
                <a:gd name="T10" fmla="*/ 0 w 124"/>
                <a:gd name="T11" fmla="*/ 0 h 194"/>
                <a:gd name="T12" fmla="*/ 0 w 124"/>
                <a:gd name="T13" fmla="*/ 41275 h 194"/>
                <a:gd name="T14" fmla="*/ 196850 w 124"/>
                <a:gd name="T15" fmla="*/ 41275 h 194"/>
                <a:gd name="T16" fmla="*/ 196850 w 124"/>
                <a:gd name="T17" fmla="*/ 53975 h 194"/>
                <a:gd name="T18" fmla="*/ 0 w 124"/>
                <a:gd name="T19" fmla="*/ 53975 h 194"/>
                <a:gd name="T20" fmla="*/ 0 w 124"/>
                <a:gd name="T21" fmla="*/ 41275 h 194"/>
                <a:gd name="T22" fmla="*/ 0 w 124"/>
                <a:gd name="T23" fmla="*/ 41275 h 194"/>
                <a:gd name="T24" fmla="*/ 196850 w 124"/>
                <a:gd name="T25" fmla="*/ 254000 h 194"/>
                <a:gd name="T26" fmla="*/ 196850 w 124"/>
                <a:gd name="T27" fmla="*/ 266700 h 194"/>
                <a:gd name="T28" fmla="*/ 0 w 124"/>
                <a:gd name="T29" fmla="*/ 266700 h 194"/>
                <a:gd name="T30" fmla="*/ 0 w 124"/>
                <a:gd name="T31" fmla="*/ 254000 h 194"/>
                <a:gd name="T32" fmla="*/ 196850 w 124"/>
                <a:gd name="T33" fmla="*/ 254000 h 194"/>
                <a:gd name="T34" fmla="*/ 196850 w 124"/>
                <a:gd name="T35" fmla="*/ 254000 h 194"/>
                <a:gd name="T36" fmla="*/ 196850 w 124"/>
                <a:gd name="T37" fmla="*/ 85725 h 194"/>
                <a:gd name="T38" fmla="*/ 196850 w 124"/>
                <a:gd name="T39" fmla="*/ 98425 h 194"/>
                <a:gd name="T40" fmla="*/ 0 w 124"/>
                <a:gd name="T41" fmla="*/ 98425 h 194"/>
                <a:gd name="T42" fmla="*/ 0 w 124"/>
                <a:gd name="T43" fmla="*/ 85725 h 194"/>
                <a:gd name="T44" fmla="*/ 196850 w 124"/>
                <a:gd name="T45" fmla="*/ 85725 h 194"/>
                <a:gd name="T46" fmla="*/ 196850 w 124"/>
                <a:gd name="T47" fmla="*/ 85725 h 194"/>
                <a:gd name="T48" fmla="*/ 196850 w 124"/>
                <a:gd name="T49" fmla="*/ 168275 h 194"/>
                <a:gd name="T50" fmla="*/ 196850 w 124"/>
                <a:gd name="T51" fmla="*/ 180975 h 194"/>
                <a:gd name="T52" fmla="*/ 0 w 124"/>
                <a:gd name="T53" fmla="*/ 180975 h 194"/>
                <a:gd name="T54" fmla="*/ 0 w 124"/>
                <a:gd name="T55" fmla="*/ 168275 h 194"/>
                <a:gd name="T56" fmla="*/ 196850 w 124"/>
                <a:gd name="T57" fmla="*/ 168275 h 194"/>
                <a:gd name="T58" fmla="*/ 196850 w 124"/>
                <a:gd name="T59" fmla="*/ 168275 h 194"/>
                <a:gd name="T60" fmla="*/ 196850 w 124"/>
                <a:gd name="T61" fmla="*/ 209550 h 194"/>
                <a:gd name="T62" fmla="*/ 196850 w 124"/>
                <a:gd name="T63" fmla="*/ 225425 h 194"/>
                <a:gd name="T64" fmla="*/ 0 w 124"/>
                <a:gd name="T65" fmla="*/ 225425 h 194"/>
                <a:gd name="T66" fmla="*/ 0 w 124"/>
                <a:gd name="T67" fmla="*/ 209550 h 194"/>
                <a:gd name="T68" fmla="*/ 196850 w 124"/>
                <a:gd name="T69" fmla="*/ 209550 h 194"/>
                <a:gd name="T70" fmla="*/ 196850 w 124"/>
                <a:gd name="T71" fmla="*/ 209550 h 194"/>
                <a:gd name="T72" fmla="*/ 0 w 124"/>
                <a:gd name="T73" fmla="*/ 295275 h 194"/>
                <a:gd name="T74" fmla="*/ 196850 w 124"/>
                <a:gd name="T75" fmla="*/ 295275 h 194"/>
                <a:gd name="T76" fmla="*/ 196850 w 124"/>
                <a:gd name="T77" fmla="*/ 307975 h 194"/>
                <a:gd name="T78" fmla="*/ 0 w 124"/>
                <a:gd name="T79" fmla="*/ 307975 h 194"/>
                <a:gd name="T80" fmla="*/ 0 w 124"/>
                <a:gd name="T81" fmla="*/ 295275 h 194"/>
                <a:gd name="T82" fmla="*/ 0 w 124"/>
                <a:gd name="T83" fmla="*/ 295275 h 194"/>
                <a:gd name="T84" fmla="*/ 196850 w 124"/>
                <a:gd name="T85" fmla="*/ 127000 h 194"/>
                <a:gd name="T86" fmla="*/ 196850 w 124"/>
                <a:gd name="T87" fmla="*/ 139700 h 194"/>
                <a:gd name="T88" fmla="*/ 0 w 124"/>
                <a:gd name="T89" fmla="*/ 139700 h 194"/>
                <a:gd name="T90" fmla="*/ 0 w 124"/>
                <a:gd name="T91" fmla="*/ 127000 h 194"/>
                <a:gd name="T92" fmla="*/ 196850 w 124"/>
                <a:gd name="T93" fmla="*/ 127000 h 194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124"/>
                <a:gd name="T142" fmla="*/ 0 h 194"/>
                <a:gd name="T143" fmla="*/ 124 w 124"/>
                <a:gd name="T144" fmla="*/ 194 h 194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124" h="194">
                  <a:moveTo>
                    <a:pt x="0" y="0"/>
                  </a:moveTo>
                  <a:lnTo>
                    <a:pt x="96" y="0"/>
                  </a:lnTo>
                  <a:lnTo>
                    <a:pt x="96" y="8"/>
                  </a:lnTo>
                  <a:lnTo>
                    <a:pt x="0" y="8"/>
                  </a:lnTo>
                  <a:lnTo>
                    <a:pt x="0" y="0"/>
                  </a:lnTo>
                  <a:close/>
                  <a:moveTo>
                    <a:pt x="0" y="26"/>
                  </a:moveTo>
                  <a:lnTo>
                    <a:pt x="124" y="26"/>
                  </a:lnTo>
                  <a:lnTo>
                    <a:pt x="124" y="34"/>
                  </a:lnTo>
                  <a:lnTo>
                    <a:pt x="0" y="34"/>
                  </a:lnTo>
                  <a:lnTo>
                    <a:pt x="0" y="26"/>
                  </a:lnTo>
                  <a:close/>
                  <a:moveTo>
                    <a:pt x="124" y="160"/>
                  </a:moveTo>
                  <a:lnTo>
                    <a:pt x="124" y="168"/>
                  </a:lnTo>
                  <a:lnTo>
                    <a:pt x="0" y="168"/>
                  </a:lnTo>
                  <a:lnTo>
                    <a:pt x="0" y="160"/>
                  </a:lnTo>
                  <a:lnTo>
                    <a:pt x="124" y="160"/>
                  </a:lnTo>
                  <a:close/>
                  <a:moveTo>
                    <a:pt x="124" y="54"/>
                  </a:moveTo>
                  <a:lnTo>
                    <a:pt x="124" y="62"/>
                  </a:lnTo>
                  <a:lnTo>
                    <a:pt x="0" y="62"/>
                  </a:lnTo>
                  <a:lnTo>
                    <a:pt x="0" y="54"/>
                  </a:lnTo>
                  <a:lnTo>
                    <a:pt x="124" y="54"/>
                  </a:lnTo>
                  <a:close/>
                  <a:moveTo>
                    <a:pt x="124" y="106"/>
                  </a:moveTo>
                  <a:lnTo>
                    <a:pt x="124" y="114"/>
                  </a:lnTo>
                  <a:lnTo>
                    <a:pt x="0" y="114"/>
                  </a:lnTo>
                  <a:lnTo>
                    <a:pt x="0" y="106"/>
                  </a:lnTo>
                  <a:lnTo>
                    <a:pt x="124" y="106"/>
                  </a:lnTo>
                  <a:close/>
                  <a:moveTo>
                    <a:pt x="124" y="132"/>
                  </a:moveTo>
                  <a:lnTo>
                    <a:pt x="124" y="142"/>
                  </a:lnTo>
                  <a:lnTo>
                    <a:pt x="0" y="142"/>
                  </a:lnTo>
                  <a:lnTo>
                    <a:pt x="0" y="132"/>
                  </a:lnTo>
                  <a:lnTo>
                    <a:pt x="124" y="132"/>
                  </a:lnTo>
                  <a:close/>
                  <a:moveTo>
                    <a:pt x="0" y="186"/>
                  </a:moveTo>
                  <a:lnTo>
                    <a:pt x="124" y="186"/>
                  </a:lnTo>
                  <a:lnTo>
                    <a:pt x="124" y="194"/>
                  </a:lnTo>
                  <a:lnTo>
                    <a:pt x="0" y="194"/>
                  </a:lnTo>
                  <a:lnTo>
                    <a:pt x="0" y="186"/>
                  </a:lnTo>
                  <a:close/>
                  <a:moveTo>
                    <a:pt x="124" y="80"/>
                  </a:moveTo>
                  <a:lnTo>
                    <a:pt x="124" y="88"/>
                  </a:lnTo>
                  <a:lnTo>
                    <a:pt x="0" y="88"/>
                  </a:lnTo>
                  <a:lnTo>
                    <a:pt x="0" y="80"/>
                  </a:lnTo>
                  <a:lnTo>
                    <a:pt x="124" y="80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</p:grpSp>
      <p:grpSp>
        <p:nvGrpSpPr>
          <p:cNvPr id="107" name="Gruppe 376"/>
          <p:cNvGrpSpPr/>
          <p:nvPr/>
        </p:nvGrpSpPr>
        <p:grpSpPr>
          <a:xfrm>
            <a:off x="4382220" y="3181009"/>
            <a:ext cx="871899" cy="856257"/>
            <a:chOff x="2360448" y="750203"/>
            <a:chExt cx="4325435" cy="4247827"/>
          </a:xfrm>
          <a:solidFill>
            <a:schemeClr val="tx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08" name="Blokbue 183"/>
            <p:cNvSpPr/>
            <p:nvPr/>
          </p:nvSpPr>
          <p:spPr bwMode="auto">
            <a:xfrm rot="10843925">
              <a:off x="2516174" y="1020923"/>
              <a:ext cx="3842697" cy="3842328"/>
            </a:xfrm>
            <a:prstGeom prst="blockArc">
              <a:avLst>
                <a:gd name="adj1" fmla="val 12299351"/>
                <a:gd name="adj2" fmla="val 15897654"/>
                <a:gd name="adj3" fmla="val 26577"/>
              </a:avLst>
            </a:prstGeom>
            <a:solidFill>
              <a:schemeClr val="accent1">
                <a:lumMod val="20000"/>
                <a:lumOff val="80000"/>
              </a:schemeClr>
            </a:solidFill>
            <a:ln w="3175" cap="flat" cmpd="sng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Text" lastClr="000000">
                    <a:lumMod val="95000"/>
                    <a:lumOff val="5000"/>
                  </a:sysClr>
                </a:solidFill>
                <a:latin typeface="Calibri"/>
                <a:cs typeface="+mn-cs"/>
              </a:endParaRPr>
            </a:p>
          </p:txBody>
        </p:sp>
        <p:sp>
          <p:nvSpPr>
            <p:cNvPr id="109" name="Blokbue 184"/>
            <p:cNvSpPr/>
            <p:nvPr/>
          </p:nvSpPr>
          <p:spPr bwMode="auto">
            <a:xfrm rot="14446858">
              <a:off x="2411090" y="1028057"/>
              <a:ext cx="3842697" cy="3842328"/>
            </a:xfrm>
            <a:prstGeom prst="blockArc">
              <a:avLst>
                <a:gd name="adj1" fmla="val 12299351"/>
                <a:gd name="adj2" fmla="val 15897654"/>
                <a:gd name="adj3" fmla="val 26577"/>
              </a:avLst>
            </a:prstGeom>
            <a:solidFill>
              <a:schemeClr val="accent1">
                <a:lumMod val="20000"/>
                <a:lumOff val="80000"/>
              </a:schemeClr>
            </a:solidFill>
            <a:ln w="3175" cap="flat" cmpd="sng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Text" lastClr="000000">
                    <a:lumMod val="95000"/>
                    <a:lumOff val="5000"/>
                  </a:sysClr>
                </a:solidFill>
                <a:latin typeface="Calibri"/>
                <a:cs typeface="+mn-cs"/>
              </a:endParaRPr>
            </a:p>
          </p:txBody>
        </p:sp>
        <p:sp>
          <p:nvSpPr>
            <p:cNvPr id="110" name="Blokbue 185"/>
            <p:cNvSpPr/>
            <p:nvPr/>
          </p:nvSpPr>
          <p:spPr bwMode="auto">
            <a:xfrm rot="18033862">
              <a:off x="2382907" y="921207"/>
              <a:ext cx="3842328" cy="3842697"/>
            </a:xfrm>
            <a:prstGeom prst="blockArc">
              <a:avLst>
                <a:gd name="adj1" fmla="val 12299351"/>
                <a:gd name="adj2" fmla="val 15897654"/>
                <a:gd name="adj3" fmla="val 26577"/>
              </a:avLst>
            </a:prstGeom>
            <a:solidFill>
              <a:schemeClr val="accent1">
                <a:lumMod val="20000"/>
                <a:lumOff val="80000"/>
              </a:schemeClr>
            </a:solidFill>
            <a:ln w="3175" cap="flat" cmpd="sng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Text" lastClr="000000">
                    <a:lumMod val="95000"/>
                    <a:lumOff val="5000"/>
                  </a:sysClr>
                </a:solidFill>
                <a:latin typeface="Calibri"/>
                <a:cs typeface="+mn-cs"/>
              </a:endParaRPr>
            </a:p>
          </p:txBody>
        </p:sp>
        <p:sp>
          <p:nvSpPr>
            <p:cNvPr id="111" name="Blokbue 186"/>
            <p:cNvSpPr/>
            <p:nvPr/>
          </p:nvSpPr>
          <p:spPr bwMode="auto">
            <a:xfrm rot="14285">
              <a:off x="2443889" y="844858"/>
              <a:ext cx="3842697" cy="3842328"/>
            </a:xfrm>
            <a:prstGeom prst="blockArc">
              <a:avLst>
                <a:gd name="adj1" fmla="val 12299351"/>
                <a:gd name="adj2" fmla="val 15897654"/>
                <a:gd name="adj3" fmla="val 26577"/>
              </a:avLst>
            </a:prstGeom>
            <a:solidFill>
              <a:schemeClr val="accent1">
                <a:lumMod val="20000"/>
                <a:lumOff val="80000"/>
              </a:schemeClr>
            </a:solidFill>
            <a:ln w="3175" cap="flat" cmpd="sng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Text" lastClr="000000">
                    <a:lumMod val="95000"/>
                    <a:lumOff val="5000"/>
                  </a:sysClr>
                </a:solidFill>
                <a:latin typeface="Calibri"/>
                <a:cs typeface="+mn-cs"/>
              </a:endParaRPr>
            </a:p>
          </p:txBody>
        </p:sp>
        <p:sp>
          <p:nvSpPr>
            <p:cNvPr id="112" name="Blokbue 187"/>
            <p:cNvSpPr/>
            <p:nvPr/>
          </p:nvSpPr>
          <p:spPr bwMode="auto">
            <a:xfrm rot="3730573">
              <a:off x="2518962" y="839770"/>
              <a:ext cx="3842697" cy="3842328"/>
            </a:xfrm>
            <a:prstGeom prst="blockArc">
              <a:avLst>
                <a:gd name="adj1" fmla="val 12299351"/>
                <a:gd name="adj2" fmla="val 15897654"/>
                <a:gd name="adj3" fmla="val 26577"/>
              </a:avLst>
            </a:prstGeom>
            <a:solidFill>
              <a:schemeClr val="accent1">
                <a:lumMod val="20000"/>
                <a:lumOff val="80000"/>
              </a:schemeClr>
            </a:solidFill>
            <a:ln w="3175" cap="flat" cmpd="sng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Text" lastClr="000000">
                    <a:lumMod val="95000"/>
                    <a:lumOff val="5000"/>
                  </a:sysClr>
                </a:solidFill>
                <a:latin typeface="Calibri"/>
                <a:cs typeface="+mn-cs"/>
              </a:endParaRPr>
            </a:p>
          </p:txBody>
        </p:sp>
        <p:sp>
          <p:nvSpPr>
            <p:cNvPr id="113" name="Cirkulær pil 188"/>
            <p:cNvSpPr/>
            <p:nvPr/>
          </p:nvSpPr>
          <p:spPr>
            <a:xfrm rot="14216451" flipH="1" flipV="1">
              <a:off x="2399252" y="711399"/>
              <a:ext cx="4247827" cy="4325435"/>
            </a:xfrm>
            <a:prstGeom prst="circularArrow">
              <a:avLst>
                <a:gd name="adj1" fmla="val 25269"/>
                <a:gd name="adj2" fmla="val 1142319"/>
                <a:gd name="adj3" fmla="val 20391973"/>
                <a:gd name="adj4" fmla="val 16090810"/>
                <a:gd name="adj5" fmla="val 17581"/>
              </a:avLst>
            </a:prstGeom>
            <a:gradFill>
              <a:gsLst>
                <a:gs pos="0">
                  <a:srgbClr val="92D050"/>
                </a:gs>
                <a:gs pos="100000">
                  <a:srgbClr val="2A9B18"/>
                </a:gs>
              </a:gsLst>
              <a:lin ang="5400000" scaled="0"/>
            </a:gradFill>
            <a:ln w="9525" cap="flat" cmpd="sng" algn="ctr">
              <a:solidFill>
                <a:schemeClr val="bg1">
                  <a:lumMod val="50000"/>
                </a:schemeClr>
              </a:solidFill>
              <a:prstDash val="solid"/>
            </a:ln>
            <a:effectLst/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" lastClr="FFFFFF"/>
                </a:solidFill>
                <a:latin typeface="Calibri"/>
                <a:cs typeface="+mn-cs"/>
              </a:endParaRPr>
            </a:p>
          </p:txBody>
        </p:sp>
      </p:grpSp>
      <p:grpSp>
        <p:nvGrpSpPr>
          <p:cNvPr id="114" name="Gruppe 376"/>
          <p:cNvGrpSpPr/>
          <p:nvPr/>
        </p:nvGrpSpPr>
        <p:grpSpPr>
          <a:xfrm>
            <a:off x="3814833" y="3920106"/>
            <a:ext cx="871899" cy="856257"/>
            <a:chOff x="2360448" y="750203"/>
            <a:chExt cx="4325435" cy="4247827"/>
          </a:xfrm>
          <a:solidFill>
            <a:schemeClr val="tx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15" name="Blokbue 190"/>
            <p:cNvSpPr/>
            <p:nvPr/>
          </p:nvSpPr>
          <p:spPr bwMode="auto">
            <a:xfrm rot="10843925">
              <a:off x="2516174" y="1020923"/>
              <a:ext cx="3842697" cy="3842328"/>
            </a:xfrm>
            <a:prstGeom prst="blockArc">
              <a:avLst>
                <a:gd name="adj1" fmla="val 12299351"/>
                <a:gd name="adj2" fmla="val 15897654"/>
                <a:gd name="adj3" fmla="val 26577"/>
              </a:avLst>
            </a:prstGeom>
            <a:solidFill>
              <a:schemeClr val="accent1">
                <a:lumMod val="20000"/>
                <a:lumOff val="80000"/>
              </a:schemeClr>
            </a:solidFill>
            <a:ln w="3175" cap="flat" cmpd="sng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Text" lastClr="000000">
                    <a:lumMod val="95000"/>
                    <a:lumOff val="5000"/>
                  </a:sysClr>
                </a:solidFill>
                <a:latin typeface="Calibri"/>
                <a:cs typeface="+mn-cs"/>
              </a:endParaRPr>
            </a:p>
          </p:txBody>
        </p:sp>
        <p:sp>
          <p:nvSpPr>
            <p:cNvPr id="116" name="Blokbue 191"/>
            <p:cNvSpPr/>
            <p:nvPr/>
          </p:nvSpPr>
          <p:spPr bwMode="auto">
            <a:xfrm rot="14446858">
              <a:off x="2411090" y="1028057"/>
              <a:ext cx="3842697" cy="3842328"/>
            </a:xfrm>
            <a:prstGeom prst="blockArc">
              <a:avLst>
                <a:gd name="adj1" fmla="val 12299351"/>
                <a:gd name="adj2" fmla="val 15897654"/>
                <a:gd name="adj3" fmla="val 26577"/>
              </a:avLst>
            </a:prstGeom>
            <a:solidFill>
              <a:schemeClr val="accent1">
                <a:lumMod val="20000"/>
                <a:lumOff val="80000"/>
              </a:schemeClr>
            </a:solidFill>
            <a:ln w="3175" cap="flat" cmpd="sng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Text" lastClr="000000">
                    <a:lumMod val="95000"/>
                    <a:lumOff val="5000"/>
                  </a:sysClr>
                </a:solidFill>
                <a:latin typeface="Calibri"/>
                <a:cs typeface="+mn-cs"/>
              </a:endParaRPr>
            </a:p>
          </p:txBody>
        </p:sp>
        <p:sp>
          <p:nvSpPr>
            <p:cNvPr id="117" name="Blokbue 192"/>
            <p:cNvSpPr/>
            <p:nvPr/>
          </p:nvSpPr>
          <p:spPr bwMode="auto">
            <a:xfrm rot="18033862">
              <a:off x="2382907" y="921207"/>
              <a:ext cx="3842328" cy="3842697"/>
            </a:xfrm>
            <a:prstGeom prst="blockArc">
              <a:avLst>
                <a:gd name="adj1" fmla="val 12299351"/>
                <a:gd name="adj2" fmla="val 15897654"/>
                <a:gd name="adj3" fmla="val 26577"/>
              </a:avLst>
            </a:prstGeom>
            <a:solidFill>
              <a:schemeClr val="accent1">
                <a:lumMod val="20000"/>
                <a:lumOff val="80000"/>
              </a:schemeClr>
            </a:solidFill>
            <a:ln w="3175" cap="flat" cmpd="sng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Text" lastClr="000000">
                    <a:lumMod val="95000"/>
                    <a:lumOff val="5000"/>
                  </a:sysClr>
                </a:solidFill>
                <a:latin typeface="Calibri"/>
                <a:cs typeface="+mn-cs"/>
              </a:endParaRPr>
            </a:p>
          </p:txBody>
        </p:sp>
        <p:sp>
          <p:nvSpPr>
            <p:cNvPr id="118" name="Blokbue 193"/>
            <p:cNvSpPr/>
            <p:nvPr/>
          </p:nvSpPr>
          <p:spPr bwMode="auto">
            <a:xfrm rot="14285">
              <a:off x="2443889" y="844858"/>
              <a:ext cx="3842697" cy="3842328"/>
            </a:xfrm>
            <a:prstGeom prst="blockArc">
              <a:avLst>
                <a:gd name="adj1" fmla="val 12299351"/>
                <a:gd name="adj2" fmla="val 15897654"/>
                <a:gd name="adj3" fmla="val 26577"/>
              </a:avLst>
            </a:prstGeom>
            <a:solidFill>
              <a:schemeClr val="accent1">
                <a:lumMod val="20000"/>
                <a:lumOff val="80000"/>
              </a:schemeClr>
            </a:solidFill>
            <a:ln w="3175" cap="flat" cmpd="sng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Text" lastClr="000000">
                    <a:lumMod val="95000"/>
                    <a:lumOff val="5000"/>
                  </a:sysClr>
                </a:solidFill>
                <a:latin typeface="Calibri"/>
                <a:cs typeface="+mn-cs"/>
              </a:endParaRPr>
            </a:p>
          </p:txBody>
        </p:sp>
        <p:sp>
          <p:nvSpPr>
            <p:cNvPr id="119" name="Blokbue 194"/>
            <p:cNvSpPr/>
            <p:nvPr/>
          </p:nvSpPr>
          <p:spPr bwMode="auto">
            <a:xfrm rot="3730573">
              <a:off x="2518962" y="839770"/>
              <a:ext cx="3842697" cy="3842328"/>
            </a:xfrm>
            <a:prstGeom prst="blockArc">
              <a:avLst>
                <a:gd name="adj1" fmla="val 12299351"/>
                <a:gd name="adj2" fmla="val 15897654"/>
                <a:gd name="adj3" fmla="val 26577"/>
              </a:avLst>
            </a:prstGeom>
            <a:solidFill>
              <a:schemeClr val="accent1">
                <a:lumMod val="20000"/>
                <a:lumOff val="80000"/>
              </a:schemeClr>
            </a:solidFill>
            <a:ln w="3175" cap="flat" cmpd="sng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Text" lastClr="000000">
                    <a:lumMod val="95000"/>
                    <a:lumOff val="5000"/>
                  </a:sysClr>
                </a:solidFill>
                <a:latin typeface="Calibri"/>
                <a:cs typeface="+mn-cs"/>
              </a:endParaRPr>
            </a:p>
          </p:txBody>
        </p:sp>
        <p:sp>
          <p:nvSpPr>
            <p:cNvPr id="120" name="Cirkulær pil 195"/>
            <p:cNvSpPr/>
            <p:nvPr/>
          </p:nvSpPr>
          <p:spPr>
            <a:xfrm rot="14216451" flipH="1" flipV="1">
              <a:off x="2399252" y="711399"/>
              <a:ext cx="4247827" cy="4325435"/>
            </a:xfrm>
            <a:prstGeom prst="circularArrow">
              <a:avLst>
                <a:gd name="adj1" fmla="val 25269"/>
                <a:gd name="adj2" fmla="val 1142319"/>
                <a:gd name="adj3" fmla="val 20391973"/>
                <a:gd name="adj4" fmla="val 16090810"/>
                <a:gd name="adj5" fmla="val 17581"/>
              </a:avLst>
            </a:prstGeom>
            <a:gradFill>
              <a:gsLst>
                <a:gs pos="0">
                  <a:srgbClr val="92D050"/>
                </a:gs>
                <a:gs pos="100000">
                  <a:srgbClr val="2A9B18"/>
                </a:gs>
              </a:gsLst>
              <a:lin ang="5400000" scaled="0"/>
            </a:gradFill>
            <a:ln w="9525" cap="flat" cmpd="sng" algn="ctr">
              <a:solidFill>
                <a:schemeClr val="bg1">
                  <a:lumMod val="50000"/>
                </a:schemeClr>
              </a:solidFill>
              <a:prstDash val="solid"/>
            </a:ln>
            <a:effectLst/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" lastClr="FFFFFF"/>
                </a:solidFill>
                <a:latin typeface="Calibri"/>
                <a:cs typeface="+mn-cs"/>
              </a:endParaRPr>
            </a:p>
          </p:txBody>
        </p:sp>
      </p:grpSp>
      <p:grpSp>
        <p:nvGrpSpPr>
          <p:cNvPr id="121" name="Gruppe 376"/>
          <p:cNvGrpSpPr/>
          <p:nvPr/>
        </p:nvGrpSpPr>
        <p:grpSpPr>
          <a:xfrm>
            <a:off x="3867093" y="2397120"/>
            <a:ext cx="871899" cy="856257"/>
            <a:chOff x="2360448" y="750203"/>
            <a:chExt cx="4325435" cy="4247827"/>
          </a:xfrm>
          <a:solidFill>
            <a:schemeClr val="tx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22" name="Blokbue 197"/>
            <p:cNvSpPr/>
            <p:nvPr/>
          </p:nvSpPr>
          <p:spPr bwMode="auto">
            <a:xfrm rot="10843925">
              <a:off x="2516174" y="1020923"/>
              <a:ext cx="3842697" cy="3842328"/>
            </a:xfrm>
            <a:prstGeom prst="blockArc">
              <a:avLst>
                <a:gd name="adj1" fmla="val 12299351"/>
                <a:gd name="adj2" fmla="val 15897654"/>
                <a:gd name="adj3" fmla="val 26577"/>
              </a:avLst>
            </a:prstGeom>
            <a:solidFill>
              <a:schemeClr val="accent1">
                <a:lumMod val="20000"/>
                <a:lumOff val="80000"/>
              </a:schemeClr>
            </a:solidFill>
            <a:ln w="3175" cap="flat" cmpd="sng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Text" lastClr="000000">
                    <a:lumMod val="95000"/>
                    <a:lumOff val="5000"/>
                  </a:sysClr>
                </a:solidFill>
                <a:latin typeface="Calibri"/>
                <a:cs typeface="+mn-cs"/>
              </a:endParaRPr>
            </a:p>
          </p:txBody>
        </p:sp>
        <p:sp>
          <p:nvSpPr>
            <p:cNvPr id="123" name="Blokbue 198"/>
            <p:cNvSpPr/>
            <p:nvPr/>
          </p:nvSpPr>
          <p:spPr bwMode="auto">
            <a:xfrm rot="14446858">
              <a:off x="2411090" y="1028057"/>
              <a:ext cx="3842697" cy="3842328"/>
            </a:xfrm>
            <a:prstGeom prst="blockArc">
              <a:avLst>
                <a:gd name="adj1" fmla="val 12299351"/>
                <a:gd name="adj2" fmla="val 15897654"/>
                <a:gd name="adj3" fmla="val 26577"/>
              </a:avLst>
            </a:prstGeom>
            <a:solidFill>
              <a:schemeClr val="accent1">
                <a:lumMod val="20000"/>
                <a:lumOff val="80000"/>
              </a:schemeClr>
            </a:solidFill>
            <a:ln w="3175" cap="flat" cmpd="sng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Text" lastClr="000000">
                    <a:lumMod val="95000"/>
                    <a:lumOff val="5000"/>
                  </a:sysClr>
                </a:solidFill>
                <a:latin typeface="Calibri"/>
                <a:cs typeface="+mn-cs"/>
              </a:endParaRPr>
            </a:p>
          </p:txBody>
        </p:sp>
        <p:sp>
          <p:nvSpPr>
            <p:cNvPr id="124" name="Blokbue 199"/>
            <p:cNvSpPr/>
            <p:nvPr/>
          </p:nvSpPr>
          <p:spPr bwMode="auto">
            <a:xfrm rot="18033862">
              <a:off x="2382907" y="921207"/>
              <a:ext cx="3842328" cy="3842697"/>
            </a:xfrm>
            <a:prstGeom prst="blockArc">
              <a:avLst>
                <a:gd name="adj1" fmla="val 12299351"/>
                <a:gd name="adj2" fmla="val 15897654"/>
                <a:gd name="adj3" fmla="val 26577"/>
              </a:avLst>
            </a:prstGeom>
            <a:solidFill>
              <a:schemeClr val="accent1">
                <a:lumMod val="20000"/>
                <a:lumOff val="80000"/>
              </a:schemeClr>
            </a:solidFill>
            <a:ln w="3175" cap="flat" cmpd="sng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Text" lastClr="000000">
                    <a:lumMod val="95000"/>
                    <a:lumOff val="5000"/>
                  </a:sysClr>
                </a:solidFill>
                <a:latin typeface="Calibri"/>
                <a:cs typeface="+mn-cs"/>
              </a:endParaRPr>
            </a:p>
          </p:txBody>
        </p:sp>
        <p:sp>
          <p:nvSpPr>
            <p:cNvPr id="125" name="Blokbue 200"/>
            <p:cNvSpPr/>
            <p:nvPr/>
          </p:nvSpPr>
          <p:spPr bwMode="auto">
            <a:xfrm rot="14285">
              <a:off x="2443889" y="844858"/>
              <a:ext cx="3842697" cy="3842328"/>
            </a:xfrm>
            <a:prstGeom prst="blockArc">
              <a:avLst>
                <a:gd name="adj1" fmla="val 12299351"/>
                <a:gd name="adj2" fmla="val 15897654"/>
                <a:gd name="adj3" fmla="val 26577"/>
              </a:avLst>
            </a:prstGeom>
            <a:solidFill>
              <a:schemeClr val="accent1">
                <a:lumMod val="20000"/>
                <a:lumOff val="80000"/>
              </a:schemeClr>
            </a:solidFill>
            <a:ln w="3175" cap="flat" cmpd="sng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Text" lastClr="000000">
                    <a:lumMod val="95000"/>
                    <a:lumOff val="5000"/>
                  </a:sysClr>
                </a:solidFill>
                <a:latin typeface="Calibri"/>
                <a:cs typeface="+mn-cs"/>
              </a:endParaRPr>
            </a:p>
          </p:txBody>
        </p:sp>
        <p:sp>
          <p:nvSpPr>
            <p:cNvPr id="126" name="Blokbue 201"/>
            <p:cNvSpPr/>
            <p:nvPr/>
          </p:nvSpPr>
          <p:spPr bwMode="auto">
            <a:xfrm rot="3730573">
              <a:off x="2518962" y="839770"/>
              <a:ext cx="3842697" cy="3842328"/>
            </a:xfrm>
            <a:prstGeom prst="blockArc">
              <a:avLst>
                <a:gd name="adj1" fmla="val 12299351"/>
                <a:gd name="adj2" fmla="val 15897654"/>
                <a:gd name="adj3" fmla="val 26577"/>
              </a:avLst>
            </a:prstGeom>
            <a:solidFill>
              <a:schemeClr val="accent1">
                <a:lumMod val="20000"/>
                <a:lumOff val="80000"/>
              </a:schemeClr>
            </a:solidFill>
            <a:ln w="3175" cap="flat" cmpd="sng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Text" lastClr="000000">
                    <a:lumMod val="95000"/>
                    <a:lumOff val="5000"/>
                  </a:sysClr>
                </a:solidFill>
                <a:latin typeface="Calibri"/>
                <a:cs typeface="+mn-cs"/>
              </a:endParaRPr>
            </a:p>
          </p:txBody>
        </p:sp>
        <p:sp>
          <p:nvSpPr>
            <p:cNvPr id="127" name="Cirkulær pil 202"/>
            <p:cNvSpPr/>
            <p:nvPr/>
          </p:nvSpPr>
          <p:spPr>
            <a:xfrm rot="14216451" flipH="1" flipV="1">
              <a:off x="2399252" y="711399"/>
              <a:ext cx="4247827" cy="4325435"/>
            </a:xfrm>
            <a:prstGeom prst="circularArrow">
              <a:avLst>
                <a:gd name="adj1" fmla="val 25269"/>
                <a:gd name="adj2" fmla="val 1142319"/>
                <a:gd name="adj3" fmla="val 20391973"/>
                <a:gd name="adj4" fmla="val 16090810"/>
                <a:gd name="adj5" fmla="val 17581"/>
              </a:avLst>
            </a:prstGeom>
            <a:gradFill>
              <a:gsLst>
                <a:gs pos="0">
                  <a:srgbClr val="92D050"/>
                </a:gs>
                <a:gs pos="100000">
                  <a:srgbClr val="2A9B18"/>
                </a:gs>
              </a:gsLst>
              <a:lin ang="5400000" scaled="0"/>
            </a:gradFill>
            <a:ln w="9525" cap="flat" cmpd="sng" algn="ctr">
              <a:solidFill>
                <a:schemeClr val="bg1">
                  <a:lumMod val="50000"/>
                </a:schemeClr>
              </a:solidFill>
              <a:prstDash val="solid"/>
            </a:ln>
            <a:effectLst/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" lastClr="FFFFFF"/>
                </a:solidFill>
                <a:latin typeface="Calibri"/>
                <a:cs typeface="+mn-cs"/>
              </a:endParaRPr>
            </a:p>
          </p:txBody>
        </p:sp>
      </p:grpSp>
      <p:grpSp>
        <p:nvGrpSpPr>
          <p:cNvPr id="128" name="Gruppe 230"/>
          <p:cNvGrpSpPr/>
          <p:nvPr/>
        </p:nvGrpSpPr>
        <p:grpSpPr>
          <a:xfrm>
            <a:off x="6552662" y="3138851"/>
            <a:ext cx="1090451" cy="1326241"/>
            <a:chOff x="544185" y="1026430"/>
            <a:chExt cx="5195568" cy="498735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grpSp>
          <p:nvGrpSpPr>
            <p:cNvPr id="129" name="Gruppe 56"/>
            <p:cNvGrpSpPr>
              <a:grpSpLocks/>
            </p:cNvGrpSpPr>
            <p:nvPr/>
          </p:nvGrpSpPr>
          <p:grpSpPr bwMode="auto">
            <a:xfrm>
              <a:off x="544185" y="1026430"/>
              <a:ext cx="5195568" cy="4987349"/>
              <a:chOff x="543539" y="1027095"/>
              <a:chExt cx="5196840" cy="4986342"/>
            </a:xfrm>
          </p:grpSpPr>
          <p:grpSp>
            <p:nvGrpSpPr>
              <p:cNvPr id="132" name="Gruppe 25"/>
              <p:cNvGrpSpPr>
                <a:grpSpLocks/>
              </p:cNvGrpSpPr>
              <p:nvPr/>
            </p:nvGrpSpPr>
            <p:grpSpPr bwMode="auto">
              <a:xfrm>
                <a:off x="543539" y="1027095"/>
                <a:ext cx="5196840" cy="4986342"/>
                <a:chOff x="543539" y="1027095"/>
                <a:chExt cx="5196840" cy="4986342"/>
              </a:xfrm>
            </p:grpSpPr>
            <p:sp>
              <p:nvSpPr>
                <p:cNvPr id="137" name="Rektangel 223"/>
                <p:cNvSpPr/>
                <p:nvPr/>
              </p:nvSpPr>
              <p:spPr>
                <a:xfrm rot="16200000">
                  <a:off x="2619785" y="2821356"/>
                  <a:ext cx="4137778" cy="1391816"/>
                </a:xfrm>
                <a:prstGeom prst="rect">
                  <a:avLst/>
                </a:prstGeom>
                <a:solidFill>
                  <a:schemeClr val="accent1">
                    <a:lumMod val="20000"/>
                    <a:lumOff val="80000"/>
                  </a:schemeClr>
                </a:solidFill>
                <a:ln w="9525" cap="flat" cmpd="sng" algn="ctr">
                  <a:solidFill>
                    <a:sysClr val="window" lastClr="FFFFFF">
                      <a:lumMod val="95000"/>
                    </a:sysClr>
                  </a:solidFill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 dirty="0">
                    <a:solidFill>
                      <a:sysClr val="window" lastClr="FFFFFF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138" name="Venstre-opadgående pil 225"/>
                <p:cNvSpPr/>
                <p:nvPr/>
              </p:nvSpPr>
              <p:spPr>
                <a:xfrm flipH="1">
                  <a:off x="543539" y="1027095"/>
                  <a:ext cx="5196840" cy="4986342"/>
                </a:xfrm>
                <a:prstGeom prst="leftUpArrow">
                  <a:avLst>
                    <a:gd name="adj1" fmla="val 3074"/>
                    <a:gd name="adj2" fmla="val 4126"/>
                    <a:gd name="adj3" fmla="val 4936"/>
                  </a:avLst>
                </a:prstGeom>
                <a:gradFill flip="none" rotWithShape="1">
                  <a:gsLst>
                    <a:gs pos="51000">
                      <a:srgbClr val="FFFFFF">
                        <a:lumMod val="50000"/>
                      </a:srgbClr>
                    </a:gs>
                    <a:gs pos="69000">
                      <a:srgbClr val="FFFFFF">
                        <a:lumMod val="65000"/>
                      </a:srgbClr>
                    </a:gs>
                    <a:gs pos="100000">
                      <a:sysClr val="window" lastClr="FFFFFF">
                        <a:lumMod val="85000"/>
                        <a:alpha val="63000"/>
                      </a:sysClr>
                    </a:gs>
                  </a:gsLst>
                  <a:lin ang="2700000" scaled="1"/>
                  <a:tileRect/>
                </a:gradFill>
                <a:ln w="25400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 dirty="0" err="1">
                    <a:solidFill>
                      <a:sysClr val="window" lastClr="FFFFFF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139" name="Rektangel 226"/>
                <p:cNvSpPr/>
                <p:nvPr/>
              </p:nvSpPr>
              <p:spPr>
                <a:xfrm rot="16200000">
                  <a:off x="1120401" y="2782074"/>
                  <a:ext cx="4137777" cy="1470385"/>
                </a:xfrm>
                <a:prstGeom prst="rect">
                  <a:avLst/>
                </a:prstGeom>
                <a:solidFill>
                  <a:schemeClr val="accent1">
                    <a:lumMod val="20000"/>
                    <a:lumOff val="80000"/>
                  </a:schemeClr>
                </a:solidFill>
                <a:ln w="9525" cap="flat" cmpd="sng" algn="ctr">
                  <a:solidFill>
                    <a:sysClr val="window" lastClr="FFFFFF">
                      <a:lumMod val="95000"/>
                    </a:sysClr>
                  </a:solidFill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 dirty="0">
                    <a:solidFill>
                      <a:sysClr val="window" lastClr="FFFFFF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140" name="Rektangel 227"/>
                <p:cNvSpPr/>
                <p:nvPr/>
              </p:nvSpPr>
              <p:spPr>
                <a:xfrm rot="16200000">
                  <a:off x="-354035" y="2846301"/>
                  <a:ext cx="4137778" cy="1341926"/>
                </a:xfrm>
                <a:prstGeom prst="rect">
                  <a:avLst/>
                </a:prstGeom>
                <a:solidFill>
                  <a:schemeClr val="accent1">
                    <a:lumMod val="20000"/>
                    <a:lumOff val="80000"/>
                  </a:schemeClr>
                </a:solidFill>
                <a:ln w="9525" cap="flat" cmpd="sng" algn="ctr">
                  <a:solidFill>
                    <a:sysClr val="window" lastClr="FFFFFF">
                      <a:lumMod val="95000"/>
                    </a:sysClr>
                  </a:solidFill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 dirty="0">
                    <a:solidFill>
                      <a:sysClr val="window" lastClr="FFFFFF"/>
                    </a:solidFill>
                    <a:latin typeface="Calibri"/>
                    <a:cs typeface="+mn-cs"/>
                  </a:endParaRPr>
                </a:p>
              </p:txBody>
            </p:sp>
          </p:grpSp>
          <p:grpSp>
            <p:nvGrpSpPr>
              <p:cNvPr id="133" name="Gruppe 55"/>
              <p:cNvGrpSpPr>
                <a:grpSpLocks/>
              </p:cNvGrpSpPr>
              <p:nvPr/>
            </p:nvGrpSpPr>
            <p:grpSpPr bwMode="auto">
              <a:xfrm>
                <a:off x="897966" y="2443540"/>
                <a:ext cx="4542950" cy="2150627"/>
                <a:chOff x="898000" y="2443540"/>
                <a:chExt cx="4263183" cy="2150627"/>
              </a:xfrm>
            </p:grpSpPr>
            <p:cxnSp>
              <p:nvCxnSpPr>
                <p:cNvPr id="134" name="Lige forbindelse 220"/>
                <p:cNvCxnSpPr/>
                <p:nvPr/>
              </p:nvCxnSpPr>
              <p:spPr bwMode="auto">
                <a:xfrm flipH="1" flipV="1">
                  <a:off x="898000" y="4592580"/>
                  <a:ext cx="4263183" cy="1587"/>
                </a:xfrm>
                <a:prstGeom prst="line">
                  <a:avLst/>
                </a:prstGeom>
                <a:noFill/>
                <a:ln w="6350" cap="flat" cmpd="sng" algn="ctr">
                  <a:solidFill>
                    <a:srgbClr val="FFFFFF">
                      <a:lumMod val="75000"/>
                    </a:srgbClr>
                  </a:solidFill>
                  <a:prstDash val="sysDash"/>
                </a:ln>
                <a:effectLst/>
              </p:spPr>
            </p:cxnSp>
            <p:cxnSp>
              <p:nvCxnSpPr>
                <p:cNvPr id="135" name="Lige forbindelse 221"/>
                <p:cNvCxnSpPr/>
                <p:nvPr/>
              </p:nvCxnSpPr>
              <p:spPr bwMode="auto">
                <a:xfrm flipH="1" flipV="1">
                  <a:off x="898000" y="3510124"/>
                  <a:ext cx="4263183" cy="1587"/>
                </a:xfrm>
                <a:prstGeom prst="line">
                  <a:avLst/>
                </a:prstGeom>
                <a:noFill/>
                <a:ln w="6350" cap="flat" cmpd="sng" algn="ctr">
                  <a:solidFill>
                    <a:srgbClr val="FFFFFF">
                      <a:lumMod val="75000"/>
                    </a:srgbClr>
                  </a:solidFill>
                  <a:prstDash val="sysDash"/>
                </a:ln>
                <a:effectLst/>
              </p:spPr>
            </p:cxnSp>
            <p:cxnSp>
              <p:nvCxnSpPr>
                <p:cNvPr id="136" name="Lige forbindelse 222"/>
                <p:cNvCxnSpPr/>
                <p:nvPr/>
              </p:nvCxnSpPr>
              <p:spPr bwMode="auto">
                <a:xfrm flipH="1" flipV="1">
                  <a:off x="898000" y="2443540"/>
                  <a:ext cx="4263183" cy="1587"/>
                </a:xfrm>
                <a:prstGeom prst="line">
                  <a:avLst/>
                </a:prstGeom>
                <a:noFill/>
                <a:ln w="6350" cap="flat" cmpd="sng" algn="ctr">
                  <a:solidFill>
                    <a:srgbClr val="FFFFFF">
                      <a:lumMod val="75000"/>
                    </a:srgbClr>
                  </a:solidFill>
                  <a:prstDash val="sysDash"/>
                </a:ln>
                <a:effectLst/>
              </p:spPr>
            </p:cxnSp>
          </p:grpSp>
        </p:grpSp>
        <p:sp>
          <p:nvSpPr>
            <p:cNvPr id="130" name="Kombinationstegning 228"/>
            <p:cNvSpPr/>
            <p:nvPr/>
          </p:nvSpPr>
          <p:spPr>
            <a:xfrm>
              <a:off x="1082673" y="1463675"/>
              <a:ext cx="3163106" cy="3900487"/>
            </a:xfrm>
            <a:custGeom>
              <a:avLst/>
              <a:gdLst>
                <a:gd name="connsiteX0" fmla="*/ 0 w 2804160"/>
                <a:gd name="connsiteY0" fmla="*/ 3901440 h 3901440"/>
                <a:gd name="connsiteX1" fmla="*/ 1844040 w 2804160"/>
                <a:gd name="connsiteY1" fmla="*/ 2453640 h 3901440"/>
                <a:gd name="connsiteX2" fmla="*/ 2804160 w 2804160"/>
                <a:gd name="connsiteY2" fmla="*/ 0 h 39014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804160" h="3901440">
                  <a:moveTo>
                    <a:pt x="0" y="3901440"/>
                  </a:moveTo>
                  <a:cubicBezTo>
                    <a:pt x="688340" y="3502660"/>
                    <a:pt x="1376680" y="3103880"/>
                    <a:pt x="1844040" y="2453640"/>
                  </a:cubicBezTo>
                  <a:cubicBezTo>
                    <a:pt x="2311400" y="1803400"/>
                    <a:pt x="2557780" y="901700"/>
                    <a:pt x="2804160" y="0"/>
                  </a:cubicBezTo>
                </a:path>
              </a:pathLst>
            </a:custGeom>
            <a:noFill/>
            <a:ln w="25400" cap="flat" cmpd="sng" algn="ctr">
              <a:solidFill>
                <a:srgbClr val="FF0000"/>
              </a:solidFill>
              <a:prstDash val="solid"/>
              <a:tailEnd type="triangle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" lastClr="FFFFFF"/>
                </a:solidFill>
                <a:latin typeface="Calibri"/>
                <a:cs typeface="+mn-cs"/>
              </a:endParaRPr>
            </a:p>
          </p:txBody>
        </p:sp>
        <p:sp>
          <p:nvSpPr>
            <p:cNvPr id="131" name="Kombinationstegning 229"/>
            <p:cNvSpPr/>
            <p:nvPr/>
          </p:nvSpPr>
          <p:spPr>
            <a:xfrm>
              <a:off x="1084263" y="1463675"/>
              <a:ext cx="4356100" cy="3930650"/>
            </a:xfrm>
            <a:custGeom>
              <a:avLst/>
              <a:gdLst>
                <a:gd name="connsiteX0" fmla="*/ 27940 w 4356100"/>
                <a:gd name="connsiteY0" fmla="*/ 3931920 h 3931920"/>
                <a:gd name="connsiteX1" fmla="*/ 378460 w 4356100"/>
                <a:gd name="connsiteY1" fmla="*/ 2712720 h 3931920"/>
                <a:gd name="connsiteX2" fmla="*/ 2298700 w 4356100"/>
                <a:gd name="connsiteY2" fmla="*/ 2133600 h 3931920"/>
                <a:gd name="connsiteX3" fmla="*/ 3548380 w 4356100"/>
                <a:gd name="connsiteY3" fmla="*/ 792480 h 3931920"/>
                <a:gd name="connsiteX4" fmla="*/ 4356100 w 4356100"/>
                <a:gd name="connsiteY4" fmla="*/ 0 h 39319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356100" h="3931920">
                  <a:moveTo>
                    <a:pt x="27940" y="3931920"/>
                  </a:moveTo>
                  <a:cubicBezTo>
                    <a:pt x="13970" y="3472180"/>
                    <a:pt x="0" y="3012440"/>
                    <a:pt x="378460" y="2712720"/>
                  </a:cubicBezTo>
                  <a:cubicBezTo>
                    <a:pt x="756920" y="2413000"/>
                    <a:pt x="1770380" y="2453640"/>
                    <a:pt x="2298700" y="2133600"/>
                  </a:cubicBezTo>
                  <a:cubicBezTo>
                    <a:pt x="2827020" y="1813560"/>
                    <a:pt x="3205480" y="1148080"/>
                    <a:pt x="3548380" y="792480"/>
                  </a:cubicBezTo>
                  <a:cubicBezTo>
                    <a:pt x="3891280" y="436880"/>
                    <a:pt x="4123690" y="218440"/>
                    <a:pt x="4356100" y="0"/>
                  </a:cubicBezTo>
                </a:path>
              </a:pathLst>
            </a:custGeom>
            <a:noFill/>
            <a:ln w="25400" cap="flat" cmpd="sng" algn="ctr">
              <a:solidFill>
                <a:srgbClr val="FF0000"/>
              </a:solidFill>
              <a:prstDash val="sysDash"/>
              <a:tailEnd type="triangle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" lastClr="FFFFFF"/>
                </a:solidFill>
                <a:latin typeface="Calibri"/>
                <a:cs typeface="+mn-cs"/>
              </a:endParaRPr>
            </a:p>
          </p:txBody>
        </p:sp>
      </p:grpSp>
      <p:grpSp>
        <p:nvGrpSpPr>
          <p:cNvPr id="141" name="Gruppe 249"/>
          <p:cNvGrpSpPr>
            <a:grpSpLocks/>
          </p:cNvGrpSpPr>
          <p:nvPr/>
        </p:nvGrpSpPr>
        <p:grpSpPr bwMode="auto">
          <a:xfrm>
            <a:off x="2882383" y="2031305"/>
            <a:ext cx="606114" cy="607514"/>
            <a:chOff x="2881313" y="1930398"/>
            <a:chExt cx="687260" cy="689505"/>
          </a:xfrm>
        </p:grpSpPr>
        <p:grpSp>
          <p:nvGrpSpPr>
            <p:cNvPr id="142" name="Gruppe 92"/>
            <p:cNvGrpSpPr>
              <a:grpSpLocks/>
            </p:cNvGrpSpPr>
            <p:nvPr/>
          </p:nvGrpSpPr>
          <p:grpSpPr bwMode="auto">
            <a:xfrm>
              <a:off x="2881305" y="1954229"/>
              <a:ext cx="246014" cy="665673"/>
              <a:chOff x="3176792" y="3904629"/>
              <a:chExt cx="824239" cy="2228173"/>
            </a:xfrm>
          </p:grpSpPr>
          <p:grpSp>
            <p:nvGrpSpPr>
              <p:cNvPr id="149" name="Gruppe 52"/>
              <p:cNvGrpSpPr>
                <a:grpSpLocks/>
              </p:cNvGrpSpPr>
              <p:nvPr/>
            </p:nvGrpSpPr>
            <p:grpSpPr bwMode="auto">
              <a:xfrm>
                <a:off x="3176792" y="3904629"/>
                <a:ext cx="824239" cy="2228173"/>
                <a:chOff x="3612221" y="3839315"/>
                <a:chExt cx="824239" cy="2228173"/>
              </a:xfrm>
            </p:grpSpPr>
            <p:sp>
              <p:nvSpPr>
                <p:cNvPr id="152" name="Freeform 137"/>
                <p:cNvSpPr>
                  <a:spLocks noEditPoints="1"/>
                </p:cNvSpPr>
                <p:nvPr/>
              </p:nvSpPr>
              <p:spPr bwMode="auto">
                <a:xfrm>
                  <a:off x="3803687" y="4158386"/>
                  <a:ext cx="590268" cy="1302871"/>
                </a:xfrm>
                <a:custGeom>
                  <a:avLst/>
                  <a:gdLst>
                    <a:gd name="T0" fmla="*/ 811490228 w 350"/>
                    <a:gd name="T1" fmla="*/ 413305594 h 774"/>
                    <a:gd name="T2" fmla="*/ 756046810 w 350"/>
                    <a:gd name="T3" fmla="*/ 257055956 h 774"/>
                    <a:gd name="T4" fmla="*/ 756046810 w 350"/>
                    <a:gd name="T5" fmla="*/ 221773779 h 774"/>
                    <a:gd name="T6" fmla="*/ 740925878 w 350"/>
                    <a:gd name="T7" fmla="*/ 181451242 h 774"/>
                    <a:gd name="T8" fmla="*/ 725804945 w 350"/>
                    <a:gd name="T9" fmla="*/ 115927201 h 774"/>
                    <a:gd name="T10" fmla="*/ 705643702 w 350"/>
                    <a:gd name="T11" fmla="*/ 90725621 h 774"/>
                    <a:gd name="T12" fmla="*/ 650200284 w 350"/>
                    <a:gd name="T13" fmla="*/ 65524067 h 774"/>
                    <a:gd name="T14" fmla="*/ 569555312 w 350"/>
                    <a:gd name="T15" fmla="*/ 45362811 h 774"/>
                    <a:gd name="T16" fmla="*/ 302418744 w 350"/>
                    <a:gd name="T17" fmla="*/ 0 h 774"/>
                    <a:gd name="T18" fmla="*/ 246975326 w 350"/>
                    <a:gd name="T19" fmla="*/ 10080625 h 774"/>
                    <a:gd name="T20" fmla="*/ 191531858 w 350"/>
                    <a:gd name="T21" fmla="*/ 35282189 h 774"/>
                    <a:gd name="T22" fmla="*/ 105846575 w 350"/>
                    <a:gd name="T23" fmla="*/ 70564378 h 774"/>
                    <a:gd name="T24" fmla="*/ 30241877 w 350"/>
                    <a:gd name="T25" fmla="*/ 90725621 h 774"/>
                    <a:gd name="T26" fmla="*/ 15120938 w 350"/>
                    <a:gd name="T27" fmla="*/ 105846579 h 774"/>
                    <a:gd name="T28" fmla="*/ 0 w 350"/>
                    <a:gd name="T29" fmla="*/ 151209377 h 774"/>
                    <a:gd name="T30" fmla="*/ 15120938 w 350"/>
                    <a:gd name="T31" fmla="*/ 216733468 h 774"/>
                    <a:gd name="T32" fmla="*/ 45362809 w 350"/>
                    <a:gd name="T33" fmla="*/ 267136577 h 774"/>
                    <a:gd name="T34" fmla="*/ 105846575 w 350"/>
                    <a:gd name="T35" fmla="*/ 524192533 h 774"/>
                    <a:gd name="T36" fmla="*/ 151209372 w 350"/>
                    <a:gd name="T37" fmla="*/ 635079373 h 774"/>
                    <a:gd name="T38" fmla="*/ 181451236 w 350"/>
                    <a:gd name="T39" fmla="*/ 715724348 h 774"/>
                    <a:gd name="T40" fmla="*/ 211693150 w 350"/>
                    <a:gd name="T41" fmla="*/ 801409633 h 774"/>
                    <a:gd name="T42" fmla="*/ 196572169 w 350"/>
                    <a:gd name="T43" fmla="*/ 871974184 h 774"/>
                    <a:gd name="T44" fmla="*/ 161289993 w 350"/>
                    <a:gd name="T45" fmla="*/ 1003022268 h 774"/>
                    <a:gd name="T46" fmla="*/ 120967507 w 350"/>
                    <a:gd name="T47" fmla="*/ 1169352528 h 774"/>
                    <a:gd name="T48" fmla="*/ 115927197 w 350"/>
                    <a:gd name="T49" fmla="*/ 1229836259 h 774"/>
                    <a:gd name="T50" fmla="*/ 146169061 w 350"/>
                    <a:gd name="T51" fmla="*/ 1244957192 h 774"/>
                    <a:gd name="T52" fmla="*/ 146169061 w 350"/>
                    <a:gd name="T53" fmla="*/ 1401206830 h 774"/>
                    <a:gd name="T54" fmla="*/ 156249683 w 350"/>
                    <a:gd name="T55" fmla="*/ 1653222375 h 774"/>
                    <a:gd name="T56" fmla="*/ 156249683 w 350"/>
                    <a:gd name="T57" fmla="*/ 1718746814 h 774"/>
                    <a:gd name="T58" fmla="*/ 156249683 w 350"/>
                    <a:gd name="T59" fmla="*/ 1789311167 h 774"/>
                    <a:gd name="T60" fmla="*/ 156249683 w 350"/>
                    <a:gd name="T61" fmla="*/ 1895157696 h 774"/>
                    <a:gd name="T62" fmla="*/ 272176879 w 350"/>
                    <a:gd name="T63" fmla="*/ 1940520494 h 774"/>
                    <a:gd name="T64" fmla="*/ 342741230 w 350"/>
                    <a:gd name="T65" fmla="*/ 1950601116 h 774"/>
                    <a:gd name="T66" fmla="*/ 493950651 w 350"/>
                    <a:gd name="T67" fmla="*/ 1925399561 h 774"/>
                    <a:gd name="T68" fmla="*/ 665321216 w 350"/>
                    <a:gd name="T69" fmla="*/ 1880036763 h 774"/>
                    <a:gd name="T70" fmla="*/ 781248363 w 350"/>
                    <a:gd name="T71" fmla="*/ 1834673965 h 774"/>
                    <a:gd name="T72" fmla="*/ 826611160 w 350"/>
                    <a:gd name="T73" fmla="*/ 1703625881 h 774"/>
                    <a:gd name="T74" fmla="*/ 821570849 w 350"/>
                    <a:gd name="T75" fmla="*/ 1340723099 h 774"/>
                    <a:gd name="T76" fmla="*/ 821570849 w 350"/>
                    <a:gd name="T77" fmla="*/ 1159271906 h 774"/>
                    <a:gd name="T78" fmla="*/ 796369296 w 350"/>
                    <a:gd name="T79" fmla="*/ 1028223823 h 774"/>
                    <a:gd name="T80" fmla="*/ 776208053 w 350"/>
                    <a:gd name="T81" fmla="*/ 967740092 h 774"/>
                    <a:gd name="T82" fmla="*/ 861893534 w 350"/>
                    <a:gd name="T83" fmla="*/ 751006524 h 774"/>
                    <a:gd name="T84" fmla="*/ 877014466 w 350"/>
                    <a:gd name="T85" fmla="*/ 705643726 h 774"/>
                    <a:gd name="T86" fmla="*/ 877014466 w 350"/>
                    <a:gd name="T87" fmla="*/ 685482482 h 774"/>
                    <a:gd name="T88" fmla="*/ 705643702 w 350"/>
                    <a:gd name="T89" fmla="*/ 619958440 h 774"/>
                    <a:gd name="T90" fmla="*/ 685482459 w 350"/>
                    <a:gd name="T91" fmla="*/ 650200306 h 774"/>
                    <a:gd name="T92" fmla="*/ 700603392 w 350"/>
                    <a:gd name="T93" fmla="*/ 594756886 h 774"/>
                    <a:gd name="T94" fmla="*/ 710684013 w 350"/>
                    <a:gd name="T95" fmla="*/ 604837508 h 774"/>
                    <a:gd name="T96" fmla="*/ 705643702 w 350"/>
                    <a:gd name="T97" fmla="*/ 619958440 h 774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w 350"/>
                    <a:gd name="T148" fmla="*/ 0 h 774"/>
                    <a:gd name="T149" fmla="*/ 350 w 350"/>
                    <a:gd name="T150" fmla="*/ 774 h 774"/>
                  </a:gdLst>
                  <a:ahLst/>
                  <a:cxnLst>
                    <a:cxn ang="T98">
                      <a:pos x="T0" y="T1"/>
                    </a:cxn>
                    <a:cxn ang="T99">
                      <a:pos x="T2" y="T3"/>
                    </a:cxn>
                    <a:cxn ang="T100">
                      <a:pos x="T4" y="T5"/>
                    </a:cxn>
                    <a:cxn ang="T101">
                      <a:pos x="T6" y="T7"/>
                    </a:cxn>
                    <a:cxn ang="T102">
                      <a:pos x="T8" y="T9"/>
                    </a:cxn>
                    <a:cxn ang="T103">
                      <a:pos x="T10" y="T11"/>
                    </a:cxn>
                    <a:cxn ang="T104">
                      <a:pos x="T12" y="T13"/>
                    </a:cxn>
                    <a:cxn ang="T105">
                      <a:pos x="T14" y="T15"/>
                    </a:cxn>
                    <a:cxn ang="T106">
                      <a:pos x="T16" y="T17"/>
                    </a:cxn>
                    <a:cxn ang="T107">
                      <a:pos x="T18" y="T19"/>
                    </a:cxn>
                    <a:cxn ang="T108">
                      <a:pos x="T20" y="T21"/>
                    </a:cxn>
                    <a:cxn ang="T109">
                      <a:pos x="T22" y="T23"/>
                    </a:cxn>
                    <a:cxn ang="T110">
                      <a:pos x="T24" y="T25"/>
                    </a:cxn>
                    <a:cxn ang="T111">
                      <a:pos x="T26" y="T27"/>
                    </a:cxn>
                    <a:cxn ang="T112">
                      <a:pos x="T28" y="T29"/>
                    </a:cxn>
                    <a:cxn ang="T113">
                      <a:pos x="T30" y="T31"/>
                    </a:cxn>
                    <a:cxn ang="T114">
                      <a:pos x="T32" y="T33"/>
                    </a:cxn>
                    <a:cxn ang="T115">
                      <a:pos x="T34" y="T35"/>
                    </a:cxn>
                    <a:cxn ang="T116">
                      <a:pos x="T36" y="T37"/>
                    </a:cxn>
                    <a:cxn ang="T117">
                      <a:pos x="T38" y="T39"/>
                    </a:cxn>
                    <a:cxn ang="T118">
                      <a:pos x="T40" y="T41"/>
                    </a:cxn>
                    <a:cxn ang="T119">
                      <a:pos x="T42" y="T43"/>
                    </a:cxn>
                    <a:cxn ang="T120">
                      <a:pos x="T44" y="T45"/>
                    </a:cxn>
                    <a:cxn ang="T121">
                      <a:pos x="T46" y="T47"/>
                    </a:cxn>
                    <a:cxn ang="T122">
                      <a:pos x="T48" y="T49"/>
                    </a:cxn>
                    <a:cxn ang="T123">
                      <a:pos x="T50" y="T51"/>
                    </a:cxn>
                    <a:cxn ang="T124">
                      <a:pos x="T52" y="T53"/>
                    </a:cxn>
                    <a:cxn ang="T125">
                      <a:pos x="T54" y="T55"/>
                    </a:cxn>
                    <a:cxn ang="T126">
                      <a:pos x="T56" y="T57"/>
                    </a:cxn>
                    <a:cxn ang="T127">
                      <a:pos x="T58" y="T59"/>
                    </a:cxn>
                    <a:cxn ang="T128">
                      <a:pos x="T60" y="T61"/>
                    </a:cxn>
                    <a:cxn ang="T129">
                      <a:pos x="T62" y="T63"/>
                    </a:cxn>
                    <a:cxn ang="T130">
                      <a:pos x="T64" y="T65"/>
                    </a:cxn>
                    <a:cxn ang="T131">
                      <a:pos x="T66" y="T67"/>
                    </a:cxn>
                    <a:cxn ang="T132">
                      <a:pos x="T68" y="T69"/>
                    </a:cxn>
                    <a:cxn ang="T133">
                      <a:pos x="T70" y="T71"/>
                    </a:cxn>
                    <a:cxn ang="T134">
                      <a:pos x="T72" y="T73"/>
                    </a:cxn>
                    <a:cxn ang="T135">
                      <a:pos x="T74" y="T75"/>
                    </a:cxn>
                    <a:cxn ang="T136">
                      <a:pos x="T76" y="T77"/>
                    </a:cxn>
                    <a:cxn ang="T137">
                      <a:pos x="T78" y="T79"/>
                    </a:cxn>
                    <a:cxn ang="T138">
                      <a:pos x="T80" y="T81"/>
                    </a:cxn>
                    <a:cxn ang="T139">
                      <a:pos x="T82" y="T83"/>
                    </a:cxn>
                    <a:cxn ang="T140">
                      <a:pos x="T84" y="T85"/>
                    </a:cxn>
                    <a:cxn ang="T141">
                      <a:pos x="T86" y="T87"/>
                    </a:cxn>
                    <a:cxn ang="T142">
                      <a:pos x="T88" y="T89"/>
                    </a:cxn>
                    <a:cxn ang="T143">
                      <a:pos x="T90" y="T91"/>
                    </a:cxn>
                    <a:cxn ang="T144">
                      <a:pos x="T92" y="T93"/>
                    </a:cxn>
                    <a:cxn ang="T145">
                      <a:pos x="T94" y="T95"/>
                    </a:cxn>
                    <a:cxn ang="T146">
                      <a:pos x="T96" y="T97"/>
                    </a:cxn>
                  </a:cxnLst>
                  <a:rect l="T147" t="T148" r="T149" b="T150"/>
                  <a:pathLst>
                    <a:path w="350" h="774">
                      <a:moveTo>
                        <a:pt x="344" y="262"/>
                      </a:moveTo>
                      <a:lnTo>
                        <a:pt x="344" y="262"/>
                      </a:lnTo>
                      <a:lnTo>
                        <a:pt x="322" y="164"/>
                      </a:lnTo>
                      <a:lnTo>
                        <a:pt x="300" y="102"/>
                      </a:lnTo>
                      <a:lnTo>
                        <a:pt x="300" y="96"/>
                      </a:lnTo>
                      <a:lnTo>
                        <a:pt x="300" y="88"/>
                      </a:lnTo>
                      <a:lnTo>
                        <a:pt x="296" y="80"/>
                      </a:lnTo>
                      <a:lnTo>
                        <a:pt x="294" y="76"/>
                      </a:lnTo>
                      <a:lnTo>
                        <a:pt x="294" y="72"/>
                      </a:lnTo>
                      <a:lnTo>
                        <a:pt x="292" y="56"/>
                      </a:lnTo>
                      <a:lnTo>
                        <a:pt x="288" y="46"/>
                      </a:lnTo>
                      <a:lnTo>
                        <a:pt x="284" y="40"/>
                      </a:lnTo>
                      <a:lnTo>
                        <a:pt x="280" y="36"/>
                      </a:lnTo>
                      <a:lnTo>
                        <a:pt x="270" y="30"/>
                      </a:lnTo>
                      <a:lnTo>
                        <a:pt x="260" y="26"/>
                      </a:lnTo>
                      <a:lnTo>
                        <a:pt x="258" y="26"/>
                      </a:lnTo>
                      <a:lnTo>
                        <a:pt x="234" y="20"/>
                      </a:lnTo>
                      <a:lnTo>
                        <a:pt x="226" y="18"/>
                      </a:lnTo>
                      <a:lnTo>
                        <a:pt x="212" y="14"/>
                      </a:lnTo>
                      <a:lnTo>
                        <a:pt x="176" y="8"/>
                      </a:lnTo>
                      <a:lnTo>
                        <a:pt x="120" y="0"/>
                      </a:lnTo>
                      <a:lnTo>
                        <a:pt x="112" y="0"/>
                      </a:lnTo>
                      <a:lnTo>
                        <a:pt x="98" y="4"/>
                      </a:lnTo>
                      <a:lnTo>
                        <a:pt x="84" y="8"/>
                      </a:lnTo>
                      <a:lnTo>
                        <a:pt x="76" y="14"/>
                      </a:lnTo>
                      <a:lnTo>
                        <a:pt x="68" y="18"/>
                      </a:lnTo>
                      <a:lnTo>
                        <a:pt x="58" y="22"/>
                      </a:lnTo>
                      <a:lnTo>
                        <a:pt x="42" y="28"/>
                      </a:lnTo>
                      <a:lnTo>
                        <a:pt x="28" y="32"/>
                      </a:lnTo>
                      <a:lnTo>
                        <a:pt x="12" y="36"/>
                      </a:lnTo>
                      <a:lnTo>
                        <a:pt x="8" y="38"/>
                      </a:lnTo>
                      <a:lnTo>
                        <a:pt x="6" y="42"/>
                      </a:lnTo>
                      <a:lnTo>
                        <a:pt x="4" y="48"/>
                      </a:lnTo>
                      <a:lnTo>
                        <a:pt x="0" y="60"/>
                      </a:lnTo>
                      <a:lnTo>
                        <a:pt x="0" y="70"/>
                      </a:lnTo>
                      <a:lnTo>
                        <a:pt x="2" y="80"/>
                      </a:lnTo>
                      <a:lnTo>
                        <a:pt x="6" y="86"/>
                      </a:lnTo>
                      <a:lnTo>
                        <a:pt x="18" y="106"/>
                      </a:lnTo>
                      <a:lnTo>
                        <a:pt x="30" y="158"/>
                      </a:lnTo>
                      <a:lnTo>
                        <a:pt x="42" y="208"/>
                      </a:lnTo>
                      <a:lnTo>
                        <a:pt x="50" y="224"/>
                      </a:lnTo>
                      <a:lnTo>
                        <a:pt x="56" y="240"/>
                      </a:lnTo>
                      <a:lnTo>
                        <a:pt x="60" y="252"/>
                      </a:lnTo>
                      <a:lnTo>
                        <a:pt x="64" y="266"/>
                      </a:lnTo>
                      <a:lnTo>
                        <a:pt x="72" y="284"/>
                      </a:lnTo>
                      <a:lnTo>
                        <a:pt x="80" y="304"/>
                      </a:lnTo>
                      <a:lnTo>
                        <a:pt x="82" y="312"/>
                      </a:lnTo>
                      <a:lnTo>
                        <a:pt x="84" y="318"/>
                      </a:lnTo>
                      <a:lnTo>
                        <a:pt x="82" y="332"/>
                      </a:lnTo>
                      <a:lnTo>
                        <a:pt x="78" y="346"/>
                      </a:lnTo>
                      <a:lnTo>
                        <a:pt x="72" y="364"/>
                      </a:lnTo>
                      <a:lnTo>
                        <a:pt x="64" y="398"/>
                      </a:lnTo>
                      <a:lnTo>
                        <a:pt x="54" y="438"/>
                      </a:lnTo>
                      <a:lnTo>
                        <a:pt x="48" y="464"/>
                      </a:lnTo>
                      <a:lnTo>
                        <a:pt x="42" y="484"/>
                      </a:lnTo>
                      <a:lnTo>
                        <a:pt x="46" y="488"/>
                      </a:lnTo>
                      <a:lnTo>
                        <a:pt x="52" y="492"/>
                      </a:lnTo>
                      <a:lnTo>
                        <a:pt x="58" y="494"/>
                      </a:lnTo>
                      <a:lnTo>
                        <a:pt x="58" y="506"/>
                      </a:lnTo>
                      <a:lnTo>
                        <a:pt x="58" y="524"/>
                      </a:lnTo>
                      <a:lnTo>
                        <a:pt x="58" y="556"/>
                      </a:lnTo>
                      <a:lnTo>
                        <a:pt x="60" y="606"/>
                      </a:lnTo>
                      <a:lnTo>
                        <a:pt x="62" y="656"/>
                      </a:lnTo>
                      <a:lnTo>
                        <a:pt x="62" y="672"/>
                      </a:lnTo>
                      <a:lnTo>
                        <a:pt x="62" y="682"/>
                      </a:lnTo>
                      <a:lnTo>
                        <a:pt x="62" y="710"/>
                      </a:lnTo>
                      <a:lnTo>
                        <a:pt x="62" y="732"/>
                      </a:lnTo>
                      <a:lnTo>
                        <a:pt x="62" y="752"/>
                      </a:lnTo>
                      <a:lnTo>
                        <a:pt x="72" y="756"/>
                      </a:lnTo>
                      <a:lnTo>
                        <a:pt x="108" y="770"/>
                      </a:lnTo>
                      <a:lnTo>
                        <a:pt x="122" y="774"/>
                      </a:lnTo>
                      <a:lnTo>
                        <a:pt x="136" y="774"/>
                      </a:lnTo>
                      <a:lnTo>
                        <a:pt x="152" y="774"/>
                      </a:lnTo>
                      <a:lnTo>
                        <a:pt x="168" y="770"/>
                      </a:lnTo>
                      <a:lnTo>
                        <a:pt x="196" y="764"/>
                      </a:lnTo>
                      <a:lnTo>
                        <a:pt x="214" y="760"/>
                      </a:lnTo>
                      <a:lnTo>
                        <a:pt x="264" y="746"/>
                      </a:lnTo>
                      <a:lnTo>
                        <a:pt x="288" y="738"/>
                      </a:lnTo>
                      <a:lnTo>
                        <a:pt x="310" y="728"/>
                      </a:lnTo>
                      <a:lnTo>
                        <a:pt x="330" y="716"/>
                      </a:lnTo>
                      <a:lnTo>
                        <a:pt x="328" y="676"/>
                      </a:lnTo>
                      <a:lnTo>
                        <a:pt x="326" y="616"/>
                      </a:lnTo>
                      <a:lnTo>
                        <a:pt x="326" y="532"/>
                      </a:lnTo>
                      <a:lnTo>
                        <a:pt x="324" y="468"/>
                      </a:lnTo>
                      <a:lnTo>
                        <a:pt x="326" y="460"/>
                      </a:lnTo>
                      <a:lnTo>
                        <a:pt x="326" y="446"/>
                      </a:lnTo>
                      <a:lnTo>
                        <a:pt x="324" y="434"/>
                      </a:lnTo>
                      <a:lnTo>
                        <a:pt x="316" y="408"/>
                      </a:lnTo>
                      <a:lnTo>
                        <a:pt x="310" y="392"/>
                      </a:lnTo>
                      <a:lnTo>
                        <a:pt x="308" y="384"/>
                      </a:lnTo>
                      <a:lnTo>
                        <a:pt x="324" y="344"/>
                      </a:lnTo>
                      <a:lnTo>
                        <a:pt x="338" y="314"/>
                      </a:lnTo>
                      <a:lnTo>
                        <a:pt x="342" y="298"/>
                      </a:lnTo>
                      <a:lnTo>
                        <a:pt x="344" y="290"/>
                      </a:lnTo>
                      <a:lnTo>
                        <a:pt x="348" y="280"/>
                      </a:lnTo>
                      <a:lnTo>
                        <a:pt x="350" y="276"/>
                      </a:lnTo>
                      <a:lnTo>
                        <a:pt x="348" y="272"/>
                      </a:lnTo>
                      <a:lnTo>
                        <a:pt x="344" y="262"/>
                      </a:lnTo>
                      <a:close/>
                      <a:moveTo>
                        <a:pt x="280" y="246"/>
                      </a:moveTo>
                      <a:lnTo>
                        <a:pt x="276" y="250"/>
                      </a:lnTo>
                      <a:lnTo>
                        <a:pt x="276" y="256"/>
                      </a:lnTo>
                      <a:lnTo>
                        <a:pt x="272" y="258"/>
                      </a:lnTo>
                      <a:lnTo>
                        <a:pt x="274" y="236"/>
                      </a:lnTo>
                      <a:lnTo>
                        <a:pt x="278" y="236"/>
                      </a:lnTo>
                      <a:lnTo>
                        <a:pt x="280" y="238"/>
                      </a:lnTo>
                      <a:lnTo>
                        <a:pt x="282" y="240"/>
                      </a:lnTo>
                      <a:lnTo>
                        <a:pt x="282" y="246"/>
                      </a:lnTo>
                      <a:lnTo>
                        <a:pt x="280" y="246"/>
                      </a:lnTo>
                      <a:close/>
                    </a:path>
                  </a:pathLst>
                </a:custGeom>
                <a:solidFill>
                  <a:schemeClr val="tx1">
                    <a:lumMod val="50000"/>
                  </a:schemeClr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>
                    <a:latin typeface="+mn-lt"/>
                    <a:cs typeface="+mn-cs"/>
                  </a:endParaRPr>
                </a:p>
              </p:txBody>
            </p:sp>
            <p:sp>
              <p:nvSpPr>
                <p:cNvPr id="153" name="Freeform 139"/>
                <p:cNvSpPr>
                  <a:spLocks/>
                </p:cNvSpPr>
                <p:nvPr/>
              </p:nvSpPr>
              <p:spPr bwMode="auto">
                <a:xfrm>
                  <a:off x="3883451" y="3839315"/>
                  <a:ext cx="340336" cy="366930"/>
                </a:xfrm>
                <a:custGeom>
                  <a:avLst/>
                  <a:gdLst>
                    <a:gd name="T0" fmla="*/ 282257514 w 202"/>
                    <a:gd name="T1" fmla="*/ 10080625 h 216"/>
                    <a:gd name="T2" fmla="*/ 317539691 w 202"/>
                    <a:gd name="T3" fmla="*/ 5040313 h 216"/>
                    <a:gd name="T4" fmla="*/ 327620313 w 202"/>
                    <a:gd name="T5" fmla="*/ 10080625 h 216"/>
                    <a:gd name="T6" fmla="*/ 403224977 w 202"/>
                    <a:gd name="T7" fmla="*/ 15120939 h 216"/>
                    <a:gd name="T8" fmla="*/ 433466942 w 202"/>
                    <a:gd name="T9" fmla="*/ 30241879 h 216"/>
                    <a:gd name="T10" fmla="*/ 443547564 w 202"/>
                    <a:gd name="T11" fmla="*/ 45362812 h 216"/>
                    <a:gd name="T12" fmla="*/ 463708808 w 202"/>
                    <a:gd name="T13" fmla="*/ 100806246 h 216"/>
                    <a:gd name="T14" fmla="*/ 463708808 w 202"/>
                    <a:gd name="T15" fmla="*/ 156249693 h 216"/>
                    <a:gd name="T16" fmla="*/ 473789430 w 202"/>
                    <a:gd name="T17" fmla="*/ 226814098 h 216"/>
                    <a:gd name="T18" fmla="*/ 473789430 w 202"/>
                    <a:gd name="T19" fmla="*/ 307459075 h 216"/>
                    <a:gd name="T20" fmla="*/ 453628186 w 202"/>
                    <a:gd name="T21" fmla="*/ 372983119 h 216"/>
                    <a:gd name="T22" fmla="*/ 453628186 w 202"/>
                    <a:gd name="T23" fmla="*/ 393144363 h 216"/>
                    <a:gd name="T24" fmla="*/ 473789430 w 202"/>
                    <a:gd name="T25" fmla="*/ 443547573 h 216"/>
                    <a:gd name="T26" fmla="*/ 493950674 w 202"/>
                    <a:gd name="T27" fmla="*/ 453628195 h 216"/>
                    <a:gd name="T28" fmla="*/ 483870052 w 202"/>
                    <a:gd name="T29" fmla="*/ 453628195 h 216"/>
                    <a:gd name="T30" fmla="*/ 463708808 w 202"/>
                    <a:gd name="T31" fmla="*/ 453628195 h 216"/>
                    <a:gd name="T32" fmla="*/ 473789430 w 202"/>
                    <a:gd name="T33" fmla="*/ 478829751 h 216"/>
                    <a:gd name="T34" fmla="*/ 498990985 w 202"/>
                    <a:gd name="T35" fmla="*/ 493950684 h 216"/>
                    <a:gd name="T36" fmla="*/ 509071607 w 202"/>
                    <a:gd name="T37" fmla="*/ 488910373 h 216"/>
                    <a:gd name="T38" fmla="*/ 493950674 w 202"/>
                    <a:gd name="T39" fmla="*/ 534273172 h 216"/>
                    <a:gd name="T40" fmla="*/ 473789430 w 202"/>
                    <a:gd name="T41" fmla="*/ 544353795 h 216"/>
                    <a:gd name="T42" fmla="*/ 453628186 w 202"/>
                    <a:gd name="T43" fmla="*/ 544353795 h 216"/>
                    <a:gd name="T44" fmla="*/ 418346010 w 202"/>
                    <a:gd name="T45" fmla="*/ 534273172 h 216"/>
                    <a:gd name="T46" fmla="*/ 398184666 w 202"/>
                    <a:gd name="T47" fmla="*/ 509071617 h 216"/>
                    <a:gd name="T48" fmla="*/ 398184666 w 202"/>
                    <a:gd name="T49" fmla="*/ 493950684 h 216"/>
                    <a:gd name="T50" fmla="*/ 388104044 w 202"/>
                    <a:gd name="T51" fmla="*/ 478829751 h 216"/>
                    <a:gd name="T52" fmla="*/ 352821868 w 202"/>
                    <a:gd name="T53" fmla="*/ 468749128 h 216"/>
                    <a:gd name="T54" fmla="*/ 337700935 w 202"/>
                    <a:gd name="T55" fmla="*/ 453628195 h 216"/>
                    <a:gd name="T56" fmla="*/ 196572178 w 202"/>
                    <a:gd name="T57" fmla="*/ 453628195 h 216"/>
                    <a:gd name="T58" fmla="*/ 176410934 w 202"/>
                    <a:gd name="T59" fmla="*/ 478829751 h 216"/>
                    <a:gd name="T60" fmla="*/ 176410934 w 202"/>
                    <a:gd name="T61" fmla="*/ 504031306 h 216"/>
                    <a:gd name="T62" fmla="*/ 171370623 w 202"/>
                    <a:gd name="T63" fmla="*/ 524192550 h 216"/>
                    <a:gd name="T64" fmla="*/ 151209379 w 202"/>
                    <a:gd name="T65" fmla="*/ 534273172 h 216"/>
                    <a:gd name="T66" fmla="*/ 141128757 w 202"/>
                    <a:gd name="T67" fmla="*/ 539313484 h 216"/>
                    <a:gd name="T68" fmla="*/ 120967513 w 202"/>
                    <a:gd name="T69" fmla="*/ 534273172 h 216"/>
                    <a:gd name="T70" fmla="*/ 70564378 w 202"/>
                    <a:gd name="T71" fmla="*/ 544353795 h 216"/>
                    <a:gd name="T72" fmla="*/ 35282189 w 202"/>
                    <a:gd name="T73" fmla="*/ 529232861 h 216"/>
                    <a:gd name="T74" fmla="*/ 15120939 w 202"/>
                    <a:gd name="T75" fmla="*/ 493950684 h 216"/>
                    <a:gd name="T76" fmla="*/ 0 w 202"/>
                    <a:gd name="T77" fmla="*/ 473789440 h 216"/>
                    <a:gd name="T78" fmla="*/ 30241878 w 202"/>
                    <a:gd name="T79" fmla="*/ 478829751 h 216"/>
                    <a:gd name="T80" fmla="*/ 35282189 w 202"/>
                    <a:gd name="T81" fmla="*/ 473789440 h 216"/>
                    <a:gd name="T82" fmla="*/ 45362811 w 202"/>
                    <a:gd name="T83" fmla="*/ 458668506 h 216"/>
                    <a:gd name="T84" fmla="*/ 65524068 w 202"/>
                    <a:gd name="T85" fmla="*/ 433466951 h 216"/>
                    <a:gd name="T86" fmla="*/ 60483757 w 202"/>
                    <a:gd name="T87" fmla="*/ 398184674 h 216"/>
                    <a:gd name="T88" fmla="*/ 55443446 w 202"/>
                    <a:gd name="T89" fmla="*/ 367942808 h 216"/>
                    <a:gd name="T90" fmla="*/ 45362811 w 202"/>
                    <a:gd name="T91" fmla="*/ 312499386 h 216"/>
                    <a:gd name="T92" fmla="*/ 55443446 w 202"/>
                    <a:gd name="T93" fmla="*/ 267136586 h 216"/>
                    <a:gd name="T94" fmla="*/ 80645000 w 202"/>
                    <a:gd name="T95" fmla="*/ 196572182 h 216"/>
                    <a:gd name="T96" fmla="*/ 90725622 w 202"/>
                    <a:gd name="T97" fmla="*/ 171370626 h 216"/>
                    <a:gd name="T98" fmla="*/ 120967513 w 202"/>
                    <a:gd name="T99" fmla="*/ 105846582 h 216"/>
                    <a:gd name="T100" fmla="*/ 181451245 w 202"/>
                    <a:gd name="T101" fmla="*/ 45362812 h 216"/>
                    <a:gd name="T102" fmla="*/ 236894715 w 202"/>
                    <a:gd name="T103" fmla="*/ 5040313 h 216"/>
                    <a:gd name="T104" fmla="*/ 272176892 w 202"/>
                    <a:gd name="T105" fmla="*/ 5040313 h 216"/>
                    <a:gd name="T106" fmla="*/ 282257514 w 202"/>
                    <a:gd name="T107" fmla="*/ 10080625 h 21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w 202"/>
                    <a:gd name="T163" fmla="*/ 0 h 216"/>
                    <a:gd name="T164" fmla="*/ 202 w 202"/>
                    <a:gd name="T165" fmla="*/ 216 h 216"/>
                  </a:gdLst>
                  <a:ahLst/>
                  <a:cxnLst>
                    <a:cxn ang="T108">
                      <a:pos x="T0" y="T1"/>
                    </a:cxn>
                    <a:cxn ang="T109">
                      <a:pos x="T2" y="T3"/>
                    </a:cxn>
                    <a:cxn ang="T110">
                      <a:pos x="T4" y="T5"/>
                    </a:cxn>
                    <a:cxn ang="T111">
                      <a:pos x="T6" y="T7"/>
                    </a:cxn>
                    <a:cxn ang="T112">
                      <a:pos x="T8" y="T9"/>
                    </a:cxn>
                    <a:cxn ang="T113">
                      <a:pos x="T10" y="T11"/>
                    </a:cxn>
                    <a:cxn ang="T114">
                      <a:pos x="T12" y="T13"/>
                    </a:cxn>
                    <a:cxn ang="T115">
                      <a:pos x="T14" y="T15"/>
                    </a:cxn>
                    <a:cxn ang="T116">
                      <a:pos x="T16" y="T17"/>
                    </a:cxn>
                    <a:cxn ang="T117">
                      <a:pos x="T18" y="T19"/>
                    </a:cxn>
                    <a:cxn ang="T118">
                      <a:pos x="T20" y="T21"/>
                    </a:cxn>
                    <a:cxn ang="T119">
                      <a:pos x="T22" y="T23"/>
                    </a:cxn>
                    <a:cxn ang="T120">
                      <a:pos x="T24" y="T25"/>
                    </a:cxn>
                    <a:cxn ang="T121">
                      <a:pos x="T26" y="T27"/>
                    </a:cxn>
                    <a:cxn ang="T122">
                      <a:pos x="T28" y="T29"/>
                    </a:cxn>
                    <a:cxn ang="T123">
                      <a:pos x="T30" y="T31"/>
                    </a:cxn>
                    <a:cxn ang="T124">
                      <a:pos x="T32" y="T33"/>
                    </a:cxn>
                    <a:cxn ang="T125">
                      <a:pos x="T34" y="T35"/>
                    </a:cxn>
                    <a:cxn ang="T126">
                      <a:pos x="T36" y="T37"/>
                    </a:cxn>
                    <a:cxn ang="T127">
                      <a:pos x="T38" y="T39"/>
                    </a:cxn>
                    <a:cxn ang="T128">
                      <a:pos x="T40" y="T41"/>
                    </a:cxn>
                    <a:cxn ang="T129">
                      <a:pos x="T42" y="T43"/>
                    </a:cxn>
                    <a:cxn ang="T130">
                      <a:pos x="T44" y="T45"/>
                    </a:cxn>
                    <a:cxn ang="T131">
                      <a:pos x="T46" y="T47"/>
                    </a:cxn>
                    <a:cxn ang="T132">
                      <a:pos x="T48" y="T49"/>
                    </a:cxn>
                    <a:cxn ang="T133">
                      <a:pos x="T50" y="T51"/>
                    </a:cxn>
                    <a:cxn ang="T134">
                      <a:pos x="T52" y="T53"/>
                    </a:cxn>
                    <a:cxn ang="T135">
                      <a:pos x="T54" y="T55"/>
                    </a:cxn>
                    <a:cxn ang="T136">
                      <a:pos x="T56" y="T57"/>
                    </a:cxn>
                    <a:cxn ang="T137">
                      <a:pos x="T58" y="T59"/>
                    </a:cxn>
                    <a:cxn ang="T138">
                      <a:pos x="T60" y="T61"/>
                    </a:cxn>
                    <a:cxn ang="T139">
                      <a:pos x="T62" y="T63"/>
                    </a:cxn>
                    <a:cxn ang="T140">
                      <a:pos x="T64" y="T65"/>
                    </a:cxn>
                    <a:cxn ang="T141">
                      <a:pos x="T66" y="T67"/>
                    </a:cxn>
                    <a:cxn ang="T142">
                      <a:pos x="T68" y="T69"/>
                    </a:cxn>
                    <a:cxn ang="T143">
                      <a:pos x="T70" y="T71"/>
                    </a:cxn>
                    <a:cxn ang="T144">
                      <a:pos x="T72" y="T73"/>
                    </a:cxn>
                    <a:cxn ang="T145">
                      <a:pos x="T74" y="T75"/>
                    </a:cxn>
                    <a:cxn ang="T146">
                      <a:pos x="T76" y="T77"/>
                    </a:cxn>
                    <a:cxn ang="T147">
                      <a:pos x="T78" y="T79"/>
                    </a:cxn>
                    <a:cxn ang="T148">
                      <a:pos x="T80" y="T81"/>
                    </a:cxn>
                    <a:cxn ang="T149">
                      <a:pos x="T82" y="T83"/>
                    </a:cxn>
                    <a:cxn ang="T150">
                      <a:pos x="T84" y="T85"/>
                    </a:cxn>
                    <a:cxn ang="T151">
                      <a:pos x="T86" y="T87"/>
                    </a:cxn>
                    <a:cxn ang="T152">
                      <a:pos x="T88" y="T89"/>
                    </a:cxn>
                    <a:cxn ang="T153">
                      <a:pos x="T90" y="T91"/>
                    </a:cxn>
                    <a:cxn ang="T154">
                      <a:pos x="T92" y="T93"/>
                    </a:cxn>
                    <a:cxn ang="T155">
                      <a:pos x="T94" y="T95"/>
                    </a:cxn>
                    <a:cxn ang="T156">
                      <a:pos x="T96" y="T97"/>
                    </a:cxn>
                    <a:cxn ang="T157">
                      <a:pos x="T98" y="T99"/>
                    </a:cxn>
                    <a:cxn ang="T158">
                      <a:pos x="T100" y="T101"/>
                    </a:cxn>
                    <a:cxn ang="T159">
                      <a:pos x="T102" y="T103"/>
                    </a:cxn>
                    <a:cxn ang="T160">
                      <a:pos x="T104" y="T105"/>
                    </a:cxn>
                    <a:cxn ang="T161">
                      <a:pos x="T106" y="T107"/>
                    </a:cxn>
                  </a:cxnLst>
                  <a:rect l="T162" t="T163" r="T164" b="T165"/>
                  <a:pathLst>
                    <a:path w="202" h="216">
                      <a:moveTo>
                        <a:pt x="112" y="4"/>
                      </a:moveTo>
                      <a:lnTo>
                        <a:pt x="112" y="4"/>
                      </a:lnTo>
                      <a:lnTo>
                        <a:pt x="120" y="2"/>
                      </a:lnTo>
                      <a:lnTo>
                        <a:pt x="126" y="2"/>
                      </a:lnTo>
                      <a:lnTo>
                        <a:pt x="130" y="4"/>
                      </a:lnTo>
                      <a:lnTo>
                        <a:pt x="146" y="4"/>
                      </a:lnTo>
                      <a:lnTo>
                        <a:pt x="160" y="6"/>
                      </a:lnTo>
                      <a:lnTo>
                        <a:pt x="166" y="8"/>
                      </a:lnTo>
                      <a:lnTo>
                        <a:pt x="172" y="12"/>
                      </a:lnTo>
                      <a:lnTo>
                        <a:pt x="176" y="18"/>
                      </a:lnTo>
                      <a:lnTo>
                        <a:pt x="180" y="24"/>
                      </a:lnTo>
                      <a:lnTo>
                        <a:pt x="184" y="40"/>
                      </a:lnTo>
                      <a:lnTo>
                        <a:pt x="184" y="54"/>
                      </a:lnTo>
                      <a:lnTo>
                        <a:pt x="184" y="62"/>
                      </a:lnTo>
                      <a:lnTo>
                        <a:pt x="188" y="90"/>
                      </a:lnTo>
                      <a:lnTo>
                        <a:pt x="190" y="108"/>
                      </a:lnTo>
                      <a:lnTo>
                        <a:pt x="188" y="122"/>
                      </a:lnTo>
                      <a:lnTo>
                        <a:pt x="180" y="148"/>
                      </a:lnTo>
                      <a:lnTo>
                        <a:pt x="180" y="156"/>
                      </a:lnTo>
                      <a:lnTo>
                        <a:pt x="182" y="166"/>
                      </a:lnTo>
                      <a:lnTo>
                        <a:pt x="188" y="176"/>
                      </a:lnTo>
                      <a:lnTo>
                        <a:pt x="192" y="178"/>
                      </a:lnTo>
                      <a:lnTo>
                        <a:pt x="196" y="180"/>
                      </a:lnTo>
                      <a:lnTo>
                        <a:pt x="192" y="180"/>
                      </a:lnTo>
                      <a:lnTo>
                        <a:pt x="188" y="180"/>
                      </a:lnTo>
                      <a:lnTo>
                        <a:pt x="184" y="180"/>
                      </a:lnTo>
                      <a:lnTo>
                        <a:pt x="188" y="190"/>
                      </a:lnTo>
                      <a:lnTo>
                        <a:pt x="194" y="194"/>
                      </a:lnTo>
                      <a:lnTo>
                        <a:pt x="198" y="196"/>
                      </a:lnTo>
                      <a:lnTo>
                        <a:pt x="202" y="194"/>
                      </a:lnTo>
                      <a:lnTo>
                        <a:pt x="200" y="204"/>
                      </a:lnTo>
                      <a:lnTo>
                        <a:pt x="196" y="212"/>
                      </a:lnTo>
                      <a:lnTo>
                        <a:pt x="192" y="214"/>
                      </a:lnTo>
                      <a:lnTo>
                        <a:pt x="188" y="216"/>
                      </a:lnTo>
                      <a:lnTo>
                        <a:pt x="180" y="216"/>
                      </a:lnTo>
                      <a:lnTo>
                        <a:pt x="170" y="214"/>
                      </a:lnTo>
                      <a:lnTo>
                        <a:pt x="166" y="212"/>
                      </a:lnTo>
                      <a:lnTo>
                        <a:pt x="162" y="208"/>
                      </a:lnTo>
                      <a:lnTo>
                        <a:pt x="158" y="202"/>
                      </a:lnTo>
                      <a:lnTo>
                        <a:pt x="158" y="196"/>
                      </a:lnTo>
                      <a:lnTo>
                        <a:pt x="156" y="192"/>
                      </a:lnTo>
                      <a:lnTo>
                        <a:pt x="154" y="190"/>
                      </a:lnTo>
                      <a:lnTo>
                        <a:pt x="144" y="188"/>
                      </a:lnTo>
                      <a:lnTo>
                        <a:pt x="140" y="186"/>
                      </a:lnTo>
                      <a:lnTo>
                        <a:pt x="136" y="184"/>
                      </a:lnTo>
                      <a:lnTo>
                        <a:pt x="134" y="180"/>
                      </a:lnTo>
                      <a:lnTo>
                        <a:pt x="134" y="176"/>
                      </a:lnTo>
                      <a:lnTo>
                        <a:pt x="78" y="180"/>
                      </a:lnTo>
                      <a:lnTo>
                        <a:pt x="70" y="190"/>
                      </a:lnTo>
                      <a:lnTo>
                        <a:pt x="70" y="194"/>
                      </a:lnTo>
                      <a:lnTo>
                        <a:pt x="70" y="200"/>
                      </a:lnTo>
                      <a:lnTo>
                        <a:pt x="70" y="206"/>
                      </a:lnTo>
                      <a:lnTo>
                        <a:pt x="68" y="208"/>
                      </a:lnTo>
                      <a:lnTo>
                        <a:pt x="64" y="212"/>
                      </a:lnTo>
                      <a:lnTo>
                        <a:pt x="60" y="212"/>
                      </a:lnTo>
                      <a:lnTo>
                        <a:pt x="56" y="214"/>
                      </a:lnTo>
                      <a:lnTo>
                        <a:pt x="48" y="212"/>
                      </a:lnTo>
                      <a:lnTo>
                        <a:pt x="42" y="214"/>
                      </a:lnTo>
                      <a:lnTo>
                        <a:pt x="28" y="216"/>
                      </a:lnTo>
                      <a:lnTo>
                        <a:pt x="22" y="214"/>
                      </a:lnTo>
                      <a:lnTo>
                        <a:pt x="14" y="210"/>
                      </a:lnTo>
                      <a:lnTo>
                        <a:pt x="8" y="204"/>
                      </a:lnTo>
                      <a:lnTo>
                        <a:pt x="6" y="196"/>
                      </a:lnTo>
                      <a:lnTo>
                        <a:pt x="0" y="188"/>
                      </a:lnTo>
                      <a:lnTo>
                        <a:pt x="6" y="190"/>
                      </a:lnTo>
                      <a:lnTo>
                        <a:pt x="12" y="190"/>
                      </a:lnTo>
                      <a:lnTo>
                        <a:pt x="14" y="190"/>
                      </a:lnTo>
                      <a:lnTo>
                        <a:pt x="14" y="188"/>
                      </a:lnTo>
                      <a:lnTo>
                        <a:pt x="18" y="182"/>
                      </a:lnTo>
                      <a:lnTo>
                        <a:pt x="24" y="178"/>
                      </a:lnTo>
                      <a:lnTo>
                        <a:pt x="26" y="172"/>
                      </a:lnTo>
                      <a:lnTo>
                        <a:pt x="26" y="166"/>
                      </a:lnTo>
                      <a:lnTo>
                        <a:pt x="24" y="158"/>
                      </a:lnTo>
                      <a:lnTo>
                        <a:pt x="22" y="146"/>
                      </a:lnTo>
                      <a:lnTo>
                        <a:pt x="18" y="134"/>
                      </a:lnTo>
                      <a:lnTo>
                        <a:pt x="18" y="124"/>
                      </a:lnTo>
                      <a:lnTo>
                        <a:pt x="18" y="114"/>
                      </a:lnTo>
                      <a:lnTo>
                        <a:pt x="22" y="106"/>
                      </a:lnTo>
                      <a:lnTo>
                        <a:pt x="30" y="88"/>
                      </a:lnTo>
                      <a:lnTo>
                        <a:pt x="32" y="78"/>
                      </a:lnTo>
                      <a:lnTo>
                        <a:pt x="36" y="68"/>
                      </a:lnTo>
                      <a:lnTo>
                        <a:pt x="40" y="56"/>
                      </a:lnTo>
                      <a:lnTo>
                        <a:pt x="48" y="42"/>
                      </a:lnTo>
                      <a:lnTo>
                        <a:pt x="60" y="30"/>
                      </a:lnTo>
                      <a:lnTo>
                        <a:pt x="72" y="18"/>
                      </a:lnTo>
                      <a:lnTo>
                        <a:pt x="84" y="10"/>
                      </a:lnTo>
                      <a:lnTo>
                        <a:pt x="94" y="2"/>
                      </a:lnTo>
                      <a:lnTo>
                        <a:pt x="104" y="0"/>
                      </a:lnTo>
                      <a:lnTo>
                        <a:pt x="108" y="2"/>
                      </a:lnTo>
                      <a:lnTo>
                        <a:pt x="112" y="4"/>
                      </a:lnTo>
                      <a:close/>
                    </a:path>
                  </a:pathLst>
                </a:custGeom>
                <a:solidFill>
                  <a:schemeClr val="tx1">
                    <a:lumMod val="50000"/>
                  </a:schemeClr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>
                    <a:latin typeface="+mn-lt"/>
                    <a:cs typeface="+mn-cs"/>
                  </a:endParaRPr>
                </a:p>
              </p:txBody>
            </p:sp>
            <p:sp>
              <p:nvSpPr>
                <p:cNvPr id="154" name="Freeform 141"/>
                <p:cNvSpPr>
                  <a:spLocks/>
                </p:cNvSpPr>
                <p:nvPr/>
              </p:nvSpPr>
              <p:spPr bwMode="auto">
                <a:xfrm>
                  <a:off x="4000442" y="3881858"/>
                  <a:ext cx="175487" cy="249937"/>
                </a:xfrm>
                <a:custGeom>
                  <a:avLst/>
                  <a:gdLst>
                    <a:gd name="T0" fmla="*/ 231854407 w 106"/>
                    <a:gd name="T1" fmla="*/ 50403117 h 150"/>
                    <a:gd name="T2" fmla="*/ 231854407 w 106"/>
                    <a:gd name="T3" fmla="*/ 50403117 h 150"/>
                    <a:gd name="T4" fmla="*/ 246975341 w 106"/>
                    <a:gd name="T5" fmla="*/ 85685302 h 150"/>
                    <a:gd name="T6" fmla="*/ 262096274 w 106"/>
                    <a:gd name="T7" fmla="*/ 115927190 h 150"/>
                    <a:gd name="T8" fmla="*/ 267136585 w 106"/>
                    <a:gd name="T9" fmla="*/ 141128742 h 150"/>
                    <a:gd name="T10" fmla="*/ 267136585 w 106"/>
                    <a:gd name="T11" fmla="*/ 141128742 h 150"/>
                    <a:gd name="T12" fmla="*/ 267136585 w 106"/>
                    <a:gd name="T13" fmla="*/ 186491536 h 150"/>
                    <a:gd name="T14" fmla="*/ 267136585 w 106"/>
                    <a:gd name="T15" fmla="*/ 186491536 h 150"/>
                    <a:gd name="T16" fmla="*/ 257055963 w 106"/>
                    <a:gd name="T17" fmla="*/ 241935001 h 150"/>
                    <a:gd name="T18" fmla="*/ 252015652 w 106"/>
                    <a:gd name="T19" fmla="*/ 277217174 h 150"/>
                    <a:gd name="T20" fmla="*/ 241935030 w 106"/>
                    <a:gd name="T21" fmla="*/ 302418726 h 150"/>
                    <a:gd name="T22" fmla="*/ 241935030 w 106"/>
                    <a:gd name="T23" fmla="*/ 302418726 h 150"/>
                    <a:gd name="T24" fmla="*/ 201612492 w 106"/>
                    <a:gd name="T25" fmla="*/ 367942762 h 150"/>
                    <a:gd name="T26" fmla="*/ 201612492 w 106"/>
                    <a:gd name="T27" fmla="*/ 367942762 h 150"/>
                    <a:gd name="T28" fmla="*/ 191531869 w 106"/>
                    <a:gd name="T29" fmla="*/ 372983072 h 150"/>
                    <a:gd name="T30" fmla="*/ 176410936 w 106"/>
                    <a:gd name="T31" fmla="*/ 378023383 h 150"/>
                    <a:gd name="T32" fmla="*/ 161290003 w 106"/>
                    <a:gd name="T33" fmla="*/ 378023383 h 150"/>
                    <a:gd name="T34" fmla="*/ 161290003 w 106"/>
                    <a:gd name="T35" fmla="*/ 378023383 h 150"/>
                    <a:gd name="T36" fmla="*/ 136088448 w 106"/>
                    <a:gd name="T37" fmla="*/ 372983072 h 150"/>
                    <a:gd name="T38" fmla="*/ 105846582 w 106"/>
                    <a:gd name="T39" fmla="*/ 362902452 h 150"/>
                    <a:gd name="T40" fmla="*/ 65524068 w 106"/>
                    <a:gd name="T41" fmla="*/ 342741210 h 150"/>
                    <a:gd name="T42" fmla="*/ 65524068 w 106"/>
                    <a:gd name="T43" fmla="*/ 342741210 h 150"/>
                    <a:gd name="T44" fmla="*/ 40322501 w 106"/>
                    <a:gd name="T45" fmla="*/ 332660589 h 150"/>
                    <a:gd name="T46" fmla="*/ 20161250 w 106"/>
                    <a:gd name="T47" fmla="*/ 317539658 h 150"/>
                    <a:gd name="T48" fmla="*/ 10080625 w 106"/>
                    <a:gd name="T49" fmla="*/ 307459037 h 150"/>
                    <a:gd name="T50" fmla="*/ 5040313 w 106"/>
                    <a:gd name="T51" fmla="*/ 297378416 h 150"/>
                    <a:gd name="T52" fmla="*/ 5040313 w 106"/>
                    <a:gd name="T53" fmla="*/ 297378416 h 150"/>
                    <a:gd name="T54" fmla="*/ 0 w 106"/>
                    <a:gd name="T55" fmla="*/ 262096243 h 150"/>
                    <a:gd name="T56" fmla="*/ 0 w 106"/>
                    <a:gd name="T57" fmla="*/ 246975311 h 150"/>
                    <a:gd name="T58" fmla="*/ 0 w 106"/>
                    <a:gd name="T59" fmla="*/ 246975311 h 150"/>
                    <a:gd name="T60" fmla="*/ 10080625 w 106"/>
                    <a:gd name="T61" fmla="*/ 206652778 h 150"/>
                    <a:gd name="T62" fmla="*/ 15120939 w 106"/>
                    <a:gd name="T63" fmla="*/ 166330294 h 150"/>
                    <a:gd name="T64" fmla="*/ 20161250 w 106"/>
                    <a:gd name="T65" fmla="*/ 126007811 h 150"/>
                    <a:gd name="T66" fmla="*/ 20161250 w 106"/>
                    <a:gd name="T67" fmla="*/ 126007811 h 150"/>
                    <a:gd name="T68" fmla="*/ 20161250 w 106"/>
                    <a:gd name="T69" fmla="*/ 105846569 h 150"/>
                    <a:gd name="T70" fmla="*/ 25201561 w 106"/>
                    <a:gd name="T71" fmla="*/ 85685302 h 150"/>
                    <a:gd name="T72" fmla="*/ 40322501 w 106"/>
                    <a:gd name="T73" fmla="*/ 65524061 h 150"/>
                    <a:gd name="T74" fmla="*/ 50403123 w 106"/>
                    <a:gd name="T75" fmla="*/ 45362806 h 150"/>
                    <a:gd name="T76" fmla="*/ 65524068 w 106"/>
                    <a:gd name="T77" fmla="*/ 30241875 h 150"/>
                    <a:gd name="T78" fmla="*/ 85685313 w 106"/>
                    <a:gd name="T79" fmla="*/ 15120938 h 150"/>
                    <a:gd name="T80" fmla="*/ 100806246 w 106"/>
                    <a:gd name="T81" fmla="*/ 5040312 h 150"/>
                    <a:gd name="T82" fmla="*/ 120967515 w 106"/>
                    <a:gd name="T83" fmla="*/ 0 h 150"/>
                    <a:gd name="T84" fmla="*/ 120967515 w 106"/>
                    <a:gd name="T85" fmla="*/ 0 h 150"/>
                    <a:gd name="T86" fmla="*/ 156249692 w 106"/>
                    <a:gd name="T87" fmla="*/ 5040312 h 150"/>
                    <a:gd name="T88" fmla="*/ 186491558 w 106"/>
                    <a:gd name="T89" fmla="*/ 15120938 h 150"/>
                    <a:gd name="T90" fmla="*/ 211693163 w 106"/>
                    <a:gd name="T91" fmla="*/ 30241875 h 150"/>
                    <a:gd name="T92" fmla="*/ 231854407 w 106"/>
                    <a:gd name="T93" fmla="*/ 50403117 h 150"/>
                    <a:gd name="T94" fmla="*/ 231854407 w 106"/>
                    <a:gd name="T95" fmla="*/ 50403117 h 150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w 106"/>
                    <a:gd name="T145" fmla="*/ 0 h 150"/>
                    <a:gd name="T146" fmla="*/ 106 w 106"/>
                    <a:gd name="T147" fmla="*/ 150 h 150"/>
                  </a:gdLst>
                  <a:ahLst/>
                  <a:cxnLst>
                    <a:cxn ang="T96">
                      <a:pos x="T0" y="T1"/>
                    </a:cxn>
                    <a:cxn ang="T97">
                      <a:pos x="T2" y="T3"/>
                    </a:cxn>
                    <a:cxn ang="T98">
                      <a:pos x="T4" y="T5"/>
                    </a:cxn>
                    <a:cxn ang="T99">
                      <a:pos x="T6" y="T7"/>
                    </a:cxn>
                    <a:cxn ang="T100">
                      <a:pos x="T8" y="T9"/>
                    </a:cxn>
                    <a:cxn ang="T101">
                      <a:pos x="T10" y="T11"/>
                    </a:cxn>
                    <a:cxn ang="T102">
                      <a:pos x="T12" y="T13"/>
                    </a:cxn>
                    <a:cxn ang="T103">
                      <a:pos x="T14" y="T15"/>
                    </a:cxn>
                    <a:cxn ang="T104">
                      <a:pos x="T16" y="T17"/>
                    </a:cxn>
                    <a:cxn ang="T105">
                      <a:pos x="T18" y="T19"/>
                    </a:cxn>
                    <a:cxn ang="T106">
                      <a:pos x="T20" y="T21"/>
                    </a:cxn>
                    <a:cxn ang="T107">
                      <a:pos x="T22" y="T23"/>
                    </a:cxn>
                    <a:cxn ang="T108">
                      <a:pos x="T24" y="T25"/>
                    </a:cxn>
                    <a:cxn ang="T109">
                      <a:pos x="T26" y="T27"/>
                    </a:cxn>
                    <a:cxn ang="T110">
                      <a:pos x="T28" y="T29"/>
                    </a:cxn>
                    <a:cxn ang="T111">
                      <a:pos x="T30" y="T31"/>
                    </a:cxn>
                    <a:cxn ang="T112">
                      <a:pos x="T32" y="T33"/>
                    </a:cxn>
                    <a:cxn ang="T113">
                      <a:pos x="T34" y="T35"/>
                    </a:cxn>
                    <a:cxn ang="T114">
                      <a:pos x="T36" y="T37"/>
                    </a:cxn>
                    <a:cxn ang="T115">
                      <a:pos x="T38" y="T39"/>
                    </a:cxn>
                    <a:cxn ang="T116">
                      <a:pos x="T40" y="T41"/>
                    </a:cxn>
                    <a:cxn ang="T117">
                      <a:pos x="T42" y="T43"/>
                    </a:cxn>
                    <a:cxn ang="T118">
                      <a:pos x="T44" y="T45"/>
                    </a:cxn>
                    <a:cxn ang="T119">
                      <a:pos x="T46" y="T47"/>
                    </a:cxn>
                    <a:cxn ang="T120">
                      <a:pos x="T48" y="T49"/>
                    </a:cxn>
                    <a:cxn ang="T121">
                      <a:pos x="T50" y="T51"/>
                    </a:cxn>
                    <a:cxn ang="T122">
                      <a:pos x="T52" y="T53"/>
                    </a:cxn>
                    <a:cxn ang="T123">
                      <a:pos x="T54" y="T55"/>
                    </a:cxn>
                    <a:cxn ang="T124">
                      <a:pos x="T56" y="T57"/>
                    </a:cxn>
                    <a:cxn ang="T125">
                      <a:pos x="T58" y="T59"/>
                    </a:cxn>
                    <a:cxn ang="T126">
                      <a:pos x="T60" y="T61"/>
                    </a:cxn>
                    <a:cxn ang="T127">
                      <a:pos x="T62" y="T63"/>
                    </a:cxn>
                    <a:cxn ang="T128">
                      <a:pos x="T64" y="T65"/>
                    </a:cxn>
                    <a:cxn ang="T129">
                      <a:pos x="T66" y="T67"/>
                    </a:cxn>
                    <a:cxn ang="T130">
                      <a:pos x="T68" y="T69"/>
                    </a:cxn>
                    <a:cxn ang="T131">
                      <a:pos x="T70" y="T71"/>
                    </a:cxn>
                    <a:cxn ang="T132">
                      <a:pos x="T72" y="T73"/>
                    </a:cxn>
                    <a:cxn ang="T133">
                      <a:pos x="T74" y="T75"/>
                    </a:cxn>
                    <a:cxn ang="T134">
                      <a:pos x="T76" y="T77"/>
                    </a:cxn>
                    <a:cxn ang="T135">
                      <a:pos x="T78" y="T79"/>
                    </a:cxn>
                    <a:cxn ang="T136">
                      <a:pos x="T80" y="T81"/>
                    </a:cxn>
                    <a:cxn ang="T137">
                      <a:pos x="T82" y="T83"/>
                    </a:cxn>
                    <a:cxn ang="T138">
                      <a:pos x="T84" y="T85"/>
                    </a:cxn>
                    <a:cxn ang="T139">
                      <a:pos x="T86" y="T87"/>
                    </a:cxn>
                    <a:cxn ang="T140">
                      <a:pos x="T88" y="T89"/>
                    </a:cxn>
                    <a:cxn ang="T141">
                      <a:pos x="T90" y="T91"/>
                    </a:cxn>
                    <a:cxn ang="T142">
                      <a:pos x="T92" y="T93"/>
                    </a:cxn>
                    <a:cxn ang="T143">
                      <a:pos x="T94" y="T95"/>
                    </a:cxn>
                  </a:cxnLst>
                  <a:rect l="T144" t="T145" r="T146" b="T147"/>
                  <a:pathLst>
                    <a:path w="106" h="150">
                      <a:moveTo>
                        <a:pt x="92" y="20"/>
                      </a:moveTo>
                      <a:lnTo>
                        <a:pt x="92" y="20"/>
                      </a:lnTo>
                      <a:lnTo>
                        <a:pt x="98" y="34"/>
                      </a:lnTo>
                      <a:lnTo>
                        <a:pt x="104" y="46"/>
                      </a:lnTo>
                      <a:lnTo>
                        <a:pt x="106" y="56"/>
                      </a:lnTo>
                      <a:lnTo>
                        <a:pt x="106" y="74"/>
                      </a:lnTo>
                      <a:lnTo>
                        <a:pt x="102" y="96"/>
                      </a:lnTo>
                      <a:lnTo>
                        <a:pt x="100" y="110"/>
                      </a:lnTo>
                      <a:lnTo>
                        <a:pt x="96" y="120"/>
                      </a:lnTo>
                      <a:lnTo>
                        <a:pt x="80" y="146"/>
                      </a:lnTo>
                      <a:lnTo>
                        <a:pt x="76" y="148"/>
                      </a:lnTo>
                      <a:lnTo>
                        <a:pt x="70" y="150"/>
                      </a:lnTo>
                      <a:lnTo>
                        <a:pt x="64" y="150"/>
                      </a:lnTo>
                      <a:lnTo>
                        <a:pt x="54" y="148"/>
                      </a:lnTo>
                      <a:lnTo>
                        <a:pt x="42" y="144"/>
                      </a:lnTo>
                      <a:lnTo>
                        <a:pt x="26" y="136"/>
                      </a:lnTo>
                      <a:lnTo>
                        <a:pt x="16" y="132"/>
                      </a:lnTo>
                      <a:lnTo>
                        <a:pt x="8" y="126"/>
                      </a:lnTo>
                      <a:lnTo>
                        <a:pt x="4" y="122"/>
                      </a:lnTo>
                      <a:lnTo>
                        <a:pt x="2" y="118"/>
                      </a:lnTo>
                      <a:lnTo>
                        <a:pt x="0" y="104"/>
                      </a:lnTo>
                      <a:lnTo>
                        <a:pt x="0" y="98"/>
                      </a:lnTo>
                      <a:lnTo>
                        <a:pt x="4" y="82"/>
                      </a:lnTo>
                      <a:lnTo>
                        <a:pt x="6" y="66"/>
                      </a:lnTo>
                      <a:lnTo>
                        <a:pt x="8" y="50"/>
                      </a:lnTo>
                      <a:lnTo>
                        <a:pt x="8" y="42"/>
                      </a:lnTo>
                      <a:lnTo>
                        <a:pt x="10" y="34"/>
                      </a:lnTo>
                      <a:lnTo>
                        <a:pt x="16" y="26"/>
                      </a:lnTo>
                      <a:lnTo>
                        <a:pt x="20" y="18"/>
                      </a:lnTo>
                      <a:lnTo>
                        <a:pt x="26" y="12"/>
                      </a:lnTo>
                      <a:lnTo>
                        <a:pt x="34" y="6"/>
                      </a:lnTo>
                      <a:lnTo>
                        <a:pt x="40" y="2"/>
                      </a:lnTo>
                      <a:lnTo>
                        <a:pt x="48" y="0"/>
                      </a:lnTo>
                      <a:lnTo>
                        <a:pt x="62" y="2"/>
                      </a:lnTo>
                      <a:lnTo>
                        <a:pt x="74" y="6"/>
                      </a:lnTo>
                      <a:lnTo>
                        <a:pt x="84" y="12"/>
                      </a:lnTo>
                      <a:lnTo>
                        <a:pt x="92" y="20"/>
                      </a:lnTo>
                      <a:close/>
                    </a:path>
                  </a:pathLst>
                </a:custGeom>
                <a:solidFill>
                  <a:schemeClr val="tx1">
                    <a:lumMod val="50000"/>
                  </a:schemeClr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>
                    <a:latin typeface="+mn-lt"/>
                    <a:cs typeface="+mn-cs"/>
                  </a:endParaRPr>
                </a:p>
              </p:txBody>
            </p:sp>
            <p:sp>
              <p:nvSpPr>
                <p:cNvPr id="155" name="Freeform 142"/>
                <p:cNvSpPr>
                  <a:spLocks/>
                </p:cNvSpPr>
                <p:nvPr/>
              </p:nvSpPr>
              <p:spPr bwMode="auto">
                <a:xfrm>
                  <a:off x="3904722" y="4738030"/>
                  <a:ext cx="207394" cy="148900"/>
                </a:xfrm>
                <a:custGeom>
                  <a:avLst/>
                  <a:gdLst>
                    <a:gd name="T0" fmla="*/ 126007831 w 124"/>
                    <a:gd name="T1" fmla="*/ 40322498 h 88"/>
                    <a:gd name="T2" fmla="*/ 211693172 w 124"/>
                    <a:gd name="T3" fmla="*/ 5040312 h 88"/>
                    <a:gd name="T4" fmla="*/ 246975351 w 124"/>
                    <a:gd name="T5" fmla="*/ 0 h 88"/>
                    <a:gd name="T6" fmla="*/ 267136596 w 124"/>
                    <a:gd name="T7" fmla="*/ 10080625 h 88"/>
                    <a:gd name="T8" fmla="*/ 267136596 w 124"/>
                    <a:gd name="T9" fmla="*/ 15120938 h 88"/>
                    <a:gd name="T10" fmla="*/ 191531877 w 124"/>
                    <a:gd name="T11" fmla="*/ 50403120 h 88"/>
                    <a:gd name="T12" fmla="*/ 166330321 w 124"/>
                    <a:gd name="T13" fmla="*/ 65524065 h 88"/>
                    <a:gd name="T14" fmla="*/ 216733483 w 124"/>
                    <a:gd name="T15" fmla="*/ 65524065 h 88"/>
                    <a:gd name="T16" fmla="*/ 302418775 w 124"/>
                    <a:gd name="T17" fmla="*/ 75604686 h 88"/>
                    <a:gd name="T18" fmla="*/ 307459086 w 124"/>
                    <a:gd name="T19" fmla="*/ 80644997 h 88"/>
                    <a:gd name="T20" fmla="*/ 312499397 w 124"/>
                    <a:gd name="T21" fmla="*/ 90725618 h 88"/>
                    <a:gd name="T22" fmla="*/ 302418775 w 124"/>
                    <a:gd name="T23" fmla="*/ 95765929 h 88"/>
                    <a:gd name="T24" fmla="*/ 262096285 w 124"/>
                    <a:gd name="T25" fmla="*/ 100806240 h 88"/>
                    <a:gd name="T26" fmla="*/ 176410944 w 124"/>
                    <a:gd name="T27" fmla="*/ 110886886 h 88"/>
                    <a:gd name="T28" fmla="*/ 241935040 w 124"/>
                    <a:gd name="T29" fmla="*/ 110886886 h 88"/>
                    <a:gd name="T30" fmla="*/ 277217218 w 124"/>
                    <a:gd name="T31" fmla="*/ 110886886 h 88"/>
                    <a:gd name="T32" fmla="*/ 297378464 w 124"/>
                    <a:gd name="T33" fmla="*/ 120967508 h 88"/>
                    <a:gd name="T34" fmla="*/ 297378464 w 124"/>
                    <a:gd name="T35" fmla="*/ 126007818 h 88"/>
                    <a:gd name="T36" fmla="*/ 287297841 w 124"/>
                    <a:gd name="T37" fmla="*/ 141128751 h 88"/>
                    <a:gd name="T38" fmla="*/ 277217218 w 124"/>
                    <a:gd name="T39" fmla="*/ 141128751 h 88"/>
                    <a:gd name="T40" fmla="*/ 146169076 w 124"/>
                    <a:gd name="T41" fmla="*/ 156249683 h 88"/>
                    <a:gd name="T42" fmla="*/ 191531877 w 124"/>
                    <a:gd name="T43" fmla="*/ 166330304 h 88"/>
                    <a:gd name="T44" fmla="*/ 221773795 w 124"/>
                    <a:gd name="T45" fmla="*/ 161289994 h 88"/>
                    <a:gd name="T46" fmla="*/ 236894728 w 124"/>
                    <a:gd name="T47" fmla="*/ 161289994 h 88"/>
                    <a:gd name="T48" fmla="*/ 246975351 w 124"/>
                    <a:gd name="T49" fmla="*/ 171370615 h 88"/>
                    <a:gd name="T50" fmla="*/ 241935040 w 124"/>
                    <a:gd name="T51" fmla="*/ 181451237 h 88"/>
                    <a:gd name="T52" fmla="*/ 216733483 w 124"/>
                    <a:gd name="T53" fmla="*/ 186491547 h 88"/>
                    <a:gd name="T54" fmla="*/ 136088454 w 124"/>
                    <a:gd name="T55" fmla="*/ 191531858 h 88"/>
                    <a:gd name="T56" fmla="*/ 100806250 w 124"/>
                    <a:gd name="T57" fmla="*/ 201612480 h 88"/>
                    <a:gd name="T58" fmla="*/ 65524071 w 124"/>
                    <a:gd name="T59" fmla="*/ 216733462 h 88"/>
                    <a:gd name="T60" fmla="*/ 0 w 124"/>
                    <a:gd name="T61" fmla="*/ 221773772 h 88"/>
                    <a:gd name="T62" fmla="*/ 30241880 w 124"/>
                    <a:gd name="T63" fmla="*/ 171370615 h 88"/>
                    <a:gd name="T64" fmla="*/ 60483760 w 124"/>
                    <a:gd name="T65" fmla="*/ 105846575 h 88"/>
                    <a:gd name="T66" fmla="*/ 65524071 w 124"/>
                    <a:gd name="T67" fmla="*/ 80644997 h 88"/>
                    <a:gd name="T68" fmla="*/ 100806250 w 124"/>
                    <a:gd name="T69" fmla="*/ 50403120 h 88"/>
                    <a:gd name="T70" fmla="*/ 126007831 w 124"/>
                    <a:gd name="T71" fmla="*/ 40322498 h 88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w 124"/>
                    <a:gd name="T109" fmla="*/ 0 h 88"/>
                    <a:gd name="T110" fmla="*/ 124 w 124"/>
                    <a:gd name="T111" fmla="*/ 88 h 88"/>
                  </a:gdLst>
                  <a:ahLst/>
                  <a:cxnLst>
                    <a:cxn ang="T72">
                      <a:pos x="T0" y="T1"/>
                    </a:cxn>
                    <a:cxn ang="T73">
                      <a:pos x="T2" y="T3"/>
                    </a:cxn>
                    <a:cxn ang="T74">
                      <a:pos x="T4" y="T5"/>
                    </a:cxn>
                    <a:cxn ang="T75">
                      <a:pos x="T6" y="T7"/>
                    </a:cxn>
                    <a:cxn ang="T76">
                      <a:pos x="T8" y="T9"/>
                    </a:cxn>
                    <a:cxn ang="T77">
                      <a:pos x="T10" y="T11"/>
                    </a:cxn>
                    <a:cxn ang="T78">
                      <a:pos x="T12" y="T13"/>
                    </a:cxn>
                    <a:cxn ang="T79">
                      <a:pos x="T14" y="T15"/>
                    </a:cxn>
                    <a:cxn ang="T80">
                      <a:pos x="T16" y="T17"/>
                    </a:cxn>
                    <a:cxn ang="T81">
                      <a:pos x="T18" y="T19"/>
                    </a:cxn>
                    <a:cxn ang="T82">
                      <a:pos x="T20" y="T21"/>
                    </a:cxn>
                    <a:cxn ang="T83">
                      <a:pos x="T22" y="T23"/>
                    </a:cxn>
                    <a:cxn ang="T84">
                      <a:pos x="T24" y="T25"/>
                    </a:cxn>
                    <a:cxn ang="T85">
                      <a:pos x="T26" y="T27"/>
                    </a:cxn>
                    <a:cxn ang="T86">
                      <a:pos x="T28" y="T29"/>
                    </a:cxn>
                    <a:cxn ang="T87">
                      <a:pos x="T30" y="T31"/>
                    </a:cxn>
                    <a:cxn ang="T88">
                      <a:pos x="T32" y="T33"/>
                    </a:cxn>
                    <a:cxn ang="T89">
                      <a:pos x="T34" y="T35"/>
                    </a:cxn>
                    <a:cxn ang="T90">
                      <a:pos x="T36" y="T37"/>
                    </a:cxn>
                    <a:cxn ang="T91">
                      <a:pos x="T38" y="T39"/>
                    </a:cxn>
                    <a:cxn ang="T92">
                      <a:pos x="T40" y="T41"/>
                    </a:cxn>
                    <a:cxn ang="T93">
                      <a:pos x="T42" y="T43"/>
                    </a:cxn>
                    <a:cxn ang="T94">
                      <a:pos x="T44" y="T45"/>
                    </a:cxn>
                    <a:cxn ang="T95">
                      <a:pos x="T46" y="T47"/>
                    </a:cxn>
                    <a:cxn ang="T96">
                      <a:pos x="T48" y="T49"/>
                    </a:cxn>
                    <a:cxn ang="T97">
                      <a:pos x="T50" y="T51"/>
                    </a:cxn>
                    <a:cxn ang="T98">
                      <a:pos x="T52" y="T53"/>
                    </a:cxn>
                    <a:cxn ang="T99">
                      <a:pos x="T54" y="T55"/>
                    </a:cxn>
                    <a:cxn ang="T100">
                      <a:pos x="T56" y="T57"/>
                    </a:cxn>
                    <a:cxn ang="T101">
                      <a:pos x="T58" y="T59"/>
                    </a:cxn>
                    <a:cxn ang="T102">
                      <a:pos x="T60" y="T61"/>
                    </a:cxn>
                    <a:cxn ang="T103">
                      <a:pos x="T62" y="T63"/>
                    </a:cxn>
                    <a:cxn ang="T104">
                      <a:pos x="T64" y="T65"/>
                    </a:cxn>
                    <a:cxn ang="T105">
                      <a:pos x="T66" y="T67"/>
                    </a:cxn>
                    <a:cxn ang="T106">
                      <a:pos x="T68" y="T69"/>
                    </a:cxn>
                    <a:cxn ang="T107">
                      <a:pos x="T70" y="T71"/>
                    </a:cxn>
                  </a:cxnLst>
                  <a:rect l="T108" t="T109" r="T110" b="T111"/>
                  <a:pathLst>
                    <a:path w="124" h="88">
                      <a:moveTo>
                        <a:pt x="50" y="16"/>
                      </a:moveTo>
                      <a:lnTo>
                        <a:pt x="50" y="16"/>
                      </a:lnTo>
                      <a:lnTo>
                        <a:pt x="72" y="6"/>
                      </a:lnTo>
                      <a:lnTo>
                        <a:pt x="84" y="2"/>
                      </a:lnTo>
                      <a:lnTo>
                        <a:pt x="98" y="0"/>
                      </a:lnTo>
                      <a:lnTo>
                        <a:pt x="104" y="2"/>
                      </a:lnTo>
                      <a:lnTo>
                        <a:pt x="106" y="4"/>
                      </a:lnTo>
                      <a:lnTo>
                        <a:pt x="106" y="6"/>
                      </a:lnTo>
                      <a:lnTo>
                        <a:pt x="98" y="10"/>
                      </a:lnTo>
                      <a:lnTo>
                        <a:pt x="76" y="20"/>
                      </a:lnTo>
                      <a:lnTo>
                        <a:pt x="66" y="26"/>
                      </a:lnTo>
                      <a:lnTo>
                        <a:pt x="86" y="26"/>
                      </a:lnTo>
                      <a:lnTo>
                        <a:pt x="104" y="28"/>
                      </a:lnTo>
                      <a:lnTo>
                        <a:pt x="120" y="30"/>
                      </a:lnTo>
                      <a:lnTo>
                        <a:pt x="122" y="32"/>
                      </a:lnTo>
                      <a:lnTo>
                        <a:pt x="124" y="34"/>
                      </a:lnTo>
                      <a:lnTo>
                        <a:pt x="124" y="36"/>
                      </a:lnTo>
                      <a:lnTo>
                        <a:pt x="120" y="38"/>
                      </a:lnTo>
                      <a:lnTo>
                        <a:pt x="112" y="40"/>
                      </a:lnTo>
                      <a:lnTo>
                        <a:pt x="104" y="40"/>
                      </a:lnTo>
                      <a:lnTo>
                        <a:pt x="92" y="40"/>
                      </a:lnTo>
                      <a:lnTo>
                        <a:pt x="70" y="44"/>
                      </a:lnTo>
                      <a:lnTo>
                        <a:pt x="96" y="44"/>
                      </a:lnTo>
                      <a:lnTo>
                        <a:pt x="110" y="44"/>
                      </a:lnTo>
                      <a:lnTo>
                        <a:pt x="114" y="46"/>
                      </a:lnTo>
                      <a:lnTo>
                        <a:pt x="118" y="48"/>
                      </a:lnTo>
                      <a:lnTo>
                        <a:pt x="118" y="50"/>
                      </a:lnTo>
                      <a:lnTo>
                        <a:pt x="116" y="54"/>
                      </a:lnTo>
                      <a:lnTo>
                        <a:pt x="114" y="56"/>
                      </a:lnTo>
                      <a:lnTo>
                        <a:pt x="110" y="56"/>
                      </a:lnTo>
                      <a:lnTo>
                        <a:pt x="62" y="60"/>
                      </a:lnTo>
                      <a:lnTo>
                        <a:pt x="58" y="62"/>
                      </a:lnTo>
                      <a:lnTo>
                        <a:pt x="76" y="66"/>
                      </a:lnTo>
                      <a:lnTo>
                        <a:pt x="88" y="64"/>
                      </a:lnTo>
                      <a:lnTo>
                        <a:pt x="94" y="64"/>
                      </a:lnTo>
                      <a:lnTo>
                        <a:pt x="96" y="66"/>
                      </a:lnTo>
                      <a:lnTo>
                        <a:pt x="98" y="68"/>
                      </a:lnTo>
                      <a:lnTo>
                        <a:pt x="96" y="72"/>
                      </a:lnTo>
                      <a:lnTo>
                        <a:pt x="92" y="74"/>
                      </a:lnTo>
                      <a:lnTo>
                        <a:pt x="86" y="74"/>
                      </a:lnTo>
                      <a:lnTo>
                        <a:pt x="54" y="76"/>
                      </a:lnTo>
                      <a:lnTo>
                        <a:pt x="40" y="80"/>
                      </a:lnTo>
                      <a:lnTo>
                        <a:pt x="26" y="86"/>
                      </a:lnTo>
                      <a:lnTo>
                        <a:pt x="14" y="88"/>
                      </a:lnTo>
                      <a:lnTo>
                        <a:pt x="0" y="88"/>
                      </a:lnTo>
                      <a:lnTo>
                        <a:pt x="12" y="68"/>
                      </a:lnTo>
                      <a:lnTo>
                        <a:pt x="22" y="50"/>
                      </a:lnTo>
                      <a:lnTo>
                        <a:pt x="24" y="42"/>
                      </a:lnTo>
                      <a:lnTo>
                        <a:pt x="26" y="32"/>
                      </a:lnTo>
                      <a:lnTo>
                        <a:pt x="32" y="26"/>
                      </a:lnTo>
                      <a:lnTo>
                        <a:pt x="40" y="20"/>
                      </a:lnTo>
                      <a:lnTo>
                        <a:pt x="50" y="16"/>
                      </a:lnTo>
                      <a:close/>
                    </a:path>
                  </a:pathLst>
                </a:custGeom>
                <a:solidFill>
                  <a:schemeClr val="tx1">
                    <a:lumMod val="50000"/>
                  </a:schemeClr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>
                    <a:latin typeface="+mn-lt"/>
                    <a:cs typeface="+mn-cs"/>
                  </a:endParaRPr>
                </a:p>
              </p:txBody>
            </p:sp>
            <p:sp>
              <p:nvSpPr>
                <p:cNvPr id="156" name="Freeform 143"/>
                <p:cNvSpPr>
                  <a:spLocks noEditPoints="1"/>
                </p:cNvSpPr>
                <p:nvPr/>
              </p:nvSpPr>
              <p:spPr bwMode="auto">
                <a:xfrm>
                  <a:off x="3878135" y="5381491"/>
                  <a:ext cx="558362" cy="686001"/>
                </a:xfrm>
                <a:custGeom>
                  <a:avLst/>
                  <a:gdLst>
                    <a:gd name="T0" fmla="*/ 186491543 w 330"/>
                    <a:gd name="T1" fmla="*/ 866933887 h 408"/>
                    <a:gd name="T2" fmla="*/ 151209369 w 330"/>
                    <a:gd name="T3" fmla="*/ 730845292 h 408"/>
                    <a:gd name="T4" fmla="*/ 146169058 w 330"/>
                    <a:gd name="T5" fmla="*/ 720764670 h 408"/>
                    <a:gd name="T6" fmla="*/ 141128747 w 330"/>
                    <a:gd name="T7" fmla="*/ 690522804 h 408"/>
                    <a:gd name="T8" fmla="*/ 141128747 w 330"/>
                    <a:gd name="T9" fmla="*/ 589716584 h 408"/>
                    <a:gd name="T10" fmla="*/ 141128747 w 330"/>
                    <a:gd name="T11" fmla="*/ 554434408 h 408"/>
                    <a:gd name="T12" fmla="*/ 50403119 w 330"/>
                    <a:gd name="T13" fmla="*/ 55443446 h 408"/>
                    <a:gd name="T14" fmla="*/ 35282187 w 330"/>
                    <a:gd name="T15" fmla="*/ 80645001 h 408"/>
                    <a:gd name="T16" fmla="*/ 10080624 w 330"/>
                    <a:gd name="T17" fmla="*/ 156249690 h 408"/>
                    <a:gd name="T18" fmla="*/ 0 w 330"/>
                    <a:gd name="T19" fmla="*/ 282257515 h 408"/>
                    <a:gd name="T20" fmla="*/ 10080624 w 330"/>
                    <a:gd name="T21" fmla="*/ 403224979 h 408"/>
                    <a:gd name="T22" fmla="*/ 25201559 w 330"/>
                    <a:gd name="T23" fmla="*/ 493950676 h 408"/>
                    <a:gd name="T24" fmla="*/ 35282187 w 330"/>
                    <a:gd name="T25" fmla="*/ 599797206 h 408"/>
                    <a:gd name="T26" fmla="*/ 30241876 w 330"/>
                    <a:gd name="T27" fmla="*/ 670361560 h 408"/>
                    <a:gd name="T28" fmla="*/ 30241876 w 330"/>
                    <a:gd name="T29" fmla="*/ 665321249 h 408"/>
                    <a:gd name="T30" fmla="*/ 10080624 w 330"/>
                    <a:gd name="T31" fmla="*/ 801409646 h 408"/>
                    <a:gd name="T32" fmla="*/ 30241876 w 330"/>
                    <a:gd name="T33" fmla="*/ 806449957 h 408"/>
                    <a:gd name="T34" fmla="*/ 30241876 w 330"/>
                    <a:gd name="T35" fmla="*/ 801409646 h 408"/>
                    <a:gd name="T36" fmla="*/ 40322497 w 330"/>
                    <a:gd name="T37" fmla="*/ 846772644 h 408"/>
                    <a:gd name="T38" fmla="*/ 40322497 w 330"/>
                    <a:gd name="T39" fmla="*/ 907256375 h 408"/>
                    <a:gd name="T40" fmla="*/ 60483752 w 330"/>
                    <a:gd name="T41" fmla="*/ 972780418 h 408"/>
                    <a:gd name="T42" fmla="*/ 70564374 w 330"/>
                    <a:gd name="T43" fmla="*/ 992941662 h 408"/>
                    <a:gd name="T44" fmla="*/ 105846573 w 330"/>
                    <a:gd name="T45" fmla="*/ 1018143217 h 408"/>
                    <a:gd name="T46" fmla="*/ 146169058 w 330"/>
                    <a:gd name="T47" fmla="*/ 1028223839 h 408"/>
                    <a:gd name="T48" fmla="*/ 216733457 w 330"/>
                    <a:gd name="T49" fmla="*/ 1018143217 h 408"/>
                    <a:gd name="T50" fmla="*/ 236894699 w 330"/>
                    <a:gd name="T51" fmla="*/ 982861040 h 408"/>
                    <a:gd name="T52" fmla="*/ 236894699 w 330"/>
                    <a:gd name="T53" fmla="*/ 967740107 h 408"/>
                    <a:gd name="T54" fmla="*/ 216733457 w 330"/>
                    <a:gd name="T55" fmla="*/ 922377308 h 408"/>
                    <a:gd name="T56" fmla="*/ 821570832 w 330"/>
                    <a:gd name="T57" fmla="*/ 675401871 h 408"/>
                    <a:gd name="T58" fmla="*/ 816530521 w 330"/>
                    <a:gd name="T59" fmla="*/ 670361560 h 408"/>
                    <a:gd name="T60" fmla="*/ 801409589 w 330"/>
                    <a:gd name="T61" fmla="*/ 660280938 h 408"/>
                    <a:gd name="T62" fmla="*/ 751006483 w 330"/>
                    <a:gd name="T63" fmla="*/ 619958450 h 408"/>
                    <a:gd name="T64" fmla="*/ 735885551 w 330"/>
                    <a:gd name="T65" fmla="*/ 599797206 h 408"/>
                    <a:gd name="T66" fmla="*/ 715724309 w 330"/>
                    <a:gd name="T67" fmla="*/ 579635963 h 408"/>
                    <a:gd name="T68" fmla="*/ 690522756 w 330"/>
                    <a:gd name="T69" fmla="*/ 544353786 h 408"/>
                    <a:gd name="T70" fmla="*/ 675401824 w 330"/>
                    <a:gd name="T71" fmla="*/ 509071609 h 408"/>
                    <a:gd name="T72" fmla="*/ 660280892 w 330"/>
                    <a:gd name="T73" fmla="*/ 463708810 h 408"/>
                    <a:gd name="T74" fmla="*/ 478829709 w 330"/>
                    <a:gd name="T75" fmla="*/ 65524068 h 408"/>
                    <a:gd name="T76" fmla="*/ 483870019 w 330"/>
                    <a:gd name="T77" fmla="*/ 105846580 h 408"/>
                    <a:gd name="T78" fmla="*/ 483870019 w 330"/>
                    <a:gd name="T79" fmla="*/ 166330312 h 408"/>
                    <a:gd name="T80" fmla="*/ 504031262 w 330"/>
                    <a:gd name="T81" fmla="*/ 282257515 h 408"/>
                    <a:gd name="T82" fmla="*/ 534273126 w 330"/>
                    <a:gd name="T83" fmla="*/ 398184668 h 408"/>
                    <a:gd name="T84" fmla="*/ 534273126 w 330"/>
                    <a:gd name="T85" fmla="*/ 448587877 h 408"/>
                    <a:gd name="T86" fmla="*/ 529232815 w 330"/>
                    <a:gd name="T87" fmla="*/ 468749121 h 408"/>
                    <a:gd name="T88" fmla="*/ 509071573 w 330"/>
                    <a:gd name="T89" fmla="*/ 524192542 h 408"/>
                    <a:gd name="T90" fmla="*/ 509071573 w 330"/>
                    <a:gd name="T91" fmla="*/ 574595652 h 408"/>
                    <a:gd name="T92" fmla="*/ 514111883 w 330"/>
                    <a:gd name="T93" fmla="*/ 584676274 h 408"/>
                    <a:gd name="T94" fmla="*/ 524192505 w 330"/>
                    <a:gd name="T95" fmla="*/ 614918139 h 408"/>
                    <a:gd name="T96" fmla="*/ 534273126 w 330"/>
                    <a:gd name="T97" fmla="*/ 695563115 h 408"/>
                    <a:gd name="T98" fmla="*/ 559474679 w 330"/>
                    <a:gd name="T99" fmla="*/ 690522804 h 408"/>
                    <a:gd name="T100" fmla="*/ 564514990 w 330"/>
                    <a:gd name="T101" fmla="*/ 599797206 h 408"/>
                    <a:gd name="T102" fmla="*/ 594756853 w 330"/>
                    <a:gd name="T103" fmla="*/ 614918139 h 408"/>
                    <a:gd name="T104" fmla="*/ 614918096 w 330"/>
                    <a:gd name="T105" fmla="*/ 645160005 h 408"/>
                    <a:gd name="T106" fmla="*/ 619958407 w 330"/>
                    <a:gd name="T107" fmla="*/ 655240627 h 408"/>
                    <a:gd name="T108" fmla="*/ 650200270 w 330"/>
                    <a:gd name="T109" fmla="*/ 720764670 h 408"/>
                    <a:gd name="T110" fmla="*/ 660280892 w 330"/>
                    <a:gd name="T111" fmla="*/ 740925914 h 408"/>
                    <a:gd name="T112" fmla="*/ 690522756 w 330"/>
                    <a:gd name="T113" fmla="*/ 756046847 h 408"/>
                    <a:gd name="T114" fmla="*/ 811490211 w 330"/>
                    <a:gd name="T115" fmla="*/ 766127469 h 408"/>
                    <a:gd name="T116" fmla="*/ 816530521 w 330"/>
                    <a:gd name="T117" fmla="*/ 756046847 h 408"/>
                    <a:gd name="T118" fmla="*/ 826611143 w 330"/>
                    <a:gd name="T119" fmla="*/ 725804981 h 408"/>
                    <a:gd name="T120" fmla="*/ 831651453 w 330"/>
                    <a:gd name="T121" fmla="*/ 715724359 h 408"/>
                    <a:gd name="T122" fmla="*/ 821570832 w 330"/>
                    <a:gd name="T123" fmla="*/ 675401871 h 408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60000 65536"/>
                    <a:gd name="T184" fmla="*/ 0 60000 65536"/>
                    <a:gd name="T185" fmla="*/ 0 60000 65536"/>
                    <a:gd name="T186" fmla="*/ 0 w 330"/>
                    <a:gd name="T187" fmla="*/ 0 h 408"/>
                    <a:gd name="T188" fmla="*/ 330 w 330"/>
                    <a:gd name="T189" fmla="*/ 408 h 408"/>
                  </a:gdLst>
                  <a:ahLst/>
                  <a:cxnLst>
                    <a:cxn ang="T124">
                      <a:pos x="T0" y="T1"/>
                    </a:cxn>
                    <a:cxn ang="T125">
                      <a:pos x="T2" y="T3"/>
                    </a:cxn>
                    <a:cxn ang="T126">
                      <a:pos x="T4" y="T5"/>
                    </a:cxn>
                    <a:cxn ang="T127">
                      <a:pos x="T6" y="T7"/>
                    </a:cxn>
                    <a:cxn ang="T128">
                      <a:pos x="T8" y="T9"/>
                    </a:cxn>
                    <a:cxn ang="T129">
                      <a:pos x="T10" y="T11"/>
                    </a:cxn>
                    <a:cxn ang="T130">
                      <a:pos x="T12" y="T13"/>
                    </a:cxn>
                    <a:cxn ang="T131">
                      <a:pos x="T14" y="T15"/>
                    </a:cxn>
                    <a:cxn ang="T132">
                      <a:pos x="T16" y="T17"/>
                    </a:cxn>
                    <a:cxn ang="T133">
                      <a:pos x="T18" y="T19"/>
                    </a:cxn>
                    <a:cxn ang="T134">
                      <a:pos x="T20" y="T21"/>
                    </a:cxn>
                    <a:cxn ang="T135">
                      <a:pos x="T22" y="T23"/>
                    </a:cxn>
                    <a:cxn ang="T136">
                      <a:pos x="T24" y="T25"/>
                    </a:cxn>
                    <a:cxn ang="T137">
                      <a:pos x="T26" y="T27"/>
                    </a:cxn>
                    <a:cxn ang="T138">
                      <a:pos x="T28" y="T29"/>
                    </a:cxn>
                    <a:cxn ang="T139">
                      <a:pos x="T30" y="T31"/>
                    </a:cxn>
                    <a:cxn ang="T140">
                      <a:pos x="T32" y="T33"/>
                    </a:cxn>
                    <a:cxn ang="T141">
                      <a:pos x="T34" y="T35"/>
                    </a:cxn>
                    <a:cxn ang="T142">
                      <a:pos x="T36" y="T37"/>
                    </a:cxn>
                    <a:cxn ang="T143">
                      <a:pos x="T38" y="T39"/>
                    </a:cxn>
                    <a:cxn ang="T144">
                      <a:pos x="T40" y="T41"/>
                    </a:cxn>
                    <a:cxn ang="T145">
                      <a:pos x="T42" y="T43"/>
                    </a:cxn>
                    <a:cxn ang="T146">
                      <a:pos x="T44" y="T45"/>
                    </a:cxn>
                    <a:cxn ang="T147">
                      <a:pos x="T46" y="T47"/>
                    </a:cxn>
                    <a:cxn ang="T148">
                      <a:pos x="T48" y="T49"/>
                    </a:cxn>
                    <a:cxn ang="T149">
                      <a:pos x="T50" y="T51"/>
                    </a:cxn>
                    <a:cxn ang="T150">
                      <a:pos x="T52" y="T53"/>
                    </a:cxn>
                    <a:cxn ang="T151">
                      <a:pos x="T54" y="T55"/>
                    </a:cxn>
                    <a:cxn ang="T152">
                      <a:pos x="T56" y="T57"/>
                    </a:cxn>
                    <a:cxn ang="T153">
                      <a:pos x="T58" y="T59"/>
                    </a:cxn>
                    <a:cxn ang="T154">
                      <a:pos x="T60" y="T61"/>
                    </a:cxn>
                    <a:cxn ang="T155">
                      <a:pos x="T62" y="T63"/>
                    </a:cxn>
                    <a:cxn ang="T156">
                      <a:pos x="T64" y="T65"/>
                    </a:cxn>
                    <a:cxn ang="T157">
                      <a:pos x="T66" y="T67"/>
                    </a:cxn>
                    <a:cxn ang="T158">
                      <a:pos x="T68" y="T69"/>
                    </a:cxn>
                    <a:cxn ang="T159">
                      <a:pos x="T70" y="T71"/>
                    </a:cxn>
                    <a:cxn ang="T160">
                      <a:pos x="T72" y="T73"/>
                    </a:cxn>
                    <a:cxn ang="T161">
                      <a:pos x="T74" y="T75"/>
                    </a:cxn>
                    <a:cxn ang="T162">
                      <a:pos x="T76" y="T77"/>
                    </a:cxn>
                    <a:cxn ang="T163">
                      <a:pos x="T78" y="T79"/>
                    </a:cxn>
                    <a:cxn ang="T164">
                      <a:pos x="T80" y="T81"/>
                    </a:cxn>
                    <a:cxn ang="T165">
                      <a:pos x="T82" y="T83"/>
                    </a:cxn>
                    <a:cxn ang="T166">
                      <a:pos x="T84" y="T85"/>
                    </a:cxn>
                    <a:cxn ang="T167">
                      <a:pos x="T86" y="T87"/>
                    </a:cxn>
                    <a:cxn ang="T168">
                      <a:pos x="T88" y="T89"/>
                    </a:cxn>
                    <a:cxn ang="T169">
                      <a:pos x="T90" y="T91"/>
                    </a:cxn>
                    <a:cxn ang="T170">
                      <a:pos x="T92" y="T93"/>
                    </a:cxn>
                    <a:cxn ang="T171">
                      <a:pos x="T94" y="T95"/>
                    </a:cxn>
                    <a:cxn ang="T172">
                      <a:pos x="T96" y="T97"/>
                    </a:cxn>
                    <a:cxn ang="T173">
                      <a:pos x="T98" y="T99"/>
                    </a:cxn>
                    <a:cxn ang="T174">
                      <a:pos x="T100" y="T101"/>
                    </a:cxn>
                    <a:cxn ang="T175">
                      <a:pos x="T102" y="T103"/>
                    </a:cxn>
                    <a:cxn ang="T176">
                      <a:pos x="T104" y="T105"/>
                    </a:cxn>
                    <a:cxn ang="T177">
                      <a:pos x="T106" y="T107"/>
                    </a:cxn>
                    <a:cxn ang="T178">
                      <a:pos x="T108" y="T109"/>
                    </a:cxn>
                    <a:cxn ang="T179">
                      <a:pos x="T110" y="T111"/>
                    </a:cxn>
                    <a:cxn ang="T180">
                      <a:pos x="T112" y="T113"/>
                    </a:cxn>
                    <a:cxn ang="T181">
                      <a:pos x="T114" y="T115"/>
                    </a:cxn>
                    <a:cxn ang="T182">
                      <a:pos x="T116" y="T117"/>
                    </a:cxn>
                    <a:cxn ang="T183">
                      <a:pos x="T118" y="T119"/>
                    </a:cxn>
                    <a:cxn ang="T184">
                      <a:pos x="T120" y="T121"/>
                    </a:cxn>
                    <a:cxn ang="T185">
                      <a:pos x="T122" y="T123"/>
                    </a:cxn>
                  </a:cxnLst>
                  <a:rect l="T186" t="T187" r="T188" b="T189"/>
                  <a:pathLst>
                    <a:path w="330" h="408">
                      <a:moveTo>
                        <a:pt x="74" y="344"/>
                      </a:moveTo>
                      <a:lnTo>
                        <a:pt x="74" y="344"/>
                      </a:lnTo>
                      <a:lnTo>
                        <a:pt x="60" y="290"/>
                      </a:lnTo>
                      <a:lnTo>
                        <a:pt x="58" y="286"/>
                      </a:lnTo>
                      <a:lnTo>
                        <a:pt x="56" y="274"/>
                      </a:lnTo>
                      <a:lnTo>
                        <a:pt x="56" y="254"/>
                      </a:lnTo>
                      <a:lnTo>
                        <a:pt x="56" y="234"/>
                      </a:lnTo>
                      <a:lnTo>
                        <a:pt x="56" y="220"/>
                      </a:lnTo>
                      <a:lnTo>
                        <a:pt x="92" y="44"/>
                      </a:lnTo>
                      <a:lnTo>
                        <a:pt x="20" y="22"/>
                      </a:lnTo>
                      <a:lnTo>
                        <a:pt x="14" y="32"/>
                      </a:lnTo>
                      <a:lnTo>
                        <a:pt x="10" y="40"/>
                      </a:lnTo>
                      <a:lnTo>
                        <a:pt x="4" y="62"/>
                      </a:lnTo>
                      <a:lnTo>
                        <a:pt x="2" y="88"/>
                      </a:lnTo>
                      <a:lnTo>
                        <a:pt x="0" y="112"/>
                      </a:lnTo>
                      <a:lnTo>
                        <a:pt x="2" y="138"/>
                      </a:lnTo>
                      <a:lnTo>
                        <a:pt x="4" y="160"/>
                      </a:lnTo>
                      <a:lnTo>
                        <a:pt x="10" y="196"/>
                      </a:lnTo>
                      <a:lnTo>
                        <a:pt x="14" y="218"/>
                      </a:lnTo>
                      <a:lnTo>
                        <a:pt x="14" y="238"/>
                      </a:lnTo>
                      <a:lnTo>
                        <a:pt x="14" y="254"/>
                      </a:lnTo>
                      <a:lnTo>
                        <a:pt x="12" y="266"/>
                      </a:lnTo>
                      <a:lnTo>
                        <a:pt x="12" y="264"/>
                      </a:lnTo>
                      <a:lnTo>
                        <a:pt x="6" y="292"/>
                      </a:lnTo>
                      <a:lnTo>
                        <a:pt x="4" y="318"/>
                      </a:lnTo>
                      <a:lnTo>
                        <a:pt x="8" y="322"/>
                      </a:lnTo>
                      <a:lnTo>
                        <a:pt x="12" y="320"/>
                      </a:lnTo>
                      <a:lnTo>
                        <a:pt x="12" y="318"/>
                      </a:lnTo>
                      <a:lnTo>
                        <a:pt x="16" y="336"/>
                      </a:lnTo>
                      <a:lnTo>
                        <a:pt x="16" y="360"/>
                      </a:lnTo>
                      <a:lnTo>
                        <a:pt x="18" y="370"/>
                      </a:lnTo>
                      <a:lnTo>
                        <a:pt x="24" y="386"/>
                      </a:lnTo>
                      <a:lnTo>
                        <a:pt x="28" y="394"/>
                      </a:lnTo>
                      <a:lnTo>
                        <a:pt x="42" y="404"/>
                      </a:lnTo>
                      <a:lnTo>
                        <a:pt x="50" y="406"/>
                      </a:lnTo>
                      <a:lnTo>
                        <a:pt x="58" y="408"/>
                      </a:lnTo>
                      <a:lnTo>
                        <a:pt x="74" y="406"/>
                      </a:lnTo>
                      <a:lnTo>
                        <a:pt x="86" y="404"/>
                      </a:lnTo>
                      <a:lnTo>
                        <a:pt x="92" y="402"/>
                      </a:lnTo>
                      <a:lnTo>
                        <a:pt x="94" y="390"/>
                      </a:lnTo>
                      <a:lnTo>
                        <a:pt x="94" y="384"/>
                      </a:lnTo>
                      <a:lnTo>
                        <a:pt x="92" y="376"/>
                      </a:lnTo>
                      <a:lnTo>
                        <a:pt x="86" y="366"/>
                      </a:lnTo>
                      <a:lnTo>
                        <a:pt x="74" y="344"/>
                      </a:lnTo>
                      <a:close/>
                      <a:moveTo>
                        <a:pt x="326" y="268"/>
                      </a:moveTo>
                      <a:lnTo>
                        <a:pt x="326" y="268"/>
                      </a:lnTo>
                      <a:lnTo>
                        <a:pt x="324" y="266"/>
                      </a:lnTo>
                      <a:lnTo>
                        <a:pt x="318" y="262"/>
                      </a:lnTo>
                      <a:lnTo>
                        <a:pt x="310" y="254"/>
                      </a:lnTo>
                      <a:lnTo>
                        <a:pt x="298" y="246"/>
                      </a:lnTo>
                      <a:lnTo>
                        <a:pt x="292" y="238"/>
                      </a:lnTo>
                      <a:lnTo>
                        <a:pt x="284" y="230"/>
                      </a:lnTo>
                      <a:lnTo>
                        <a:pt x="280" y="224"/>
                      </a:lnTo>
                      <a:lnTo>
                        <a:pt x="274" y="216"/>
                      </a:lnTo>
                      <a:lnTo>
                        <a:pt x="268" y="202"/>
                      </a:lnTo>
                      <a:lnTo>
                        <a:pt x="262" y="184"/>
                      </a:lnTo>
                      <a:lnTo>
                        <a:pt x="260" y="0"/>
                      </a:lnTo>
                      <a:lnTo>
                        <a:pt x="190" y="26"/>
                      </a:lnTo>
                      <a:lnTo>
                        <a:pt x="192" y="42"/>
                      </a:lnTo>
                      <a:lnTo>
                        <a:pt x="192" y="66"/>
                      </a:lnTo>
                      <a:lnTo>
                        <a:pt x="194" y="82"/>
                      </a:lnTo>
                      <a:lnTo>
                        <a:pt x="200" y="112"/>
                      </a:lnTo>
                      <a:lnTo>
                        <a:pt x="212" y="158"/>
                      </a:lnTo>
                      <a:lnTo>
                        <a:pt x="212" y="178"/>
                      </a:lnTo>
                      <a:lnTo>
                        <a:pt x="210" y="186"/>
                      </a:lnTo>
                      <a:lnTo>
                        <a:pt x="206" y="194"/>
                      </a:lnTo>
                      <a:lnTo>
                        <a:pt x="202" y="208"/>
                      </a:lnTo>
                      <a:lnTo>
                        <a:pt x="200" y="222"/>
                      </a:lnTo>
                      <a:lnTo>
                        <a:pt x="202" y="228"/>
                      </a:lnTo>
                      <a:lnTo>
                        <a:pt x="204" y="232"/>
                      </a:lnTo>
                      <a:lnTo>
                        <a:pt x="206" y="238"/>
                      </a:lnTo>
                      <a:lnTo>
                        <a:pt x="208" y="244"/>
                      </a:lnTo>
                      <a:lnTo>
                        <a:pt x="210" y="258"/>
                      </a:lnTo>
                      <a:lnTo>
                        <a:pt x="212" y="276"/>
                      </a:lnTo>
                      <a:lnTo>
                        <a:pt x="218" y="278"/>
                      </a:lnTo>
                      <a:lnTo>
                        <a:pt x="222" y="274"/>
                      </a:lnTo>
                      <a:lnTo>
                        <a:pt x="218" y="232"/>
                      </a:lnTo>
                      <a:lnTo>
                        <a:pt x="224" y="238"/>
                      </a:lnTo>
                      <a:lnTo>
                        <a:pt x="236" y="244"/>
                      </a:lnTo>
                      <a:lnTo>
                        <a:pt x="242" y="250"/>
                      </a:lnTo>
                      <a:lnTo>
                        <a:pt x="244" y="256"/>
                      </a:lnTo>
                      <a:lnTo>
                        <a:pt x="246" y="260"/>
                      </a:lnTo>
                      <a:lnTo>
                        <a:pt x="252" y="276"/>
                      </a:lnTo>
                      <a:lnTo>
                        <a:pt x="258" y="286"/>
                      </a:lnTo>
                      <a:lnTo>
                        <a:pt x="262" y="294"/>
                      </a:lnTo>
                      <a:lnTo>
                        <a:pt x="266" y="298"/>
                      </a:lnTo>
                      <a:lnTo>
                        <a:pt x="274" y="300"/>
                      </a:lnTo>
                      <a:lnTo>
                        <a:pt x="294" y="302"/>
                      </a:lnTo>
                      <a:lnTo>
                        <a:pt x="322" y="304"/>
                      </a:lnTo>
                      <a:lnTo>
                        <a:pt x="324" y="300"/>
                      </a:lnTo>
                      <a:lnTo>
                        <a:pt x="326" y="296"/>
                      </a:lnTo>
                      <a:lnTo>
                        <a:pt x="328" y="288"/>
                      </a:lnTo>
                      <a:lnTo>
                        <a:pt x="330" y="284"/>
                      </a:lnTo>
                      <a:lnTo>
                        <a:pt x="328" y="276"/>
                      </a:lnTo>
                      <a:lnTo>
                        <a:pt x="326" y="268"/>
                      </a:lnTo>
                      <a:close/>
                    </a:path>
                  </a:pathLst>
                </a:custGeom>
                <a:solidFill>
                  <a:schemeClr val="tx1">
                    <a:lumMod val="50000"/>
                  </a:schemeClr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>
                    <a:latin typeface="+mn-lt"/>
                    <a:cs typeface="+mn-cs"/>
                  </a:endParaRPr>
                </a:p>
              </p:txBody>
            </p:sp>
            <p:sp>
              <p:nvSpPr>
                <p:cNvPr id="157" name="Freeform 144"/>
                <p:cNvSpPr>
                  <a:spLocks/>
                </p:cNvSpPr>
                <p:nvPr/>
              </p:nvSpPr>
              <p:spPr bwMode="auto">
                <a:xfrm>
                  <a:off x="3612248" y="4174338"/>
                  <a:ext cx="335016" cy="723227"/>
                </a:xfrm>
                <a:custGeom>
                  <a:avLst/>
                  <a:gdLst>
                    <a:gd name="T0" fmla="*/ 418346010 w 202"/>
                    <a:gd name="T1" fmla="*/ 463708816 h 426"/>
                    <a:gd name="T2" fmla="*/ 352821868 w 202"/>
                    <a:gd name="T3" fmla="*/ 529232859 h 426"/>
                    <a:gd name="T4" fmla="*/ 327620313 w 202"/>
                    <a:gd name="T5" fmla="*/ 569555348 h 426"/>
                    <a:gd name="T6" fmla="*/ 297378447 w 202"/>
                    <a:gd name="T7" fmla="*/ 609877836 h 426"/>
                    <a:gd name="T8" fmla="*/ 231854404 w 202"/>
                    <a:gd name="T9" fmla="*/ 650200325 h 426"/>
                    <a:gd name="T10" fmla="*/ 221773782 w 202"/>
                    <a:gd name="T11" fmla="*/ 650200325 h 426"/>
                    <a:gd name="T12" fmla="*/ 216733471 w 202"/>
                    <a:gd name="T13" fmla="*/ 670361569 h 426"/>
                    <a:gd name="T14" fmla="*/ 226814093 w 202"/>
                    <a:gd name="T15" fmla="*/ 675401880 h 426"/>
                    <a:gd name="T16" fmla="*/ 236894715 w 202"/>
                    <a:gd name="T17" fmla="*/ 685482502 h 426"/>
                    <a:gd name="T18" fmla="*/ 246975337 w 202"/>
                    <a:gd name="T19" fmla="*/ 710684057 h 426"/>
                    <a:gd name="T20" fmla="*/ 292338136 w 202"/>
                    <a:gd name="T21" fmla="*/ 771167790 h 426"/>
                    <a:gd name="T22" fmla="*/ 357862179 w 202"/>
                    <a:gd name="T23" fmla="*/ 846772654 h 426"/>
                    <a:gd name="T24" fmla="*/ 418346010 w 202"/>
                    <a:gd name="T25" fmla="*/ 877014521 h 426"/>
                    <a:gd name="T26" fmla="*/ 493950674 w 202"/>
                    <a:gd name="T27" fmla="*/ 907256387 h 426"/>
                    <a:gd name="T28" fmla="*/ 498990985 w 202"/>
                    <a:gd name="T29" fmla="*/ 912296698 h 426"/>
                    <a:gd name="T30" fmla="*/ 483870052 w 202"/>
                    <a:gd name="T31" fmla="*/ 982861053 h 426"/>
                    <a:gd name="T32" fmla="*/ 453628186 w 202"/>
                    <a:gd name="T33" fmla="*/ 1038304474 h 426"/>
                    <a:gd name="T34" fmla="*/ 413305599 w 202"/>
                    <a:gd name="T35" fmla="*/ 1073586652 h 426"/>
                    <a:gd name="T36" fmla="*/ 120967513 w 202"/>
                    <a:gd name="T37" fmla="*/ 841732343 h 426"/>
                    <a:gd name="T38" fmla="*/ 85685311 w 202"/>
                    <a:gd name="T39" fmla="*/ 811490278 h 426"/>
                    <a:gd name="T40" fmla="*/ 50403122 w 202"/>
                    <a:gd name="T41" fmla="*/ 771167790 h 426"/>
                    <a:gd name="T42" fmla="*/ 15120939 w 202"/>
                    <a:gd name="T43" fmla="*/ 710684057 h 426"/>
                    <a:gd name="T44" fmla="*/ 10080625 w 202"/>
                    <a:gd name="T45" fmla="*/ 700603435 h 426"/>
                    <a:gd name="T46" fmla="*/ 0 w 202"/>
                    <a:gd name="T47" fmla="*/ 660280947 h 426"/>
                    <a:gd name="T48" fmla="*/ 10080625 w 202"/>
                    <a:gd name="T49" fmla="*/ 635079391 h 426"/>
                    <a:gd name="T50" fmla="*/ 206652800 w 202"/>
                    <a:gd name="T51" fmla="*/ 312499385 h 426"/>
                    <a:gd name="T52" fmla="*/ 262096270 w 202"/>
                    <a:gd name="T53" fmla="*/ 156249692 h 426"/>
                    <a:gd name="T54" fmla="*/ 297378447 w 202"/>
                    <a:gd name="T55" fmla="*/ 90725624 h 426"/>
                    <a:gd name="T56" fmla="*/ 312499380 w 202"/>
                    <a:gd name="T57" fmla="*/ 70564380 h 426"/>
                    <a:gd name="T58" fmla="*/ 337700935 w 202"/>
                    <a:gd name="T59" fmla="*/ 55443446 h 426"/>
                    <a:gd name="T60" fmla="*/ 362902490 w 202"/>
                    <a:gd name="T61" fmla="*/ 50403123 h 426"/>
                    <a:gd name="T62" fmla="*/ 509071607 w 202"/>
                    <a:gd name="T63" fmla="*/ 0 h 426"/>
                    <a:gd name="T64" fmla="*/ 483870052 w 202"/>
                    <a:gd name="T65" fmla="*/ 196572181 h 426"/>
                    <a:gd name="T66" fmla="*/ 458668497 w 202"/>
                    <a:gd name="T67" fmla="*/ 347781562 h 426"/>
                    <a:gd name="T68" fmla="*/ 418346010 w 202"/>
                    <a:gd name="T69" fmla="*/ 463708816 h 42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w 202"/>
                    <a:gd name="T106" fmla="*/ 0 h 426"/>
                    <a:gd name="T107" fmla="*/ 202 w 202"/>
                    <a:gd name="T108" fmla="*/ 426 h 426"/>
                  </a:gdLst>
                  <a:ahLst/>
                  <a:cxnLst>
                    <a:cxn ang="T70">
                      <a:pos x="T0" y="T1"/>
                    </a:cxn>
                    <a:cxn ang="T71">
                      <a:pos x="T2" y="T3"/>
                    </a:cxn>
                    <a:cxn ang="T72">
                      <a:pos x="T4" y="T5"/>
                    </a:cxn>
                    <a:cxn ang="T73">
                      <a:pos x="T6" y="T7"/>
                    </a:cxn>
                    <a:cxn ang="T74">
                      <a:pos x="T8" y="T9"/>
                    </a:cxn>
                    <a:cxn ang="T75">
                      <a:pos x="T10" y="T11"/>
                    </a:cxn>
                    <a:cxn ang="T76">
                      <a:pos x="T12" y="T13"/>
                    </a:cxn>
                    <a:cxn ang="T77">
                      <a:pos x="T14" y="T15"/>
                    </a:cxn>
                    <a:cxn ang="T78">
                      <a:pos x="T16" y="T17"/>
                    </a:cxn>
                    <a:cxn ang="T79">
                      <a:pos x="T18" y="T19"/>
                    </a:cxn>
                    <a:cxn ang="T80">
                      <a:pos x="T20" y="T21"/>
                    </a:cxn>
                    <a:cxn ang="T81">
                      <a:pos x="T22" y="T23"/>
                    </a:cxn>
                    <a:cxn ang="T82">
                      <a:pos x="T24" y="T25"/>
                    </a:cxn>
                    <a:cxn ang="T83">
                      <a:pos x="T26" y="T27"/>
                    </a:cxn>
                    <a:cxn ang="T84">
                      <a:pos x="T28" y="T29"/>
                    </a:cxn>
                    <a:cxn ang="T85">
                      <a:pos x="T30" y="T31"/>
                    </a:cxn>
                    <a:cxn ang="T86">
                      <a:pos x="T32" y="T33"/>
                    </a:cxn>
                    <a:cxn ang="T87">
                      <a:pos x="T34" y="T35"/>
                    </a:cxn>
                    <a:cxn ang="T88">
                      <a:pos x="T36" y="T37"/>
                    </a:cxn>
                    <a:cxn ang="T89">
                      <a:pos x="T38" y="T39"/>
                    </a:cxn>
                    <a:cxn ang="T90">
                      <a:pos x="T40" y="T41"/>
                    </a:cxn>
                    <a:cxn ang="T91">
                      <a:pos x="T42" y="T43"/>
                    </a:cxn>
                    <a:cxn ang="T92">
                      <a:pos x="T44" y="T45"/>
                    </a:cxn>
                    <a:cxn ang="T93">
                      <a:pos x="T46" y="T47"/>
                    </a:cxn>
                    <a:cxn ang="T94">
                      <a:pos x="T48" y="T49"/>
                    </a:cxn>
                    <a:cxn ang="T95">
                      <a:pos x="T50" y="T51"/>
                    </a:cxn>
                    <a:cxn ang="T96">
                      <a:pos x="T52" y="T53"/>
                    </a:cxn>
                    <a:cxn ang="T97">
                      <a:pos x="T54" y="T55"/>
                    </a:cxn>
                    <a:cxn ang="T98">
                      <a:pos x="T56" y="T57"/>
                    </a:cxn>
                    <a:cxn ang="T99">
                      <a:pos x="T58" y="T59"/>
                    </a:cxn>
                    <a:cxn ang="T100">
                      <a:pos x="T60" y="T61"/>
                    </a:cxn>
                    <a:cxn ang="T101">
                      <a:pos x="T62" y="T63"/>
                    </a:cxn>
                    <a:cxn ang="T102">
                      <a:pos x="T64" y="T65"/>
                    </a:cxn>
                    <a:cxn ang="T103">
                      <a:pos x="T66" y="T67"/>
                    </a:cxn>
                    <a:cxn ang="T104">
                      <a:pos x="T68" y="T69"/>
                    </a:cxn>
                  </a:cxnLst>
                  <a:rect l="T105" t="T106" r="T107" b="T108"/>
                  <a:pathLst>
                    <a:path w="202" h="426">
                      <a:moveTo>
                        <a:pt x="166" y="184"/>
                      </a:moveTo>
                      <a:lnTo>
                        <a:pt x="166" y="184"/>
                      </a:lnTo>
                      <a:lnTo>
                        <a:pt x="152" y="196"/>
                      </a:lnTo>
                      <a:lnTo>
                        <a:pt x="140" y="210"/>
                      </a:lnTo>
                      <a:lnTo>
                        <a:pt x="130" y="226"/>
                      </a:lnTo>
                      <a:lnTo>
                        <a:pt x="124" y="236"/>
                      </a:lnTo>
                      <a:lnTo>
                        <a:pt x="118" y="242"/>
                      </a:lnTo>
                      <a:lnTo>
                        <a:pt x="104" y="252"/>
                      </a:lnTo>
                      <a:lnTo>
                        <a:pt x="92" y="258"/>
                      </a:lnTo>
                      <a:lnTo>
                        <a:pt x="88" y="258"/>
                      </a:lnTo>
                      <a:lnTo>
                        <a:pt x="86" y="262"/>
                      </a:lnTo>
                      <a:lnTo>
                        <a:pt x="86" y="266"/>
                      </a:lnTo>
                      <a:lnTo>
                        <a:pt x="90" y="268"/>
                      </a:lnTo>
                      <a:lnTo>
                        <a:pt x="92" y="270"/>
                      </a:lnTo>
                      <a:lnTo>
                        <a:pt x="94" y="272"/>
                      </a:lnTo>
                      <a:lnTo>
                        <a:pt x="98" y="282"/>
                      </a:lnTo>
                      <a:lnTo>
                        <a:pt x="104" y="292"/>
                      </a:lnTo>
                      <a:lnTo>
                        <a:pt x="116" y="306"/>
                      </a:lnTo>
                      <a:lnTo>
                        <a:pt x="134" y="324"/>
                      </a:lnTo>
                      <a:lnTo>
                        <a:pt x="142" y="336"/>
                      </a:lnTo>
                      <a:lnTo>
                        <a:pt x="166" y="348"/>
                      </a:lnTo>
                      <a:lnTo>
                        <a:pt x="184" y="356"/>
                      </a:lnTo>
                      <a:lnTo>
                        <a:pt x="196" y="360"/>
                      </a:lnTo>
                      <a:lnTo>
                        <a:pt x="198" y="362"/>
                      </a:lnTo>
                      <a:lnTo>
                        <a:pt x="198" y="370"/>
                      </a:lnTo>
                      <a:lnTo>
                        <a:pt x="192" y="390"/>
                      </a:lnTo>
                      <a:lnTo>
                        <a:pt x="186" y="400"/>
                      </a:lnTo>
                      <a:lnTo>
                        <a:pt x="180" y="412"/>
                      </a:lnTo>
                      <a:lnTo>
                        <a:pt x="172" y="420"/>
                      </a:lnTo>
                      <a:lnTo>
                        <a:pt x="164" y="426"/>
                      </a:lnTo>
                      <a:lnTo>
                        <a:pt x="48" y="334"/>
                      </a:lnTo>
                      <a:lnTo>
                        <a:pt x="34" y="322"/>
                      </a:lnTo>
                      <a:lnTo>
                        <a:pt x="26" y="314"/>
                      </a:lnTo>
                      <a:lnTo>
                        <a:pt x="20" y="306"/>
                      </a:lnTo>
                      <a:lnTo>
                        <a:pt x="6" y="282"/>
                      </a:lnTo>
                      <a:lnTo>
                        <a:pt x="4" y="278"/>
                      </a:lnTo>
                      <a:lnTo>
                        <a:pt x="0" y="270"/>
                      </a:lnTo>
                      <a:lnTo>
                        <a:pt x="0" y="262"/>
                      </a:lnTo>
                      <a:lnTo>
                        <a:pt x="0" y="258"/>
                      </a:lnTo>
                      <a:lnTo>
                        <a:pt x="4" y="252"/>
                      </a:lnTo>
                      <a:lnTo>
                        <a:pt x="82" y="124"/>
                      </a:lnTo>
                      <a:lnTo>
                        <a:pt x="104" y="62"/>
                      </a:lnTo>
                      <a:lnTo>
                        <a:pt x="112" y="48"/>
                      </a:lnTo>
                      <a:lnTo>
                        <a:pt x="118" y="36"/>
                      </a:lnTo>
                      <a:lnTo>
                        <a:pt x="124" y="28"/>
                      </a:lnTo>
                      <a:lnTo>
                        <a:pt x="130" y="24"/>
                      </a:lnTo>
                      <a:lnTo>
                        <a:pt x="134" y="22"/>
                      </a:lnTo>
                      <a:lnTo>
                        <a:pt x="144" y="20"/>
                      </a:lnTo>
                      <a:lnTo>
                        <a:pt x="202" y="0"/>
                      </a:lnTo>
                      <a:lnTo>
                        <a:pt x="200" y="24"/>
                      </a:lnTo>
                      <a:lnTo>
                        <a:pt x="192" y="78"/>
                      </a:lnTo>
                      <a:lnTo>
                        <a:pt x="188" y="108"/>
                      </a:lnTo>
                      <a:lnTo>
                        <a:pt x="182" y="138"/>
                      </a:lnTo>
                      <a:lnTo>
                        <a:pt x="174" y="164"/>
                      </a:lnTo>
                      <a:lnTo>
                        <a:pt x="166" y="184"/>
                      </a:lnTo>
                      <a:close/>
                    </a:path>
                  </a:pathLst>
                </a:custGeom>
                <a:solidFill>
                  <a:schemeClr val="tx1">
                    <a:lumMod val="50000"/>
                  </a:schemeClr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>
                    <a:latin typeface="+mn-lt"/>
                    <a:cs typeface="+mn-cs"/>
                  </a:endParaRPr>
                </a:p>
              </p:txBody>
            </p:sp>
          </p:grpSp>
          <p:sp>
            <p:nvSpPr>
              <p:cNvPr id="150" name="Freeform 138"/>
              <p:cNvSpPr>
                <a:spLocks/>
              </p:cNvSpPr>
              <p:nvPr/>
            </p:nvSpPr>
            <p:spPr bwMode="auto">
              <a:xfrm>
                <a:off x="3544225" y="4214357"/>
                <a:ext cx="202273" cy="330410"/>
              </a:xfrm>
              <a:custGeom>
                <a:avLst/>
                <a:gdLst>
                  <a:gd name="T0" fmla="*/ 2147483647 w 120"/>
                  <a:gd name="T1" fmla="*/ 2147483647 h 196"/>
                  <a:gd name="T2" fmla="*/ 2147483647 w 120"/>
                  <a:gd name="T3" fmla="*/ 2147483647 h 196"/>
                  <a:gd name="T4" fmla="*/ 2147483647 w 120"/>
                  <a:gd name="T5" fmla="*/ 2147483647 h 196"/>
                  <a:gd name="T6" fmla="*/ 2147483647 w 120"/>
                  <a:gd name="T7" fmla="*/ 2147483647 h 196"/>
                  <a:gd name="T8" fmla="*/ 2147483647 w 120"/>
                  <a:gd name="T9" fmla="*/ 2147483647 h 196"/>
                  <a:gd name="T10" fmla="*/ 2147483647 w 120"/>
                  <a:gd name="T11" fmla="*/ 2147483647 h 196"/>
                  <a:gd name="T12" fmla="*/ 2147483647 w 120"/>
                  <a:gd name="T13" fmla="*/ 2147483647 h 196"/>
                  <a:gd name="T14" fmla="*/ 2147483647 w 120"/>
                  <a:gd name="T15" fmla="*/ 2147483647 h 196"/>
                  <a:gd name="T16" fmla="*/ 2147483647 w 120"/>
                  <a:gd name="T17" fmla="*/ 2147483647 h 196"/>
                  <a:gd name="T18" fmla="*/ 2147483647 w 120"/>
                  <a:gd name="T19" fmla="*/ 2147483647 h 196"/>
                  <a:gd name="T20" fmla="*/ 2147483647 w 120"/>
                  <a:gd name="T21" fmla="*/ 2147483647 h 196"/>
                  <a:gd name="T22" fmla="*/ 2147483647 w 120"/>
                  <a:gd name="T23" fmla="*/ 2147483647 h 196"/>
                  <a:gd name="T24" fmla="*/ 2147483647 w 120"/>
                  <a:gd name="T25" fmla="*/ 2147483647 h 196"/>
                  <a:gd name="T26" fmla="*/ 2147483647 w 120"/>
                  <a:gd name="T27" fmla="*/ 2147483647 h 196"/>
                  <a:gd name="T28" fmla="*/ 2147483647 w 120"/>
                  <a:gd name="T29" fmla="*/ 2147483647 h 196"/>
                  <a:gd name="T30" fmla="*/ 2147483647 w 120"/>
                  <a:gd name="T31" fmla="*/ 2147483647 h 196"/>
                  <a:gd name="T32" fmla="*/ 2147483647 w 120"/>
                  <a:gd name="T33" fmla="*/ 2147483647 h 196"/>
                  <a:gd name="T34" fmla="*/ 2147483647 w 120"/>
                  <a:gd name="T35" fmla="*/ 2147483647 h 196"/>
                  <a:gd name="T36" fmla="*/ 2147483647 w 120"/>
                  <a:gd name="T37" fmla="*/ 2147483647 h 196"/>
                  <a:gd name="T38" fmla="*/ 2147483647 w 120"/>
                  <a:gd name="T39" fmla="*/ 2147483647 h 196"/>
                  <a:gd name="T40" fmla="*/ 0 w 120"/>
                  <a:gd name="T41" fmla="*/ 2147483647 h 196"/>
                  <a:gd name="T42" fmla="*/ 2147483647 w 120"/>
                  <a:gd name="T43" fmla="*/ 2147483647 h 196"/>
                  <a:gd name="T44" fmla="*/ 2147483647 w 120"/>
                  <a:gd name="T45" fmla="*/ 2147483647 h 196"/>
                  <a:gd name="T46" fmla="*/ 2147483647 w 120"/>
                  <a:gd name="T47" fmla="*/ 2147483647 h 196"/>
                  <a:gd name="T48" fmla="*/ 2147483647 w 120"/>
                  <a:gd name="T49" fmla="*/ 0 h 196"/>
                  <a:gd name="T50" fmla="*/ 2147483647 w 120"/>
                  <a:gd name="T51" fmla="*/ 0 h 196"/>
                  <a:gd name="T52" fmla="*/ 2147483647 w 120"/>
                  <a:gd name="T53" fmla="*/ 2147483647 h 196"/>
                  <a:gd name="T54" fmla="*/ 2147483647 w 120"/>
                  <a:gd name="T55" fmla="*/ 2147483647 h 19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w 120"/>
                  <a:gd name="T85" fmla="*/ 0 h 196"/>
                  <a:gd name="T86" fmla="*/ 120 w 120"/>
                  <a:gd name="T87" fmla="*/ 196 h 196"/>
                </a:gdLst>
                <a:ahLst/>
                <a:cxnLst>
                  <a:cxn ang="T56">
                    <a:pos x="T0" y="T1"/>
                  </a:cxn>
                  <a:cxn ang="T57">
                    <a:pos x="T2" y="T3"/>
                  </a:cxn>
                  <a:cxn ang="T58">
                    <a:pos x="T4" y="T5"/>
                  </a:cxn>
                  <a:cxn ang="T59">
                    <a:pos x="T6" y="T7"/>
                  </a:cxn>
                  <a:cxn ang="T60">
                    <a:pos x="T8" y="T9"/>
                  </a:cxn>
                  <a:cxn ang="T61">
                    <a:pos x="T10" y="T11"/>
                  </a:cxn>
                  <a:cxn ang="T62">
                    <a:pos x="T12" y="T13"/>
                  </a:cxn>
                  <a:cxn ang="T63">
                    <a:pos x="T14" y="T15"/>
                  </a:cxn>
                  <a:cxn ang="T64">
                    <a:pos x="T16" y="T17"/>
                  </a:cxn>
                  <a:cxn ang="T65">
                    <a:pos x="T18" y="T19"/>
                  </a:cxn>
                  <a:cxn ang="T66">
                    <a:pos x="T20" y="T21"/>
                  </a:cxn>
                  <a:cxn ang="T67">
                    <a:pos x="T22" y="T23"/>
                  </a:cxn>
                  <a:cxn ang="T68">
                    <a:pos x="T24" y="T25"/>
                  </a:cxn>
                  <a:cxn ang="T69">
                    <a:pos x="T26" y="T27"/>
                  </a:cxn>
                  <a:cxn ang="T70">
                    <a:pos x="T28" y="T29"/>
                  </a:cxn>
                  <a:cxn ang="T71">
                    <a:pos x="T30" y="T31"/>
                  </a:cxn>
                  <a:cxn ang="T72">
                    <a:pos x="T32" y="T33"/>
                  </a:cxn>
                  <a:cxn ang="T73">
                    <a:pos x="T34" y="T35"/>
                  </a:cxn>
                  <a:cxn ang="T74">
                    <a:pos x="T36" y="T37"/>
                  </a:cxn>
                  <a:cxn ang="T75">
                    <a:pos x="T38" y="T39"/>
                  </a:cxn>
                  <a:cxn ang="T76">
                    <a:pos x="T40" y="T41"/>
                  </a:cxn>
                  <a:cxn ang="T77">
                    <a:pos x="T42" y="T43"/>
                  </a:cxn>
                  <a:cxn ang="T78">
                    <a:pos x="T44" y="T45"/>
                  </a:cxn>
                  <a:cxn ang="T79">
                    <a:pos x="T46" y="T47"/>
                  </a:cxn>
                  <a:cxn ang="T80">
                    <a:pos x="T48" y="T49"/>
                  </a:cxn>
                  <a:cxn ang="T81">
                    <a:pos x="T50" y="T51"/>
                  </a:cxn>
                  <a:cxn ang="T82">
                    <a:pos x="T52" y="T53"/>
                  </a:cxn>
                  <a:cxn ang="T83">
                    <a:pos x="T54" y="T55"/>
                  </a:cxn>
                </a:cxnLst>
                <a:rect l="T84" t="T85" r="T86" b="T87"/>
                <a:pathLst>
                  <a:path w="120" h="196">
                    <a:moveTo>
                      <a:pt x="82" y="2"/>
                    </a:moveTo>
                    <a:lnTo>
                      <a:pt x="82" y="2"/>
                    </a:lnTo>
                    <a:lnTo>
                      <a:pt x="96" y="24"/>
                    </a:lnTo>
                    <a:lnTo>
                      <a:pt x="98" y="34"/>
                    </a:lnTo>
                    <a:lnTo>
                      <a:pt x="102" y="46"/>
                    </a:lnTo>
                    <a:lnTo>
                      <a:pt x="106" y="70"/>
                    </a:lnTo>
                    <a:lnTo>
                      <a:pt x="114" y="120"/>
                    </a:lnTo>
                    <a:lnTo>
                      <a:pt x="118" y="170"/>
                    </a:lnTo>
                    <a:lnTo>
                      <a:pt x="120" y="188"/>
                    </a:lnTo>
                    <a:lnTo>
                      <a:pt x="118" y="196"/>
                    </a:lnTo>
                    <a:lnTo>
                      <a:pt x="106" y="174"/>
                    </a:lnTo>
                    <a:lnTo>
                      <a:pt x="76" y="120"/>
                    </a:lnTo>
                    <a:lnTo>
                      <a:pt x="58" y="90"/>
                    </a:lnTo>
                    <a:lnTo>
                      <a:pt x="38" y="62"/>
                    </a:lnTo>
                    <a:lnTo>
                      <a:pt x="22" y="40"/>
                    </a:lnTo>
                    <a:lnTo>
                      <a:pt x="14" y="32"/>
                    </a:lnTo>
                    <a:lnTo>
                      <a:pt x="8" y="26"/>
                    </a:lnTo>
                    <a:lnTo>
                      <a:pt x="0" y="22"/>
                    </a:lnTo>
                    <a:lnTo>
                      <a:pt x="2" y="12"/>
                    </a:lnTo>
                    <a:lnTo>
                      <a:pt x="36" y="4"/>
                    </a:lnTo>
                    <a:lnTo>
                      <a:pt x="64" y="0"/>
                    </a:lnTo>
                    <a:lnTo>
                      <a:pt x="74" y="0"/>
                    </a:lnTo>
                    <a:lnTo>
                      <a:pt x="82" y="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alibri" pitchFamily="-112" charset="0"/>
                </a:endParaRPr>
              </a:p>
            </p:txBody>
          </p:sp>
          <p:sp>
            <p:nvSpPr>
              <p:cNvPr id="151" name="Freeform 140"/>
              <p:cNvSpPr>
                <a:spLocks/>
              </p:cNvSpPr>
              <p:nvPr/>
            </p:nvSpPr>
            <p:spPr bwMode="auto">
              <a:xfrm>
                <a:off x="3575648" y="4138614"/>
                <a:ext cx="148897" cy="233985"/>
              </a:xfrm>
              <a:custGeom>
                <a:avLst/>
                <a:gdLst>
                  <a:gd name="T0" fmla="*/ 196572170 w 90"/>
                  <a:gd name="T1" fmla="*/ 120967497 h 140"/>
                  <a:gd name="T2" fmla="*/ 196572170 w 90"/>
                  <a:gd name="T3" fmla="*/ 120967497 h 140"/>
                  <a:gd name="T4" fmla="*/ 191531860 w 90"/>
                  <a:gd name="T5" fmla="*/ 136088428 h 140"/>
                  <a:gd name="T6" fmla="*/ 181451238 w 90"/>
                  <a:gd name="T7" fmla="*/ 171370600 h 140"/>
                  <a:gd name="T8" fmla="*/ 181451238 w 90"/>
                  <a:gd name="T9" fmla="*/ 196572151 h 140"/>
                  <a:gd name="T10" fmla="*/ 186491549 w 90"/>
                  <a:gd name="T11" fmla="*/ 211693132 h 140"/>
                  <a:gd name="T12" fmla="*/ 191531860 w 90"/>
                  <a:gd name="T13" fmla="*/ 226814063 h 140"/>
                  <a:gd name="T14" fmla="*/ 206652792 w 90"/>
                  <a:gd name="T15" fmla="*/ 236894683 h 140"/>
                  <a:gd name="T16" fmla="*/ 206652792 w 90"/>
                  <a:gd name="T17" fmla="*/ 236894683 h 140"/>
                  <a:gd name="T18" fmla="*/ 226814085 w 90"/>
                  <a:gd name="T19" fmla="*/ 241934994 h 140"/>
                  <a:gd name="T20" fmla="*/ 226814085 w 90"/>
                  <a:gd name="T21" fmla="*/ 241934994 h 140"/>
                  <a:gd name="T22" fmla="*/ 226814085 w 90"/>
                  <a:gd name="T23" fmla="*/ 257055925 h 140"/>
                  <a:gd name="T24" fmla="*/ 226814085 w 90"/>
                  <a:gd name="T25" fmla="*/ 272176856 h 140"/>
                  <a:gd name="T26" fmla="*/ 221773774 w 90"/>
                  <a:gd name="T27" fmla="*/ 282257476 h 140"/>
                  <a:gd name="T28" fmla="*/ 221773774 w 90"/>
                  <a:gd name="T29" fmla="*/ 282257476 h 140"/>
                  <a:gd name="T30" fmla="*/ 211693152 w 90"/>
                  <a:gd name="T31" fmla="*/ 297378407 h 140"/>
                  <a:gd name="T32" fmla="*/ 206652792 w 90"/>
                  <a:gd name="T33" fmla="*/ 322579959 h 140"/>
                  <a:gd name="T34" fmla="*/ 196572170 w 90"/>
                  <a:gd name="T35" fmla="*/ 352821820 h 140"/>
                  <a:gd name="T36" fmla="*/ 186491549 w 90"/>
                  <a:gd name="T37" fmla="*/ 347781510 h 140"/>
                  <a:gd name="T38" fmla="*/ 186491549 w 90"/>
                  <a:gd name="T39" fmla="*/ 347781510 h 140"/>
                  <a:gd name="T40" fmla="*/ 196572170 w 90"/>
                  <a:gd name="T41" fmla="*/ 337700889 h 140"/>
                  <a:gd name="T42" fmla="*/ 196572170 w 90"/>
                  <a:gd name="T43" fmla="*/ 322579959 h 140"/>
                  <a:gd name="T44" fmla="*/ 186491549 w 90"/>
                  <a:gd name="T45" fmla="*/ 307459028 h 140"/>
                  <a:gd name="T46" fmla="*/ 186491549 w 90"/>
                  <a:gd name="T47" fmla="*/ 307459028 h 140"/>
                  <a:gd name="T48" fmla="*/ 171370617 w 90"/>
                  <a:gd name="T49" fmla="*/ 297378407 h 140"/>
                  <a:gd name="T50" fmla="*/ 146169063 w 90"/>
                  <a:gd name="T51" fmla="*/ 282257476 h 140"/>
                  <a:gd name="T52" fmla="*/ 95765930 w 90"/>
                  <a:gd name="T53" fmla="*/ 257055925 h 140"/>
                  <a:gd name="T54" fmla="*/ 95765930 w 90"/>
                  <a:gd name="T55" fmla="*/ 257055925 h 140"/>
                  <a:gd name="T56" fmla="*/ 70564376 w 90"/>
                  <a:gd name="T57" fmla="*/ 241934994 h 140"/>
                  <a:gd name="T58" fmla="*/ 55443444 w 90"/>
                  <a:gd name="T59" fmla="*/ 226814063 h 140"/>
                  <a:gd name="T60" fmla="*/ 35282188 w 90"/>
                  <a:gd name="T61" fmla="*/ 206652772 h 140"/>
                  <a:gd name="T62" fmla="*/ 20161249 w 90"/>
                  <a:gd name="T63" fmla="*/ 191531841 h 140"/>
                  <a:gd name="T64" fmla="*/ 20161249 w 90"/>
                  <a:gd name="T65" fmla="*/ 191531841 h 140"/>
                  <a:gd name="T66" fmla="*/ 15120939 w 90"/>
                  <a:gd name="T67" fmla="*/ 120967497 h 140"/>
                  <a:gd name="T68" fmla="*/ 15120939 w 90"/>
                  <a:gd name="T69" fmla="*/ 120967497 h 140"/>
                  <a:gd name="T70" fmla="*/ 10080625 w 90"/>
                  <a:gd name="T71" fmla="*/ 70564369 h 140"/>
                  <a:gd name="T72" fmla="*/ 0 w 90"/>
                  <a:gd name="T73" fmla="*/ 35282185 h 140"/>
                  <a:gd name="T74" fmla="*/ 0 w 90"/>
                  <a:gd name="T75" fmla="*/ 35282185 h 140"/>
                  <a:gd name="T76" fmla="*/ 10080625 w 90"/>
                  <a:gd name="T77" fmla="*/ 25201558 h 140"/>
                  <a:gd name="T78" fmla="*/ 20161249 w 90"/>
                  <a:gd name="T79" fmla="*/ 5040312 h 140"/>
                  <a:gd name="T80" fmla="*/ 20161249 w 90"/>
                  <a:gd name="T81" fmla="*/ 5040312 h 140"/>
                  <a:gd name="T82" fmla="*/ 25201560 w 90"/>
                  <a:gd name="T83" fmla="*/ 0 h 140"/>
                  <a:gd name="T84" fmla="*/ 30241877 w 90"/>
                  <a:gd name="T85" fmla="*/ 5040312 h 140"/>
                  <a:gd name="T86" fmla="*/ 50403120 w 90"/>
                  <a:gd name="T87" fmla="*/ 15120937 h 140"/>
                  <a:gd name="T88" fmla="*/ 110886887 w 90"/>
                  <a:gd name="T89" fmla="*/ 55443438 h 140"/>
                  <a:gd name="T90" fmla="*/ 196572170 w 90"/>
                  <a:gd name="T91" fmla="*/ 120967497 h 140"/>
                  <a:gd name="T92" fmla="*/ 196572170 w 90"/>
                  <a:gd name="T93" fmla="*/ 120967497 h 140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w 90"/>
                  <a:gd name="T142" fmla="*/ 0 h 140"/>
                  <a:gd name="T143" fmla="*/ 90 w 90"/>
                  <a:gd name="T144" fmla="*/ 140 h 140"/>
                </a:gdLst>
                <a:ahLst/>
                <a:cxnLst>
                  <a:cxn ang="T94">
                    <a:pos x="T0" y="T1"/>
                  </a:cxn>
                  <a:cxn ang="T95">
                    <a:pos x="T2" y="T3"/>
                  </a:cxn>
                  <a:cxn ang="T96">
                    <a:pos x="T4" y="T5"/>
                  </a:cxn>
                  <a:cxn ang="T97">
                    <a:pos x="T6" y="T7"/>
                  </a:cxn>
                  <a:cxn ang="T98">
                    <a:pos x="T8" y="T9"/>
                  </a:cxn>
                  <a:cxn ang="T99">
                    <a:pos x="T10" y="T11"/>
                  </a:cxn>
                  <a:cxn ang="T100">
                    <a:pos x="T12" y="T13"/>
                  </a:cxn>
                  <a:cxn ang="T101">
                    <a:pos x="T14" y="T15"/>
                  </a:cxn>
                  <a:cxn ang="T102">
                    <a:pos x="T16" y="T17"/>
                  </a:cxn>
                  <a:cxn ang="T103">
                    <a:pos x="T18" y="T19"/>
                  </a:cxn>
                  <a:cxn ang="T104">
                    <a:pos x="T20" y="T21"/>
                  </a:cxn>
                  <a:cxn ang="T105">
                    <a:pos x="T22" y="T23"/>
                  </a:cxn>
                  <a:cxn ang="T106">
                    <a:pos x="T24" y="T25"/>
                  </a:cxn>
                  <a:cxn ang="T107">
                    <a:pos x="T26" y="T27"/>
                  </a:cxn>
                  <a:cxn ang="T108">
                    <a:pos x="T28" y="T29"/>
                  </a:cxn>
                  <a:cxn ang="T109">
                    <a:pos x="T30" y="T31"/>
                  </a:cxn>
                  <a:cxn ang="T110">
                    <a:pos x="T32" y="T33"/>
                  </a:cxn>
                  <a:cxn ang="T111">
                    <a:pos x="T34" y="T35"/>
                  </a:cxn>
                  <a:cxn ang="T112">
                    <a:pos x="T36" y="T37"/>
                  </a:cxn>
                  <a:cxn ang="T113">
                    <a:pos x="T38" y="T39"/>
                  </a:cxn>
                  <a:cxn ang="T114">
                    <a:pos x="T40" y="T41"/>
                  </a:cxn>
                  <a:cxn ang="T115">
                    <a:pos x="T42" y="T43"/>
                  </a:cxn>
                  <a:cxn ang="T116">
                    <a:pos x="T44" y="T45"/>
                  </a:cxn>
                  <a:cxn ang="T117">
                    <a:pos x="T46" y="T47"/>
                  </a:cxn>
                  <a:cxn ang="T118">
                    <a:pos x="T48" y="T49"/>
                  </a:cxn>
                  <a:cxn ang="T119">
                    <a:pos x="T50" y="T51"/>
                  </a:cxn>
                  <a:cxn ang="T120">
                    <a:pos x="T52" y="T53"/>
                  </a:cxn>
                  <a:cxn ang="T121">
                    <a:pos x="T54" y="T55"/>
                  </a:cxn>
                  <a:cxn ang="T122">
                    <a:pos x="T56" y="T57"/>
                  </a:cxn>
                  <a:cxn ang="T123">
                    <a:pos x="T58" y="T59"/>
                  </a:cxn>
                  <a:cxn ang="T124">
                    <a:pos x="T60" y="T61"/>
                  </a:cxn>
                  <a:cxn ang="T125">
                    <a:pos x="T62" y="T63"/>
                  </a:cxn>
                  <a:cxn ang="T126">
                    <a:pos x="T64" y="T65"/>
                  </a:cxn>
                  <a:cxn ang="T127">
                    <a:pos x="T66" y="T67"/>
                  </a:cxn>
                  <a:cxn ang="T128">
                    <a:pos x="T68" y="T69"/>
                  </a:cxn>
                  <a:cxn ang="T129">
                    <a:pos x="T70" y="T71"/>
                  </a:cxn>
                  <a:cxn ang="T130">
                    <a:pos x="T72" y="T73"/>
                  </a:cxn>
                  <a:cxn ang="T131">
                    <a:pos x="T74" y="T75"/>
                  </a:cxn>
                  <a:cxn ang="T132">
                    <a:pos x="T76" y="T77"/>
                  </a:cxn>
                  <a:cxn ang="T133">
                    <a:pos x="T78" y="T79"/>
                  </a:cxn>
                  <a:cxn ang="T134">
                    <a:pos x="T80" y="T81"/>
                  </a:cxn>
                  <a:cxn ang="T135">
                    <a:pos x="T82" y="T83"/>
                  </a:cxn>
                  <a:cxn ang="T136">
                    <a:pos x="T84" y="T85"/>
                  </a:cxn>
                  <a:cxn ang="T137">
                    <a:pos x="T86" y="T87"/>
                  </a:cxn>
                  <a:cxn ang="T138">
                    <a:pos x="T88" y="T89"/>
                  </a:cxn>
                  <a:cxn ang="T139">
                    <a:pos x="T90" y="T91"/>
                  </a:cxn>
                  <a:cxn ang="T140">
                    <a:pos x="T92" y="T93"/>
                  </a:cxn>
                </a:cxnLst>
                <a:rect l="T141" t="T142" r="T143" b="T144"/>
                <a:pathLst>
                  <a:path w="90" h="140">
                    <a:moveTo>
                      <a:pt x="78" y="48"/>
                    </a:moveTo>
                    <a:lnTo>
                      <a:pt x="78" y="48"/>
                    </a:lnTo>
                    <a:lnTo>
                      <a:pt x="76" y="54"/>
                    </a:lnTo>
                    <a:lnTo>
                      <a:pt x="72" y="68"/>
                    </a:lnTo>
                    <a:lnTo>
                      <a:pt x="72" y="78"/>
                    </a:lnTo>
                    <a:lnTo>
                      <a:pt x="74" y="84"/>
                    </a:lnTo>
                    <a:lnTo>
                      <a:pt x="76" y="90"/>
                    </a:lnTo>
                    <a:lnTo>
                      <a:pt x="82" y="94"/>
                    </a:lnTo>
                    <a:lnTo>
                      <a:pt x="90" y="96"/>
                    </a:lnTo>
                    <a:lnTo>
                      <a:pt x="90" y="102"/>
                    </a:lnTo>
                    <a:lnTo>
                      <a:pt x="90" y="108"/>
                    </a:lnTo>
                    <a:lnTo>
                      <a:pt x="88" y="112"/>
                    </a:lnTo>
                    <a:lnTo>
                      <a:pt x="84" y="118"/>
                    </a:lnTo>
                    <a:lnTo>
                      <a:pt x="82" y="128"/>
                    </a:lnTo>
                    <a:lnTo>
                      <a:pt x="78" y="140"/>
                    </a:lnTo>
                    <a:lnTo>
                      <a:pt x="74" y="138"/>
                    </a:lnTo>
                    <a:lnTo>
                      <a:pt x="78" y="134"/>
                    </a:lnTo>
                    <a:lnTo>
                      <a:pt x="78" y="128"/>
                    </a:lnTo>
                    <a:lnTo>
                      <a:pt x="74" y="122"/>
                    </a:lnTo>
                    <a:lnTo>
                      <a:pt x="68" y="118"/>
                    </a:lnTo>
                    <a:lnTo>
                      <a:pt x="58" y="112"/>
                    </a:lnTo>
                    <a:lnTo>
                      <a:pt x="38" y="102"/>
                    </a:lnTo>
                    <a:lnTo>
                      <a:pt x="28" y="96"/>
                    </a:lnTo>
                    <a:lnTo>
                      <a:pt x="22" y="90"/>
                    </a:lnTo>
                    <a:lnTo>
                      <a:pt x="14" y="82"/>
                    </a:lnTo>
                    <a:lnTo>
                      <a:pt x="8" y="76"/>
                    </a:lnTo>
                    <a:lnTo>
                      <a:pt x="6" y="48"/>
                    </a:lnTo>
                    <a:lnTo>
                      <a:pt x="4" y="28"/>
                    </a:lnTo>
                    <a:lnTo>
                      <a:pt x="0" y="14"/>
                    </a:lnTo>
                    <a:lnTo>
                      <a:pt x="4" y="10"/>
                    </a:lnTo>
                    <a:lnTo>
                      <a:pt x="8" y="2"/>
                    </a:lnTo>
                    <a:lnTo>
                      <a:pt x="10" y="0"/>
                    </a:lnTo>
                    <a:lnTo>
                      <a:pt x="12" y="2"/>
                    </a:lnTo>
                    <a:lnTo>
                      <a:pt x="20" y="6"/>
                    </a:lnTo>
                    <a:lnTo>
                      <a:pt x="44" y="22"/>
                    </a:lnTo>
                    <a:lnTo>
                      <a:pt x="78" y="48"/>
                    </a:lnTo>
                    <a:close/>
                  </a:path>
                </a:pathLst>
              </a:custGeom>
              <a:solidFill>
                <a:schemeClr val="tx1">
                  <a:lumMod val="50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>
                  <a:latin typeface="+mn-lt"/>
                  <a:cs typeface="+mn-cs"/>
                </a:endParaRPr>
              </a:p>
            </p:txBody>
          </p:sp>
        </p:grpSp>
        <p:sp>
          <p:nvSpPr>
            <p:cNvPr id="143" name="Freeform 5"/>
            <p:cNvSpPr>
              <a:spLocks noEditPoints="1"/>
            </p:cNvSpPr>
            <p:nvPr/>
          </p:nvSpPr>
          <p:spPr bwMode="auto">
            <a:xfrm>
              <a:off x="3157487" y="1957407"/>
              <a:ext cx="238081" cy="618012"/>
            </a:xfrm>
            <a:custGeom>
              <a:avLst/>
              <a:gdLst>
                <a:gd name="T0" fmla="*/ 2147483647 w 600"/>
                <a:gd name="T1" fmla="*/ 1302100615 h 1727"/>
                <a:gd name="T2" fmla="*/ 2132965708 w 600"/>
                <a:gd name="T3" fmla="*/ 1014817518 h 1727"/>
                <a:gd name="T4" fmla="*/ 2114775135 w 600"/>
                <a:gd name="T5" fmla="*/ 861847602 h 1727"/>
                <a:gd name="T6" fmla="*/ 1982886016 w 600"/>
                <a:gd name="T7" fmla="*/ 936466814 h 1727"/>
                <a:gd name="T8" fmla="*/ 1791874337 w 600"/>
                <a:gd name="T9" fmla="*/ 179084624 h 1727"/>
                <a:gd name="T10" fmla="*/ 1664531796 w 600"/>
                <a:gd name="T11" fmla="*/ 41039906 h 1727"/>
                <a:gd name="T12" fmla="*/ 1459878253 w 600"/>
                <a:gd name="T13" fmla="*/ 22385578 h 1727"/>
                <a:gd name="T14" fmla="*/ 1064208499 w 600"/>
                <a:gd name="T15" fmla="*/ 813345211 h 1727"/>
                <a:gd name="T16" fmla="*/ 1059661922 w 600"/>
                <a:gd name="T17" fmla="*/ 820807712 h 1727"/>
                <a:gd name="T18" fmla="*/ 786788399 w 600"/>
                <a:gd name="T19" fmla="*/ 1085705480 h 1727"/>
                <a:gd name="T20" fmla="*/ 650350571 w 600"/>
                <a:gd name="T21" fmla="*/ 1078242979 h 1727"/>
                <a:gd name="T22" fmla="*/ 659445858 w 600"/>
                <a:gd name="T23" fmla="*/ 1227481403 h 1727"/>
                <a:gd name="T24" fmla="*/ 418406771 w 600"/>
                <a:gd name="T25" fmla="*/ 1652809174 h 1727"/>
                <a:gd name="T26" fmla="*/ 18190581 w 600"/>
                <a:gd name="T27" fmla="*/ 2147483647 h 1727"/>
                <a:gd name="T28" fmla="*/ 841362251 w 600"/>
                <a:gd name="T29" fmla="*/ 2147483647 h 1727"/>
                <a:gd name="T30" fmla="*/ 768595694 w 600"/>
                <a:gd name="T31" fmla="*/ 2147483647 h 1727"/>
                <a:gd name="T32" fmla="*/ 463885336 w 600"/>
                <a:gd name="T33" fmla="*/ 2147483647 h 1727"/>
                <a:gd name="T34" fmla="*/ 836813541 w 600"/>
                <a:gd name="T35" fmla="*/ 1757274526 h 1727"/>
                <a:gd name="T36" fmla="*/ 941416800 w 600"/>
                <a:gd name="T37" fmla="*/ 2089329247 h 1727"/>
                <a:gd name="T38" fmla="*/ 809527682 w 600"/>
                <a:gd name="T39" fmla="*/ 2147483647 h 1727"/>
                <a:gd name="T40" fmla="*/ 845910960 w 600"/>
                <a:gd name="T41" fmla="*/ 2147483647 h 1727"/>
                <a:gd name="T42" fmla="*/ 668541144 w 600"/>
                <a:gd name="T43" fmla="*/ 2147483647 h 1727"/>
                <a:gd name="T44" fmla="*/ 886840816 w 600"/>
                <a:gd name="T45" fmla="*/ 2147483647 h 1727"/>
                <a:gd name="T46" fmla="*/ 968702659 w 600"/>
                <a:gd name="T47" fmla="*/ 2147483647 h 1727"/>
                <a:gd name="T48" fmla="*/ 1296152433 w 600"/>
                <a:gd name="T49" fmla="*/ 2147483647 h 1727"/>
                <a:gd name="T50" fmla="*/ 1368918990 w 600"/>
                <a:gd name="T51" fmla="*/ 2147483647 h 1727"/>
                <a:gd name="T52" fmla="*/ 1878284890 w 600"/>
                <a:gd name="T53" fmla="*/ 2147483647 h 1727"/>
                <a:gd name="T54" fmla="*/ 1987434726 w 600"/>
                <a:gd name="T55" fmla="*/ 2147483647 h 1727"/>
                <a:gd name="T56" fmla="*/ 2147483647 w 600"/>
                <a:gd name="T57" fmla="*/ 2147483647 h 1727"/>
                <a:gd name="T58" fmla="*/ 2147483647 w 600"/>
                <a:gd name="T59" fmla="*/ 2147483647 h 1727"/>
                <a:gd name="T60" fmla="*/ 2147483647 w 600"/>
                <a:gd name="T61" fmla="*/ 2147483647 h 1727"/>
                <a:gd name="T62" fmla="*/ 1700915074 w 600"/>
                <a:gd name="T63" fmla="*/ 2147483647 h 1727"/>
                <a:gd name="T64" fmla="*/ 1891928886 w 600"/>
                <a:gd name="T65" fmla="*/ 2147483647 h 1727"/>
                <a:gd name="T66" fmla="*/ 1650889932 w 600"/>
                <a:gd name="T67" fmla="*/ 2147483647 h 1727"/>
                <a:gd name="T68" fmla="*/ 1578123375 w 600"/>
                <a:gd name="T69" fmla="*/ 2147483647 h 1727"/>
                <a:gd name="T70" fmla="*/ 1455329543 w 600"/>
                <a:gd name="T71" fmla="*/ 2147483647 h 1727"/>
                <a:gd name="T72" fmla="*/ 1432590261 w 600"/>
                <a:gd name="T73" fmla="*/ 2147483647 h 1727"/>
                <a:gd name="T74" fmla="*/ 1964693311 w 600"/>
                <a:gd name="T75" fmla="*/ 2147483647 h 1727"/>
                <a:gd name="T76" fmla="*/ 1782779051 w 600"/>
                <a:gd name="T77" fmla="*/ 1962477842 h 1727"/>
                <a:gd name="T78" fmla="*/ 1105140487 w 600"/>
                <a:gd name="T79" fmla="*/ 1414028468 h 1727"/>
                <a:gd name="T80" fmla="*/ 1332535712 w 600"/>
                <a:gd name="T81" fmla="*/ 1201364583 h 1727"/>
                <a:gd name="T82" fmla="*/ 1896475463 w 600"/>
                <a:gd name="T83" fmla="*/ 1354332326 h 1727"/>
                <a:gd name="T84" fmla="*/ 1937407451 w 600"/>
                <a:gd name="T85" fmla="*/ 1078242979 h 1727"/>
                <a:gd name="T86" fmla="*/ 2147483647 w 600"/>
                <a:gd name="T87" fmla="*/ 2147483647 h 1727"/>
                <a:gd name="T88" fmla="*/ 2147483647 w 600"/>
                <a:gd name="T89" fmla="*/ 2147483647 h 1727"/>
                <a:gd name="T90" fmla="*/ 2147483647 w 600"/>
                <a:gd name="T91" fmla="*/ 1839356238 h 1727"/>
                <a:gd name="T92" fmla="*/ 2147483647 w 600"/>
                <a:gd name="T93" fmla="*/ 2147483647 h 1727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600"/>
                <a:gd name="T142" fmla="*/ 0 h 1727"/>
                <a:gd name="T143" fmla="*/ 600 w 600"/>
                <a:gd name="T144" fmla="*/ 1727 h 1727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600" h="1727">
                  <a:moveTo>
                    <a:pt x="588" y="660"/>
                  </a:moveTo>
                  <a:cubicBezTo>
                    <a:pt x="584" y="609"/>
                    <a:pt x="581" y="557"/>
                    <a:pt x="581" y="506"/>
                  </a:cubicBezTo>
                  <a:cubicBezTo>
                    <a:pt x="580" y="455"/>
                    <a:pt x="582" y="399"/>
                    <a:pt x="567" y="349"/>
                  </a:cubicBezTo>
                  <a:cubicBezTo>
                    <a:pt x="562" y="333"/>
                    <a:pt x="560" y="307"/>
                    <a:pt x="545" y="296"/>
                  </a:cubicBezTo>
                  <a:cubicBezTo>
                    <a:pt x="535" y="288"/>
                    <a:pt x="517" y="285"/>
                    <a:pt x="504" y="281"/>
                  </a:cubicBezTo>
                  <a:cubicBezTo>
                    <a:pt x="493" y="277"/>
                    <a:pt x="481" y="274"/>
                    <a:pt x="469" y="272"/>
                  </a:cubicBezTo>
                  <a:cubicBezTo>
                    <a:pt x="477" y="267"/>
                    <a:pt x="490" y="260"/>
                    <a:pt x="486" y="250"/>
                  </a:cubicBezTo>
                  <a:cubicBezTo>
                    <a:pt x="478" y="255"/>
                    <a:pt x="472" y="262"/>
                    <a:pt x="461" y="259"/>
                  </a:cubicBezTo>
                  <a:cubicBezTo>
                    <a:pt x="464" y="250"/>
                    <a:pt x="469" y="241"/>
                    <a:pt x="465" y="231"/>
                  </a:cubicBezTo>
                  <a:cubicBezTo>
                    <a:pt x="463" y="239"/>
                    <a:pt x="461" y="251"/>
                    <a:pt x="452" y="254"/>
                  </a:cubicBezTo>
                  <a:cubicBezTo>
                    <a:pt x="450" y="248"/>
                    <a:pt x="449" y="240"/>
                    <a:pt x="448" y="233"/>
                  </a:cubicBezTo>
                  <a:cubicBezTo>
                    <a:pt x="448" y="244"/>
                    <a:pt x="443" y="255"/>
                    <a:pt x="436" y="251"/>
                  </a:cubicBezTo>
                  <a:cubicBezTo>
                    <a:pt x="433" y="237"/>
                    <a:pt x="431" y="222"/>
                    <a:pt x="427" y="208"/>
                  </a:cubicBezTo>
                  <a:cubicBezTo>
                    <a:pt x="420" y="176"/>
                    <a:pt x="418" y="143"/>
                    <a:pt x="413" y="110"/>
                  </a:cubicBezTo>
                  <a:cubicBezTo>
                    <a:pt x="409" y="91"/>
                    <a:pt x="404" y="67"/>
                    <a:pt x="394" y="48"/>
                  </a:cubicBezTo>
                  <a:cubicBezTo>
                    <a:pt x="392" y="41"/>
                    <a:pt x="389" y="35"/>
                    <a:pt x="386" y="29"/>
                  </a:cubicBezTo>
                  <a:cubicBezTo>
                    <a:pt x="384" y="26"/>
                    <a:pt x="381" y="22"/>
                    <a:pt x="378" y="19"/>
                  </a:cubicBezTo>
                  <a:cubicBezTo>
                    <a:pt x="374" y="14"/>
                    <a:pt x="370" y="11"/>
                    <a:pt x="366" y="11"/>
                  </a:cubicBezTo>
                  <a:cubicBezTo>
                    <a:pt x="356" y="4"/>
                    <a:pt x="344" y="0"/>
                    <a:pt x="334" y="2"/>
                  </a:cubicBezTo>
                  <a:cubicBezTo>
                    <a:pt x="328" y="4"/>
                    <a:pt x="326" y="7"/>
                    <a:pt x="319" y="5"/>
                  </a:cubicBezTo>
                  <a:cubicBezTo>
                    <a:pt x="321" y="6"/>
                    <a:pt x="321" y="6"/>
                    <a:pt x="321" y="6"/>
                  </a:cubicBezTo>
                  <a:cubicBezTo>
                    <a:pt x="211" y="11"/>
                    <a:pt x="239" y="136"/>
                    <a:pt x="235" y="208"/>
                  </a:cubicBezTo>
                  <a:cubicBezTo>
                    <a:pt x="233" y="220"/>
                    <a:pt x="233" y="220"/>
                    <a:pt x="233" y="220"/>
                  </a:cubicBezTo>
                  <a:cubicBezTo>
                    <a:pt x="233" y="219"/>
                    <a:pt x="234" y="219"/>
                    <a:pt x="234" y="218"/>
                  </a:cubicBezTo>
                  <a:cubicBezTo>
                    <a:pt x="234" y="219"/>
                    <a:pt x="234" y="219"/>
                    <a:pt x="234" y="219"/>
                  </a:cubicBezTo>
                  <a:cubicBezTo>
                    <a:pt x="233" y="226"/>
                    <a:pt x="232" y="234"/>
                    <a:pt x="230" y="242"/>
                  </a:cubicBezTo>
                  <a:cubicBezTo>
                    <a:pt x="233" y="220"/>
                    <a:pt x="233" y="220"/>
                    <a:pt x="233" y="220"/>
                  </a:cubicBezTo>
                  <a:cubicBezTo>
                    <a:pt x="233" y="221"/>
                    <a:pt x="232" y="223"/>
                    <a:pt x="232" y="224"/>
                  </a:cubicBezTo>
                  <a:cubicBezTo>
                    <a:pt x="226" y="238"/>
                    <a:pt x="221" y="253"/>
                    <a:pt x="212" y="265"/>
                  </a:cubicBezTo>
                  <a:cubicBezTo>
                    <a:pt x="203" y="278"/>
                    <a:pt x="191" y="292"/>
                    <a:pt x="173" y="291"/>
                  </a:cubicBezTo>
                  <a:cubicBezTo>
                    <a:pt x="165" y="291"/>
                    <a:pt x="156" y="287"/>
                    <a:pt x="153" y="280"/>
                  </a:cubicBezTo>
                  <a:cubicBezTo>
                    <a:pt x="155" y="292"/>
                    <a:pt x="155" y="300"/>
                    <a:pt x="171" y="306"/>
                  </a:cubicBezTo>
                  <a:cubicBezTo>
                    <a:pt x="157" y="307"/>
                    <a:pt x="151" y="297"/>
                    <a:pt x="143" y="289"/>
                  </a:cubicBezTo>
                  <a:cubicBezTo>
                    <a:pt x="144" y="297"/>
                    <a:pt x="151" y="307"/>
                    <a:pt x="158" y="312"/>
                  </a:cubicBezTo>
                  <a:cubicBezTo>
                    <a:pt x="162" y="314"/>
                    <a:pt x="166" y="317"/>
                    <a:pt x="170" y="318"/>
                  </a:cubicBezTo>
                  <a:cubicBezTo>
                    <a:pt x="161" y="321"/>
                    <a:pt x="152" y="324"/>
                    <a:pt x="145" y="329"/>
                  </a:cubicBezTo>
                  <a:cubicBezTo>
                    <a:pt x="135" y="335"/>
                    <a:pt x="138" y="340"/>
                    <a:pt x="135" y="349"/>
                  </a:cubicBezTo>
                  <a:cubicBezTo>
                    <a:pt x="133" y="354"/>
                    <a:pt x="124" y="368"/>
                    <a:pt x="126" y="375"/>
                  </a:cubicBezTo>
                  <a:cubicBezTo>
                    <a:pt x="118" y="398"/>
                    <a:pt x="102" y="421"/>
                    <a:pt x="92" y="443"/>
                  </a:cubicBezTo>
                  <a:cubicBezTo>
                    <a:pt x="85" y="460"/>
                    <a:pt x="77" y="476"/>
                    <a:pt x="68" y="492"/>
                  </a:cubicBezTo>
                  <a:cubicBezTo>
                    <a:pt x="57" y="512"/>
                    <a:pt x="44" y="534"/>
                    <a:pt x="30" y="551"/>
                  </a:cubicBezTo>
                  <a:cubicBezTo>
                    <a:pt x="16" y="568"/>
                    <a:pt x="0" y="578"/>
                    <a:pt x="4" y="599"/>
                  </a:cubicBezTo>
                  <a:cubicBezTo>
                    <a:pt x="16" y="669"/>
                    <a:pt x="113" y="687"/>
                    <a:pt x="157" y="739"/>
                  </a:cubicBezTo>
                  <a:cubicBezTo>
                    <a:pt x="161" y="728"/>
                    <a:pt x="171" y="731"/>
                    <a:pt x="178" y="724"/>
                  </a:cubicBezTo>
                  <a:cubicBezTo>
                    <a:pt x="182" y="720"/>
                    <a:pt x="184" y="712"/>
                    <a:pt x="185" y="706"/>
                  </a:cubicBezTo>
                  <a:cubicBezTo>
                    <a:pt x="183" y="709"/>
                    <a:pt x="179" y="713"/>
                    <a:pt x="171" y="716"/>
                  </a:cubicBezTo>
                  <a:cubicBezTo>
                    <a:pt x="142" y="725"/>
                    <a:pt x="137" y="650"/>
                    <a:pt x="160" y="655"/>
                  </a:cubicBezTo>
                  <a:cubicBezTo>
                    <a:pt x="163" y="655"/>
                    <a:pt x="166" y="655"/>
                    <a:pt x="169" y="655"/>
                  </a:cubicBezTo>
                  <a:cubicBezTo>
                    <a:pt x="143" y="640"/>
                    <a:pt x="121" y="619"/>
                    <a:pt x="100" y="599"/>
                  </a:cubicBezTo>
                  <a:cubicBezTo>
                    <a:pt x="103" y="598"/>
                    <a:pt x="106" y="597"/>
                    <a:pt x="109" y="596"/>
                  </a:cubicBezTo>
                  <a:cubicBezTo>
                    <a:pt x="105" y="592"/>
                    <a:pt x="102" y="586"/>
                    <a:pt x="102" y="580"/>
                  </a:cubicBezTo>
                  <a:cubicBezTo>
                    <a:pt x="121" y="557"/>
                    <a:pt x="132" y="526"/>
                    <a:pt x="152" y="501"/>
                  </a:cubicBezTo>
                  <a:cubicBezTo>
                    <a:pt x="158" y="493"/>
                    <a:pt x="167" y="482"/>
                    <a:pt x="176" y="476"/>
                  </a:cubicBezTo>
                  <a:cubicBezTo>
                    <a:pt x="179" y="474"/>
                    <a:pt x="181" y="473"/>
                    <a:pt x="184" y="471"/>
                  </a:cubicBezTo>
                  <a:cubicBezTo>
                    <a:pt x="185" y="474"/>
                    <a:pt x="186" y="477"/>
                    <a:pt x="187" y="479"/>
                  </a:cubicBezTo>
                  <a:cubicBezTo>
                    <a:pt x="193" y="492"/>
                    <a:pt x="200" y="506"/>
                    <a:pt x="204" y="519"/>
                  </a:cubicBezTo>
                  <a:cubicBezTo>
                    <a:pt x="209" y="535"/>
                    <a:pt x="206" y="546"/>
                    <a:pt x="207" y="560"/>
                  </a:cubicBezTo>
                  <a:cubicBezTo>
                    <a:pt x="209" y="574"/>
                    <a:pt x="219" y="589"/>
                    <a:pt x="221" y="603"/>
                  </a:cubicBezTo>
                  <a:cubicBezTo>
                    <a:pt x="222" y="608"/>
                    <a:pt x="222" y="613"/>
                    <a:pt x="222" y="617"/>
                  </a:cubicBezTo>
                  <a:cubicBezTo>
                    <a:pt x="199" y="623"/>
                    <a:pt x="198" y="646"/>
                    <a:pt x="178" y="659"/>
                  </a:cubicBezTo>
                  <a:cubicBezTo>
                    <a:pt x="178" y="659"/>
                    <a:pt x="177" y="659"/>
                    <a:pt x="177" y="658"/>
                  </a:cubicBezTo>
                  <a:cubicBezTo>
                    <a:pt x="163" y="687"/>
                    <a:pt x="181" y="700"/>
                    <a:pt x="186" y="702"/>
                  </a:cubicBezTo>
                  <a:cubicBezTo>
                    <a:pt x="186" y="702"/>
                    <a:pt x="186" y="702"/>
                    <a:pt x="186" y="701"/>
                  </a:cubicBezTo>
                  <a:cubicBezTo>
                    <a:pt x="190" y="702"/>
                    <a:pt x="194" y="702"/>
                    <a:pt x="198" y="703"/>
                  </a:cubicBezTo>
                  <a:cubicBezTo>
                    <a:pt x="197" y="705"/>
                    <a:pt x="196" y="708"/>
                    <a:pt x="195" y="710"/>
                  </a:cubicBezTo>
                  <a:cubicBezTo>
                    <a:pt x="176" y="749"/>
                    <a:pt x="158" y="791"/>
                    <a:pt x="147" y="832"/>
                  </a:cubicBezTo>
                  <a:cubicBezTo>
                    <a:pt x="154" y="833"/>
                    <a:pt x="195" y="837"/>
                    <a:pt x="202" y="842"/>
                  </a:cubicBezTo>
                  <a:cubicBezTo>
                    <a:pt x="201" y="863"/>
                    <a:pt x="197" y="891"/>
                    <a:pt x="196" y="915"/>
                  </a:cubicBezTo>
                  <a:cubicBezTo>
                    <a:pt x="194" y="963"/>
                    <a:pt x="190" y="990"/>
                    <a:pt x="195" y="1029"/>
                  </a:cubicBezTo>
                  <a:cubicBezTo>
                    <a:pt x="201" y="1081"/>
                    <a:pt x="197" y="1136"/>
                    <a:pt x="190" y="1187"/>
                  </a:cubicBezTo>
                  <a:cubicBezTo>
                    <a:pt x="200" y="1191"/>
                    <a:pt x="209" y="1191"/>
                    <a:pt x="218" y="1191"/>
                  </a:cubicBezTo>
                  <a:cubicBezTo>
                    <a:pt x="216" y="1206"/>
                    <a:pt x="213" y="1221"/>
                    <a:pt x="213" y="1237"/>
                  </a:cubicBezTo>
                  <a:cubicBezTo>
                    <a:pt x="212" y="1255"/>
                    <a:pt x="214" y="1273"/>
                    <a:pt x="217" y="1291"/>
                  </a:cubicBezTo>
                  <a:cubicBezTo>
                    <a:pt x="225" y="1341"/>
                    <a:pt x="240" y="1389"/>
                    <a:pt x="259" y="1436"/>
                  </a:cubicBezTo>
                  <a:cubicBezTo>
                    <a:pt x="274" y="1473"/>
                    <a:pt x="294" y="1521"/>
                    <a:pt x="285" y="1560"/>
                  </a:cubicBezTo>
                  <a:cubicBezTo>
                    <a:pt x="280" y="1583"/>
                    <a:pt x="279" y="1609"/>
                    <a:pt x="281" y="1632"/>
                  </a:cubicBezTo>
                  <a:cubicBezTo>
                    <a:pt x="283" y="1648"/>
                    <a:pt x="290" y="1663"/>
                    <a:pt x="292" y="1679"/>
                  </a:cubicBezTo>
                  <a:cubicBezTo>
                    <a:pt x="294" y="1691"/>
                    <a:pt x="287" y="1699"/>
                    <a:pt x="301" y="1706"/>
                  </a:cubicBezTo>
                  <a:cubicBezTo>
                    <a:pt x="317" y="1713"/>
                    <a:pt x="366" y="1727"/>
                    <a:pt x="383" y="1719"/>
                  </a:cubicBezTo>
                  <a:cubicBezTo>
                    <a:pt x="392" y="1714"/>
                    <a:pt x="396" y="1709"/>
                    <a:pt x="398" y="1703"/>
                  </a:cubicBezTo>
                  <a:cubicBezTo>
                    <a:pt x="401" y="1708"/>
                    <a:pt x="405" y="1711"/>
                    <a:pt x="413" y="1712"/>
                  </a:cubicBezTo>
                  <a:cubicBezTo>
                    <a:pt x="428" y="1715"/>
                    <a:pt x="442" y="1713"/>
                    <a:pt x="456" y="1709"/>
                  </a:cubicBezTo>
                  <a:cubicBezTo>
                    <a:pt x="500" y="1697"/>
                    <a:pt x="454" y="1666"/>
                    <a:pt x="443" y="1643"/>
                  </a:cubicBezTo>
                  <a:cubicBezTo>
                    <a:pt x="439" y="1634"/>
                    <a:pt x="438" y="1622"/>
                    <a:pt x="437" y="1610"/>
                  </a:cubicBezTo>
                  <a:cubicBezTo>
                    <a:pt x="437" y="1588"/>
                    <a:pt x="432" y="1578"/>
                    <a:pt x="433" y="1563"/>
                  </a:cubicBezTo>
                  <a:cubicBezTo>
                    <a:pt x="434" y="1546"/>
                    <a:pt x="475" y="1428"/>
                    <a:pt x="479" y="1417"/>
                  </a:cubicBezTo>
                  <a:cubicBezTo>
                    <a:pt x="482" y="1406"/>
                    <a:pt x="519" y="1310"/>
                    <a:pt x="522" y="1297"/>
                  </a:cubicBezTo>
                  <a:cubicBezTo>
                    <a:pt x="524" y="1287"/>
                    <a:pt x="538" y="1222"/>
                    <a:pt x="542" y="1204"/>
                  </a:cubicBezTo>
                  <a:cubicBezTo>
                    <a:pt x="550" y="1201"/>
                    <a:pt x="549" y="1016"/>
                    <a:pt x="561" y="923"/>
                  </a:cubicBezTo>
                  <a:cubicBezTo>
                    <a:pt x="569" y="860"/>
                    <a:pt x="568" y="859"/>
                    <a:pt x="582" y="855"/>
                  </a:cubicBezTo>
                  <a:cubicBezTo>
                    <a:pt x="587" y="849"/>
                    <a:pt x="591" y="840"/>
                    <a:pt x="594" y="830"/>
                  </a:cubicBezTo>
                  <a:cubicBezTo>
                    <a:pt x="596" y="821"/>
                    <a:pt x="598" y="808"/>
                    <a:pt x="598" y="795"/>
                  </a:cubicBezTo>
                  <a:cubicBezTo>
                    <a:pt x="600" y="750"/>
                    <a:pt x="591" y="706"/>
                    <a:pt x="588" y="660"/>
                  </a:cubicBezTo>
                  <a:close/>
                  <a:moveTo>
                    <a:pt x="376" y="1659"/>
                  </a:moveTo>
                  <a:cubicBezTo>
                    <a:pt x="366" y="1644"/>
                    <a:pt x="365" y="1625"/>
                    <a:pt x="362" y="1608"/>
                  </a:cubicBezTo>
                  <a:cubicBezTo>
                    <a:pt x="367" y="1612"/>
                    <a:pt x="372" y="1616"/>
                    <a:pt x="374" y="1623"/>
                  </a:cubicBezTo>
                  <a:cubicBezTo>
                    <a:pt x="378" y="1635"/>
                    <a:pt x="376" y="1647"/>
                    <a:pt x="376" y="1659"/>
                  </a:cubicBezTo>
                  <a:close/>
                  <a:moveTo>
                    <a:pt x="432" y="1268"/>
                  </a:moveTo>
                  <a:cubicBezTo>
                    <a:pt x="429" y="1284"/>
                    <a:pt x="421" y="1302"/>
                    <a:pt x="416" y="1317"/>
                  </a:cubicBezTo>
                  <a:cubicBezTo>
                    <a:pt x="409" y="1339"/>
                    <a:pt x="408" y="1361"/>
                    <a:pt x="406" y="1383"/>
                  </a:cubicBezTo>
                  <a:cubicBezTo>
                    <a:pt x="404" y="1425"/>
                    <a:pt x="404" y="1467"/>
                    <a:pt x="388" y="1507"/>
                  </a:cubicBezTo>
                  <a:cubicBezTo>
                    <a:pt x="382" y="1522"/>
                    <a:pt x="374" y="1535"/>
                    <a:pt x="363" y="1547"/>
                  </a:cubicBezTo>
                  <a:cubicBezTo>
                    <a:pt x="361" y="1550"/>
                    <a:pt x="357" y="1553"/>
                    <a:pt x="353" y="1557"/>
                  </a:cubicBezTo>
                  <a:cubicBezTo>
                    <a:pt x="353" y="1553"/>
                    <a:pt x="352" y="1549"/>
                    <a:pt x="350" y="1546"/>
                  </a:cubicBezTo>
                  <a:cubicBezTo>
                    <a:pt x="349" y="1543"/>
                    <a:pt x="348" y="1541"/>
                    <a:pt x="347" y="1538"/>
                  </a:cubicBezTo>
                  <a:cubicBezTo>
                    <a:pt x="340" y="1511"/>
                    <a:pt x="330" y="1467"/>
                    <a:pt x="329" y="1444"/>
                  </a:cubicBezTo>
                  <a:cubicBezTo>
                    <a:pt x="327" y="1417"/>
                    <a:pt x="320" y="1330"/>
                    <a:pt x="320" y="1330"/>
                  </a:cubicBezTo>
                  <a:cubicBezTo>
                    <a:pt x="320" y="1330"/>
                    <a:pt x="320" y="1330"/>
                    <a:pt x="320" y="1330"/>
                  </a:cubicBezTo>
                  <a:cubicBezTo>
                    <a:pt x="319" y="1315"/>
                    <a:pt x="317" y="1300"/>
                    <a:pt x="315" y="1285"/>
                  </a:cubicBezTo>
                  <a:cubicBezTo>
                    <a:pt x="312" y="1268"/>
                    <a:pt x="307" y="1252"/>
                    <a:pt x="308" y="1235"/>
                  </a:cubicBezTo>
                  <a:cubicBezTo>
                    <a:pt x="310" y="1221"/>
                    <a:pt x="313" y="1208"/>
                    <a:pt x="315" y="1195"/>
                  </a:cubicBezTo>
                  <a:cubicBezTo>
                    <a:pt x="317" y="1194"/>
                    <a:pt x="319" y="1194"/>
                    <a:pt x="322" y="1194"/>
                  </a:cubicBezTo>
                  <a:cubicBezTo>
                    <a:pt x="335" y="1193"/>
                    <a:pt x="347" y="1193"/>
                    <a:pt x="360" y="1194"/>
                  </a:cubicBezTo>
                  <a:cubicBezTo>
                    <a:pt x="372" y="1195"/>
                    <a:pt x="420" y="1196"/>
                    <a:pt x="432" y="1197"/>
                  </a:cubicBezTo>
                  <a:cubicBezTo>
                    <a:pt x="432" y="1210"/>
                    <a:pt x="440" y="1213"/>
                    <a:pt x="432" y="1268"/>
                  </a:cubicBezTo>
                  <a:close/>
                  <a:moveTo>
                    <a:pt x="426" y="371"/>
                  </a:moveTo>
                  <a:cubicBezTo>
                    <a:pt x="417" y="395"/>
                    <a:pt x="392" y="526"/>
                    <a:pt x="392" y="526"/>
                  </a:cubicBezTo>
                  <a:cubicBezTo>
                    <a:pt x="392" y="526"/>
                    <a:pt x="392" y="526"/>
                    <a:pt x="384" y="526"/>
                  </a:cubicBezTo>
                  <a:cubicBezTo>
                    <a:pt x="384" y="526"/>
                    <a:pt x="384" y="526"/>
                    <a:pt x="301" y="363"/>
                  </a:cubicBezTo>
                  <a:cubicBezTo>
                    <a:pt x="301" y="354"/>
                    <a:pt x="243" y="379"/>
                    <a:pt x="243" y="379"/>
                  </a:cubicBezTo>
                  <a:cubicBezTo>
                    <a:pt x="243" y="379"/>
                    <a:pt x="243" y="346"/>
                    <a:pt x="243" y="273"/>
                  </a:cubicBezTo>
                  <a:cubicBezTo>
                    <a:pt x="243" y="273"/>
                    <a:pt x="243" y="273"/>
                    <a:pt x="276" y="264"/>
                  </a:cubicBezTo>
                  <a:cubicBezTo>
                    <a:pt x="285" y="289"/>
                    <a:pt x="293" y="322"/>
                    <a:pt x="293" y="322"/>
                  </a:cubicBezTo>
                  <a:cubicBezTo>
                    <a:pt x="293" y="322"/>
                    <a:pt x="293" y="322"/>
                    <a:pt x="310" y="354"/>
                  </a:cubicBezTo>
                  <a:cubicBezTo>
                    <a:pt x="384" y="485"/>
                    <a:pt x="384" y="485"/>
                    <a:pt x="384" y="485"/>
                  </a:cubicBezTo>
                  <a:cubicBezTo>
                    <a:pt x="384" y="485"/>
                    <a:pt x="384" y="485"/>
                    <a:pt x="417" y="363"/>
                  </a:cubicBezTo>
                  <a:cubicBezTo>
                    <a:pt x="426" y="354"/>
                    <a:pt x="417" y="297"/>
                    <a:pt x="417" y="297"/>
                  </a:cubicBezTo>
                  <a:cubicBezTo>
                    <a:pt x="417" y="297"/>
                    <a:pt x="417" y="297"/>
                    <a:pt x="417" y="281"/>
                  </a:cubicBezTo>
                  <a:cubicBezTo>
                    <a:pt x="417" y="281"/>
                    <a:pt x="417" y="281"/>
                    <a:pt x="426" y="289"/>
                  </a:cubicBezTo>
                  <a:cubicBezTo>
                    <a:pt x="426" y="289"/>
                    <a:pt x="426" y="289"/>
                    <a:pt x="467" y="371"/>
                  </a:cubicBezTo>
                  <a:cubicBezTo>
                    <a:pt x="467" y="371"/>
                    <a:pt x="467" y="371"/>
                    <a:pt x="426" y="371"/>
                  </a:cubicBezTo>
                  <a:close/>
                  <a:moveTo>
                    <a:pt x="487" y="649"/>
                  </a:moveTo>
                  <a:cubicBezTo>
                    <a:pt x="483" y="649"/>
                    <a:pt x="483" y="649"/>
                    <a:pt x="483" y="649"/>
                  </a:cubicBezTo>
                  <a:cubicBezTo>
                    <a:pt x="483" y="644"/>
                    <a:pt x="475" y="632"/>
                    <a:pt x="474" y="622"/>
                  </a:cubicBezTo>
                  <a:cubicBezTo>
                    <a:pt x="472" y="613"/>
                    <a:pt x="474" y="599"/>
                    <a:pt x="474" y="588"/>
                  </a:cubicBezTo>
                  <a:cubicBezTo>
                    <a:pt x="476" y="556"/>
                    <a:pt x="487" y="525"/>
                    <a:pt x="487" y="493"/>
                  </a:cubicBezTo>
                  <a:cubicBezTo>
                    <a:pt x="487" y="490"/>
                    <a:pt x="487" y="488"/>
                    <a:pt x="487" y="486"/>
                  </a:cubicBezTo>
                  <a:cubicBezTo>
                    <a:pt x="487" y="488"/>
                    <a:pt x="487" y="490"/>
                    <a:pt x="487" y="493"/>
                  </a:cubicBezTo>
                  <a:cubicBezTo>
                    <a:pt x="488" y="525"/>
                    <a:pt x="493" y="556"/>
                    <a:pt x="481" y="587"/>
                  </a:cubicBezTo>
                  <a:cubicBezTo>
                    <a:pt x="484" y="586"/>
                    <a:pt x="487" y="587"/>
                    <a:pt x="489" y="587"/>
                  </a:cubicBezTo>
                  <a:cubicBezTo>
                    <a:pt x="484" y="599"/>
                    <a:pt x="492" y="605"/>
                    <a:pt x="492" y="616"/>
                  </a:cubicBezTo>
                  <a:cubicBezTo>
                    <a:pt x="492" y="627"/>
                    <a:pt x="488" y="638"/>
                    <a:pt x="487" y="649"/>
                  </a:cubicBezTo>
                  <a:close/>
                </a:path>
              </a:pathLst>
            </a:custGeom>
            <a:solidFill>
              <a:schemeClr val="tx1">
                <a:lumMod val="50000"/>
              </a:schemeClr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grpSp>
          <p:nvGrpSpPr>
            <p:cNvPr id="144" name="Gruppe 51"/>
            <p:cNvGrpSpPr>
              <a:grpSpLocks/>
            </p:cNvGrpSpPr>
            <p:nvPr/>
          </p:nvGrpSpPr>
          <p:grpSpPr bwMode="auto">
            <a:xfrm>
              <a:off x="3038445" y="1930398"/>
              <a:ext cx="203162" cy="665674"/>
              <a:chOff x="2762795" y="1597101"/>
              <a:chExt cx="746615" cy="2444087"/>
            </a:xfrm>
          </p:grpSpPr>
          <p:sp>
            <p:nvSpPr>
              <p:cNvPr id="146" name="Freeform 125"/>
              <p:cNvSpPr>
                <a:spLocks/>
              </p:cNvSpPr>
              <p:nvPr/>
            </p:nvSpPr>
            <p:spPr bwMode="auto">
              <a:xfrm>
                <a:off x="2762799" y="1597101"/>
                <a:ext cx="746615" cy="2444091"/>
              </a:xfrm>
              <a:custGeom>
                <a:avLst/>
                <a:gdLst>
                  <a:gd name="T0" fmla="*/ 2147483647 w 364"/>
                  <a:gd name="T1" fmla="*/ 2147483647 h 1186"/>
                  <a:gd name="T2" fmla="*/ 2147483647 w 364"/>
                  <a:gd name="T3" fmla="*/ 2147483647 h 1186"/>
                  <a:gd name="T4" fmla="*/ 2147483647 w 364"/>
                  <a:gd name="T5" fmla="*/ 2147483647 h 1186"/>
                  <a:gd name="T6" fmla="*/ 2147483647 w 364"/>
                  <a:gd name="T7" fmla="*/ 2147483647 h 1186"/>
                  <a:gd name="T8" fmla="*/ 2147483647 w 364"/>
                  <a:gd name="T9" fmla="*/ 2147483647 h 1186"/>
                  <a:gd name="T10" fmla="*/ 2147483647 w 364"/>
                  <a:gd name="T11" fmla="*/ 2147483647 h 1186"/>
                  <a:gd name="T12" fmla="*/ 2147483647 w 364"/>
                  <a:gd name="T13" fmla="*/ 2147483647 h 1186"/>
                  <a:gd name="T14" fmla="*/ 2147483647 w 364"/>
                  <a:gd name="T15" fmla="*/ 2147483647 h 1186"/>
                  <a:gd name="T16" fmla="*/ 2147483647 w 364"/>
                  <a:gd name="T17" fmla="*/ 0 h 1186"/>
                  <a:gd name="T18" fmla="*/ 2147483647 w 364"/>
                  <a:gd name="T19" fmla="*/ 2147483647 h 1186"/>
                  <a:gd name="T20" fmla="*/ 2147483647 w 364"/>
                  <a:gd name="T21" fmla="*/ 2147483647 h 1186"/>
                  <a:gd name="T22" fmla="*/ 2147483647 w 364"/>
                  <a:gd name="T23" fmla="*/ 2147483647 h 1186"/>
                  <a:gd name="T24" fmla="*/ 2147483647 w 364"/>
                  <a:gd name="T25" fmla="*/ 2147483647 h 1186"/>
                  <a:gd name="T26" fmla="*/ 2147483647 w 364"/>
                  <a:gd name="T27" fmla="*/ 2147483647 h 1186"/>
                  <a:gd name="T28" fmla="*/ 2147483647 w 364"/>
                  <a:gd name="T29" fmla="*/ 2147483647 h 1186"/>
                  <a:gd name="T30" fmla="*/ 2147483647 w 364"/>
                  <a:gd name="T31" fmla="*/ 2147483647 h 1186"/>
                  <a:gd name="T32" fmla="*/ 2147483647 w 364"/>
                  <a:gd name="T33" fmla="*/ 2147483647 h 1186"/>
                  <a:gd name="T34" fmla="*/ 2147483647 w 364"/>
                  <a:gd name="T35" fmla="*/ 2147483647 h 1186"/>
                  <a:gd name="T36" fmla="*/ 2147483647 w 364"/>
                  <a:gd name="T37" fmla="*/ 2147483647 h 1186"/>
                  <a:gd name="T38" fmla="*/ 2147483647 w 364"/>
                  <a:gd name="T39" fmla="*/ 2147483647 h 1186"/>
                  <a:gd name="T40" fmla="*/ 2147483647 w 364"/>
                  <a:gd name="T41" fmla="*/ 2147483647 h 1186"/>
                  <a:gd name="T42" fmla="*/ 0 w 364"/>
                  <a:gd name="T43" fmla="*/ 2147483647 h 1186"/>
                  <a:gd name="T44" fmla="*/ 2147483647 w 364"/>
                  <a:gd name="T45" fmla="*/ 2147483647 h 1186"/>
                  <a:gd name="T46" fmla="*/ 2147483647 w 364"/>
                  <a:gd name="T47" fmla="*/ 2147483647 h 1186"/>
                  <a:gd name="T48" fmla="*/ 2147483647 w 364"/>
                  <a:gd name="T49" fmla="*/ 2147483647 h 1186"/>
                  <a:gd name="T50" fmla="*/ 2147483647 w 364"/>
                  <a:gd name="T51" fmla="*/ 2147483647 h 1186"/>
                  <a:gd name="T52" fmla="*/ 2147483647 w 364"/>
                  <a:gd name="T53" fmla="*/ 2147483647 h 1186"/>
                  <a:gd name="T54" fmla="*/ 2147483647 w 364"/>
                  <a:gd name="T55" fmla="*/ 2147483647 h 1186"/>
                  <a:gd name="T56" fmla="*/ 2147483647 w 364"/>
                  <a:gd name="T57" fmla="*/ 2147483647 h 1186"/>
                  <a:gd name="T58" fmla="*/ 2147483647 w 364"/>
                  <a:gd name="T59" fmla="*/ 2147483647 h 1186"/>
                  <a:gd name="T60" fmla="*/ 2147483647 w 364"/>
                  <a:gd name="T61" fmla="*/ 2147483647 h 1186"/>
                  <a:gd name="T62" fmla="*/ 2147483647 w 364"/>
                  <a:gd name="T63" fmla="*/ 2147483647 h 1186"/>
                  <a:gd name="T64" fmla="*/ 2147483647 w 364"/>
                  <a:gd name="T65" fmla="*/ 2147483647 h 1186"/>
                  <a:gd name="T66" fmla="*/ 2147483647 w 364"/>
                  <a:gd name="T67" fmla="*/ 2147483647 h 1186"/>
                  <a:gd name="T68" fmla="*/ 2147483647 w 364"/>
                  <a:gd name="T69" fmla="*/ 2147483647 h 1186"/>
                  <a:gd name="T70" fmla="*/ 2147483647 w 364"/>
                  <a:gd name="T71" fmla="*/ 2147483647 h 1186"/>
                  <a:gd name="T72" fmla="*/ 2147483647 w 364"/>
                  <a:gd name="T73" fmla="*/ 2147483647 h 1186"/>
                  <a:gd name="T74" fmla="*/ 2147483647 w 364"/>
                  <a:gd name="T75" fmla="*/ 2147483647 h 1186"/>
                  <a:gd name="T76" fmla="*/ 2147483647 w 364"/>
                  <a:gd name="T77" fmla="*/ 2147483647 h 1186"/>
                  <a:gd name="T78" fmla="*/ 2147483647 w 364"/>
                  <a:gd name="T79" fmla="*/ 2147483647 h 1186"/>
                  <a:gd name="T80" fmla="*/ 2147483647 w 364"/>
                  <a:gd name="T81" fmla="*/ 2147483647 h 1186"/>
                  <a:gd name="T82" fmla="*/ 2147483647 w 364"/>
                  <a:gd name="T83" fmla="*/ 2147483647 h 1186"/>
                  <a:gd name="T84" fmla="*/ 2147483647 w 364"/>
                  <a:gd name="T85" fmla="*/ 2147483647 h 1186"/>
                  <a:gd name="T86" fmla="*/ 2147483647 w 364"/>
                  <a:gd name="T87" fmla="*/ 2147483647 h 1186"/>
                  <a:gd name="T88" fmla="*/ 2147483647 w 364"/>
                  <a:gd name="T89" fmla="*/ 2147483647 h 1186"/>
                  <a:gd name="T90" fmla="*/ 2147483647 w 364"/>
                  <a:gd name="T91" fmla="*/ 2147483647 h 1186"/>
                  <a:gd name="T92" fmla="*/ 2147483647 w 364"/>
                  <a:gd name="T93" fmla="*/ 2147483647 h 1186"/>
                  <a:gd name="T94" fmla="*/ 2147483647 w 364"/>
                  <a:gd name="T95" fmla="*/ 2147483647 h 1186"/>
                  <a:gd name="T96" fmla="*/ 2147483647 w 364"/>
                  <a:gd name="T97" fmla="*/ 2147483647 h 1186"/>
                  <a:gd name="T98" fmla="*/ 2147483647 w 364"/>
                  <a:gd name="T99" fmla="*/ 2147483647 h 1186"/>
                  <a:gd name="T100" fmla="*/ 2147483647 w 364"/>
                  <a:gd name="T101" fmla="*/ 2147483647 h 1186"/>
                  <a:gd name="T102" fmla="*/ 2147483647 w 364"/>
                  <a:gd name="T103" fmla="*/ 2147483647 h 1186"/>
                  <a:gd name="T104" fmla="*/ 2147483647 w 364"/>
                  <a:gd name="T105" fmla="*/ 2147483647 h 1186"/>
                  <a:gd name="T106" fmla="*/ 2147483647 w 364"/>
                  <a:gd name="T107" fmla="*/ 2147483647 h 1186"/>
                  <a:gd name="T108" fmla="*/ 2147483647 w 364"/>
                  <a:gd name="T109" fmla="*/ 2147483647 h 1186"/>
                  <a:gd name="T110" fmla="*/ 2147483647 w 364"/>
                  <a:gd name="T111" fmla="*/ 2147483647 h 1186"/>
                  <a:gd name="T112" fmla="*/ 2147483647 w 364"/>
                  <a:gd name="T113" fmla="*/ 2147483647 h 1186"/>
                  <a:gd name="T114" fmla="*/ 2147483647 w 364"/>
                  <a:gd name="T115" fmla="*/ 2147483647 h 1186"/>
                  <a:gd name="T116" fmla="*/ 2147483647 w 364"/>
                  <a:gd name="T117" fmla="*/ 2147483647 h 118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w 364"/>
                  <a:gd name="T178" fmla="*/ 0 h 1186"/>
                  <a:gd name="T179" fmla="*/ 364 w 364"/>
                  <a:gd name="T180" fmla="*/ 1186 h 1186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T177" t="T178" r="T179" b="T180"/>
                <a:pathLst>
                  <a:path w="364" h="1186">
                    <a:moveTo>
                      <a:pt x="350" y="338"/>
                    </a:moveTo>
                    <a:lnTo>
                      <a:pt x="350" y="338"/>
                    </a:lnTo>
                    <a:lnTo>
                      <a:pt x="342" y="314"/>
                    </a:lnTo>
                    <a:lnTo>
                      <a:pt x="336" y="286"/>
                    </a:lnTo>
                    <a:lnTo>
                      <a:pt x="326" y="232"/>
                    </a:lnTo>
                    <a:lnTo>
                      <a:pt x="322" y="224"/>
                    </a:lnTo>
                    <a:lnTo>
                      <a:pt x="318" y="216"/>
                    </a:lnTo>
                    <a:lnTo>
                      <a:pt x="312" y="212"/>
                    </a:lnTo>
                    <a:lnTo>
                      <a:pt x="306" y="210"/>
                    </a:lnTo>
                    <a:lnTo>
                      <a:pt x="278" y="200"/>
                    </a:lnTo>
                    <a:lnTo>
                      <a:pt x="258" y="192"/>
                    </a:lnTo>
                    <a:lnTo>
                      <a:pt x="246" y="186"/>
                    </a:lnTo>
                    <a:lnTo>
                      <a:pt x="240" y="180"/>
                    </a:lnTo>
                    <a:lnTo>
                      <a:pt x="234" y="174"/>
                    </a:lnTo>
                    <a:lnTo>
                      <a:pt x="230" y="168"/>
                    </a:lnTo>
                    <a:lnTo>
                      <a:pt x="224" y="162"/>
                    </a:lnTo>
                    <a:lnTo>
                      <a:pt x="220" y="158"/>
                    </a:lnTo>
                    <a:lnTo>
                      <a:pt x="216" y="156"/>
                    </a:lnTo>
                    <a:lnTo>
                      <a:pt x="216" y="146"/>
                    </a:lnTo>
                    <a:lnTo>
                      <a:pt x="218" y="140"/>
                    </a:lnTo>
                    <a:lnTo>
                      <a:pt x="222" y="136"/>
                    </a:lnTo>
                    <a:lnTo>
                      <a:pt x="228" y="126"/>
                    </a:lnTo>
                    <a:lnTo>
                      <a:pt x="236" y="110"/>
                    </a:lnTo>
                    <a:lnTo>
                      <a:pt x="238" y="102"/>
                    </a:lnTo>
                    <a:lnTo>
                      <a:pt x="238" y="96"/>
                    </a:lnTo>
                    <a:lnTo>
                      <a:pt x="238" y="90"/>
                    </a:lnTo>
                    <a:lnTo>
                      <a:pt x="234" y="88"/>
                    </a:lnTo>
                    <a:lnTo>
                      <a:pt x="236" y="76"/>
                    </a:lnTo>
                    <a:lnTo>
                      <a:pt x="236" y="68"/>
                    </a:lnTo>
                    <a:lnTo>
                      <a:pt x="236" y="56"/>
                    </a:lnTo>
                    <a:lnTo>
                      <a:pt x="232" y="42"/>
                    </a:lnTo>
                    <a:lnTo>
                      <a:pt x="230" y="32"/>
                    </a:lnTo>
                    <a:lnTo>
                      <a:pt x="226" y="24"/>
                    </a:lnTo>
                    <a:lnTo>
                      <a:pt x="222" y="16"/>
                    </a:lnTo>
                    <a:lnTo>
                      <a:pt x="214" y="10"/>
                    </a:lnTo>
                    <a:lnTo>
                      <a:pt x="204" y="4"/>
                    </a:lnTo>
                    <a:lnTo>
                      <a:pt x="192" y="0"/>
                    </a:lnTo>
                    <a:lnTo>
                      <a:pt x="174" y="0"/>
                    </a:lnTo>
                    <a:lnTo>
                      <a:pt x="158" y="2"/>
                    </a:lnTo>
                    <a:lnTo>
                      <a:pt x="146" y="6"/>
                    </a:lnTo>
                    <a:lnTo>
                      <a:pt x="136" y="14"/>
                    </a:lnTo>
                    <a:lnTo>
                      <a:pt x="128" y="20"/>
                    </a:lnTo>
                    <a:lnTo>
                      <a:pt x="124" y="28"/>
                    </a:lnTo>
                    <a:lnTo>
                      <a:pt x="120" y="36"/>
                    </a:lnTo>
                    <a:lnTo>
                      <a:pt x="118" y="44"/>
                    </a:lnTo>
                    <a:lnTo>
                      <a:pt x="116" y="60"/>
                    </a:lnTo>
                    <a:lnTo>
                      <a:pt x="118" y="72"/>
                    </a:lnTo>
                    <a:lnTo>
                      <a:pt x="120" y="82"/>
                    </a:lnTo>
                    <a:lnTo>
                      <a:pt x="118" y="84"/>
                    </a:lnTo>
                    <a:lnTo>
                      <a:pt x="116" y="92"/>
                    </a:lnTo>
                    <a:lnTo>
                      <a:pt x="116" y="98"/>
                    </a:lnTo>
                    <a:lnTo>
                      <a:pt x="118" y="106"/>
                    </a:lnTo>
                    <a:lnTo>
                      <a:pt x="122" y="116"/>
                    </a:lnTo>
                    <a:lnTo>
                      <a:pt x="130" y="126"/>
                    </a:lnTo>
                    <a:lnTo>
                      <a:pt x="132" y="128"/>
                    </a:lnTo>
                    <a:lnTo>
                      <a:pt x="134" y="130"/>
                    </a:lnTo>
                    <a:lnTo>
                      <a:pt x="136" y="136"/>
                    </a:lnTo>
                    <a:lnTo>
                      <a:pt x="138" y="152"/>
                    </a:lnTo>
                    <a:lnTo>
                      <a:pt x="140" y="158"/>
                    </a:lnTo>
                    <a:lnTo>
                      <a:pt x="138" y="164"/>
                    </a:lnTo>
                    <a:lnTo>
                      <a:pt x="134" y="168"/>
                    </a:lnTo>
                    <a:lnTo>
                      <a:pt x="126" y="174"/>
                    </a:lnTo>
                    <a:lnTo>
                      <a:pt x="112" y="186"/>
                    </a:lnTo>
                    <a:lnTo>
                      <a:pt x="102" y="192"/>
                    </a:lnTo>
                    <a:lnTo>
                      <a:pt x="90" y="198"/>
                    </a:lnTo>
                    <a:lnTo>
                      <a:pt x="70" y="204"/>
                    </a:lnTo>
                    <a:lnTo>
                      <a:pt x="62" y="208"/>
                    </a:lnTo>
                    <a:lnTo>
                      <a:pt x="52" y="212"/>
                    </a:lnTo>
                    <a:lnTo>
                      <a:pt x="46" y="216"/>
                    </a:lnTo>
                    <a:lnTo>
                      <a:pt x="42" y="222"/>
                    </a:lnTo>
                    <a:lnTo>
                      <a:pt x="38" y="228"/>
                    </a:lnTo>
                    <a:lnTo>
                      <a:pt x="36" y="236"/>
                    </a:lnTo>
                    <a:lnTo>
                      <a:pt x="32" y="274"/>
                    </a:lnTo>
                    <a:lnTo>
                      <a:pt x="30" y="302"/>
                    </a:lnTo>
                    <a:lnTo>
                      <a:pt x="24" y="392"/>
                    </a:lnTo>
                    <a:lnTo>
                      <a:pt x="18" y="448"/>
                    </a:lnTo>
                    <a:lnTo>
                      <a:pt x="14" y="482"/>
                    </a:lnTo>
                    <a:lnTo>
                      <a:pt x="10" y="514"/>
                    </a:lnTo>
                    <a:lnTo>
                      <a:pt x="8" y="540"/>
                    </a:lnTo>
                    <a:lnTo>
                      <a:pt x="6" y="566"/>
                    </a:lnTo>
                    <a:lnTo>
                      <a:pt x="4" y="588"/>
                    </a:lnTo>
                    <a:lnTo>
                      <a:pt x="6" y="594"/>
                    </a:lnTo>
                    <a:lnTo>
                      <a:pt x="8" y="598"/>
                    </a:lnTo>
                    <a:lnTo>
                      <a:pt x="12" y="598"/>
                    </a:lnTo>
                    <a:lnTo>
                      <a:pt x="4" y="616"/>
                    </a:lnTo>
                    <a:lnTo>
                      <a:pt x="2" y="626"/>
                    </a:lnTo>
                    <a:lnTo>
                      <a:pt x="0" y="638"/>
                    </a:lnTo>
                    <a:lnTo>
                      <a:pt x="2" y="650"/>
                    </a:lnTo>
                    <a:lnTo>
                      <a:pt x="6" y="660"/>
                    </a:lnTo>
                    <a:lnTo>
                      <a:pt x="14" y="670"/>
                    </a:lnTo>
                    <a:lnTo>
                      <a:pt x="26" y="676"/>
                    </a:lnTo>
                    <a:lnTo>
                      <a:pt x="36" y="680"/>
                    </a:lnTo>
                    <a:lnTo>
                      <a:pt x="40" y="680"/>
                    </a:lnTo>
                    <a:lnTo>
                      <a:pt x="42" y="678"/>
                    </a:lnTo>
                    <a:lnTo>
                      <a:pt x="42" y="674"/>
                    </a:lnTo>
                    <a:lnTo>
                      <a:pt x="38" y="670"/>
                    </a:lnTo>
                    <a:lnTo>
                      <a:pt x="36" y="664"/>
                    </a:lnTo>
                    <a:lnTo>
                      <a:pt x="34" y="660"/>
                    </a:lnTo>
                    <a:lnTo>
                      <a:pt x="34" y="654"/>
                    </a:lnTo>
                    <a:lnTo>
                      <a:pt x="36" y="650"/>
                    </a:lnTo>
                    <a:lnTo>
                      <a:pt x="34" y="644"/>
                    </a:lnTo>
                    <a:lnTo>
                      <a:pt x="34" y="636"/>
                    </a:lnTo>
                    <a:lnTo>
                      <a:pt x="38" y="628"/>
                    </a:lnTo>
                    <a:lnTo>
                      <a:pt x="40" y="622"/>
                    </a:lnTo>
                    <a:lnTo>
                      <a:pt x="38" y="616"/>
                    </a:lnTo>
                    <a:lnTo>
                      <a:pt x="38" y="612"/>
                    </a:lnTo>
                    <a:lnTo>
                      <a:pt x="38" y="608"/>
                    </a:lnTo>
                    <a:lnTo>
                      <a:pt x="40" y="606"/>
                    </a:lnTo>
                    <a:lnTo>
                      <a:pt x="42" y="604"/>
                    </a:lnTo>
                    <a:lnTo>
                      <a:pt x="44" y="604"/>
                    </a:lnTo>
                    <a:lnTo>
                      <a:pt x="48" y="602"/>
                    </a:lnTo>
                    <a:lnTo>
                      <a:pt x="50" y="596"/>
                    </a:lnTo>
                    <a:lnTo>
                      <a:pt x="50" y="594"/>
                    </a:lnTo>
                    <a:lnTo>
                      <a:pt x="58" y="534"/>
                    </a:lnTo>
                    <a:lnTo>
                      <a:pt x="56" y="568"/>
                    </a:lnTo>
                    <a:lnTo>
                      <a:pt x="56" y="578"/>
                    </a:lnTo>
                    <a:lnTo>
                      <a:pt x="56" y="586"/>
                    </a:lnTo>
                    <a:lnTo>
                      <a:pt x="60" y="598"/>
                    </a:lnTo>
                    <a:lnTo>
                      <a:pt x="62" y="612"/>
                    </a:lnTo>
                    <a:lnTo>
                      <a:pt x="62" y="644"/>
                    </a:lnTo>
                    <a:lnTo>
                      <a:pt x="64" y="686"/>
                    </a:lnTo>
                    <a:lnTo>
                      <a:pt x="70" y="758"/>
                    </a:lnTo>
                    <a:lnTo>
                      <a:pt x="76" y="832"/>
                    </a:lnTo>
                    <a:lnTo>
                      <a:pt x="78" y="876"/>
                    </a:lnTo>
                    <a:lnTo>
                      <a:pt x="80" y="948"/>
                    </a:lnTo>
                    <a:lnTo>
                      <a:pt x="80" y="990"/>
                    </a:lnTo>
                    <a:lnTo>
                      <a:pt x="76" y="1022"/>
                    </a:lnTo>
                    <a:lnTo>
                      <a:pt x="74" y="1044"/>
                    </a:lnTo>
                    <a:lnTo>
                      <a:pt x="72" y="1068"/>
                    </a:lnTo>
                    <a:lnTo>
                      <a:pt x="74" y="1088"/>
                    </a:lnTo>
                    <a:lnTo>
                      <a:pt x="76" y="1104"/>
                    </a:lnTo>
                    <a:lnTo>
                      <a:pt x="84" y="1124"/>
                    </a:lnTo>
                    <a:lnTo>
                      <a:pt x="86" y="1130"/>
                    </a:lnTo>
                    <a:lnTo>
                      <a:pt x="84" y="1134"/>
                    </a:lnTo>
                    <a:lnTo>
                      <a:pt x="66" y="1150"/>
                    </a:lnTo>
                    <a:lnTo>
                      <a:pt x="56" y="1162"/>
                    </a:lnTo>
                    <a:lnTo>
                      <a:pt x="54" y="1166"/>
                    </a:lnTo>
                    <a:lnTo>
                      <a:pt x="54" y="1170"/>
                    </a:lnTo>
                    <a:lnTo>
                      <a:pt x="56" y="1174"/>
                    </a:lnTo>
                    <a:lnTo>
                      <a:pt x="60" y="1176"/>
                    </a:lnTo>
                    <a:lnTo>
                      <a:pt x="72" y="1180"/>
                    </a:lnTo>
                    <a:lnTo>
                      <a:pt x="86" y="1180"/>
                    </a:lnTo>
                    <a:lnTo>
                      <a:pt x="102" y="1174"/>
                    </a:lnTo>
                    <a:lnTo>
                      <a:pt x="118" y="1168"/>
                    </a:lnTo>
                    <a:lnTo>
                      <a:pt x="134" y="1164"/>
                    </a:lnTo>
                    <a:lnTo>
                      <a:pt x="146" y="1160"/>
                    </a:lnTo>
                    <a:lnTo>
                      <a:pt x="150" y="1158"/>
                    </a:lnTo>
                    <a:lnTo>
                      <a:pt x="152" y="1156"/>
                    </a:lnTo>
                    <a:lnTo>
                      <a:pt x="152" y="1152"/>
                    </a:lnTo>
                    <a:lnTo>
                      <a:pt x="150" y="1146"/>
                    </a:lnTo>
                    <a:lnTo>
                      <a:pt x="148" y="1138"/>
                    </a:lnTo>
                    <a:lnTo>
                      <a:pt x="150" y="1130"/>
                    </a:lnTo>
                    <a:lnTo>
                      <a:pt x="154" y="1116"/>
                    </a:lnTo>
                    <a:lnTo>
                      <a:pt x="156" y="1106"/>
                    </a:lnTo>
                    <a:lnTo>
                      <a:pt x="156" y="1090"/>
                    </a:lnTo>
                    <a:lnTo>
                      <a:pt x="156" y="1052"/>
                    </a:lnTo>
                    <a:lnTo>
                      <a:pt x="156" y="984"/>
                    </a:lnTo>
                    <a:lnTo>
                      <a:pt x="158" y="920"/>
                    </a:lnTo>
                    <a:lnTo>
                      <a:pt x="162" y="886"/>
                    </a:lnTo>
                    <a:lnTo>
                      <a:pt x="164" y="868"/>
                    </a:lnTo>
                    <a:lnTo>
                      <a:pt x="168" y="840"/>
                    </a:lnTo>
                    <a:lnTo>
                      <a:pt x="174" y="772"/>
                    </a:lnTo>
                    <a:lnTo>
                      <a:pt x="178" y="706"/>
                    </a:lnTo>
                    <a:lnTo>
                      <a:pt x="178" y="666"/>
                    </a:lnTo>
                    <a:lnTo>
                      <a:pt x="178" y="624"/>
                    </a:lnTo>
                    <a:lnTo>
                      <a:pt x="182" y="650"/>
                    </a:lnTo>
                    <a:lnTo>
                      <a:pt x="190" y="714"/>
                    </a:lnTo>
                    <a:lnTo>
                      <a:pt x="194" y="756"/>
                    </a:lnTo>
                    <a:lnTo>
                      <a:pt x="196" y="800"/>
                    </a:lnTo>
                    <a:lnTo>
                      <a:pt x="200" y="840"/>
                    </a:lnTo>
                    <a:lnTo>
                      <a:pt x="204" y="878"/>
                    </a:lnTo>
                    <a:lnTo>
                      <a:pt x="206" y="914"/>
                    </a:lnTo>
                    <a:lnTo>
                      <a:pt x="208" y="954"/>
                    </a:lnTo>
                    <a:lnTo>
                      <a:pt x="206" y="1012"/>
                    </a:lnTo>
                    <a:lnTo>
                      <a:pt x="206" y="1040"/>
                    </a:lnTo>
                    <a:lnTo>
                      <a:pt x="206" y="1078"/>
                    </a:lnTo>
                    <a:lnTo>
                      <a:pt x="208" y="1096"/>
                    </a:lnTo>
                    <a:lnTo>
                      <a:pt x="208" y="1112"/>
                    </a:lnTo>
                    <a:lnTo>
                      <a:pt x="212" y="1124"/>
                    </a:lnTo>
                    <a:lnTo>
                      <a:pt x="214" y="1126"/>
                    </a:lnTo>
                    <a:lnTo>
                      <a:pt x="216" y="1128"/>
                    </a:lnTo>
                    <a:lnTo>
                      <a:pt x="218" y="1142"/>
                    </a:lnTo>
                    <a:lnTo>
                      <a:pt x="220" y="1154"/>
                    </a:lnTo>
                    <a:lnTo>
                      <a:pt x="222" y="1162"/>
                    </a:lnTo>
                    <a:lnTo>
                      <a:pt x="226" y="1172"/>
                    </a:lnTo>
                    <a:lnTo>
                      <a:pt x="234" y="1178"/>
                    </a:lnTo>
                    <a:lnTo>
                      <a:pt x="246" y="1184"/>
                    </a:lnTo>
                    <a:lnTo>
                      <a:pt x="252" y="1186"/>
                    </a:lnTo>
                    <a:lnTo>
                      <a:pt x="262" y="1186"/>
                    </a:lnTo>
                    <a:lnTo>
                      <a:pt x="282" y="1182"/>
                    </a:lnTo>
                    <a:lnTo>
                      <a:pt x="290" y="1178"/>
                    </a:lnTo>
                    <a:lnTo>
                      <a:pt x="292" y="1176"/>
                    </a:lnTo>
                    <a:lnTo>
                      <a:pt x="294" y="1174"/>
                    </a:lnTo>
                    <a:lnTo>
                      <a:pt x="292" y="1168"/>
                    </a:lnTo>
                    <a:lnTo>
                      <a:pt x="288" y="1162"/>
                    </a:lnTo>
                    <a:lnTo>
                      <a:pt x="276" y="1148"/>
                    </a:lnTo>
                    <a:lnTo>
                      <a:pt x="274" y="1142"/>
                    </a:lnTo>
                    <a:lnTo>
                      <a:pt x="274" y="1140"/>
                    </a:lnTo>
                    <a:lnTo>
                      <a:pt x="274" y="1138"/>
                    </a:lnTo>
                    <a:lnTo>
                      <a:pt x="280" y="1132"/>
                    </a:lnTo>
                    <a:lnTo>
                      <a:pt x="284" y="1130"/>
                    </a:lnTo>
                    <a:lnTo>
                      <a:pt x="288" y="1128"/>
                    </a:lnTo>
                    <a:lnTo>
                      <a:pt x="288" y="1122"/>
                    </a:lnTo>
                    <a:lnTo>
                      <a:pt x="286" y="936"/>
                    </a:lnTo>
                    <a:lnTo>
                      <a:pt x="288" y="864"/>
                    </a:lnTo>
                    <a:lnTo>
                      <a:pt x="288" y="834"/>
                    </a:lnTo>
                    <a:lnTo>
                      <a:pt x="286" y="810"/>
                    </a:lnTo>
                    <a:lnTo>
                      <a:pt x="286" y="780"/>
                    </a:lnTo>
                    <a:lnTo>
                      <a:pt x="288" y="738"/>
                    </a:lnTo>
                    <a:lnTo>
                      <a:pt x="290" y="660"/>
                    </a:lnTo>
                    <a:lnTo>
                      <a:pt x="290" y="602"/>
                    </a:lnTo>
                    <a:lnTo>
                      <a:pt x="304" y="598"/>
                    </a:lnTo>
                    <a:lnTo>
                      <a:pt x="314" y="590"/>
                    </a:lnTo>
                    <a:lnTo>
                      <a:pt x="322" y="582"/>
                    </a:lnTo>
                    <a:lnTo>
                      <a:pt x="326" y="572"/>
                    </a:lnTo>
                    <a:lnTo>
                      <a:pt x="330" y="564"/>
                    </a:lnTo>
                    <a:lnTo>
                      <a:pt x="330" y="556"/>
                    </a:lnTo>
                    <a:lnTo>
                      <a:pt x="330" y="544"/>
                    </a:lnTo>
                    <a:lnTo>
                      <a:pt x="332" y="536"/>
                    </a:lnTo>
                    <a:lnTo>
                      <a:pt x="334" y="530"/>
                    </a:lnTo>
                    <a:lnTo>
                      <a:pt x="338" y="526"/>
                    </a:lnTo>
                    <a:lnTo>
                      <a:pt x="340" y="526"/>
                    </a:lnTo>
                    <a:lnTo>
                      <a:pt x="344" y="526"/>
                    </a:lnTo>
                    <a:lnTo>
                      <a:pt x="346" y="526"/>
                    </a:lnTo>
                    <a:lnTo>
                      <a:pt x="348" y="524"/>
                    </a:lnTo>
                    <a:lnTo>
                      <a:pt x="352" y="514"/>
                    </a:lnTo>
                    <a:lnTo>
                      <a:pt x="354" y="502"/>
                    </a:lnTo>
                    <a:lnTo>
                      <a:pt x="356" y="492"/>
                    </a:lnTo>
                    <a:lnTo>
                      <a:pt x="358" y="454"/>
                    </a:lnTo>
                    <a:lnTo>
                      <a:pt x="362" y="416"/>
                    </a:lnTo>
                    <a:lnTo>
                      <a:pt x="364" y="396"/>
                    </a:lnTo>
                    <a:lnTo>
                      <a:pt x="362" y="382"/>
                    </a:lnTo>
                    <a:lnTo>
                      <a:pt x="356" y="362"/>
                    </a:lnTo>
                    <a:lnTo>
                      <a:pt x="350" y="338"/>
                    </a:lnTo>
                    <a:close/>
                  </a:path>
                </a:pathLst>
              </a:custGeom>
              <a:solidFill>
                <a:schemeClr val="tx1">
                  <a:lumMod val="50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>
                  <a:latin typeface="+mn-lt"/>
                  <a:cs typeface="+mn-cs"/>
                </a:endParaRPr>
              </a:p>
            </p:txBody>
          </p:sp>
          <p:sp>
            <p:nvSpPr>
              <p:cNvPr id="147" name="Freeform 127"/>
              <p:cNvSpPr>
                <a:spLocks/>
              </p:cNvSpPr>
              <p:nvPr/>
            </p:nvSpPr>
            <p:spPr bwMode="auto">
              <a:xfrm>
                <a:off x="3016156" y="1924561"/>
                <a:ext cx="209678" cy="353852"/>
              </a:xfrm>
              <a:custGeom>
                <a:avLst/>
                <a:gdLst>
                  <a:gd name="T0" fmla="*/ 0 w 102"/>
                  <a:gd name="T1" fmla="*/ 2147483647 h 172"/>
                  <a:gd name="T2" fmla="*/ 0 w 102"/>
                  <a:gd name="T3" fmla="*/ 2147483647 h 172"/>
                  <a:gd name="T4" fmla="*/ 2147483647 w 102"/>
                  <a:gd name="T5" fmla="*/ 2147483647 h 172"/>
                  <a:gd name="T6" fmla="*/ 2147483647 w 102"/>
                  <a:gd name="T7" fmla="*/ 2147483647 h 172"/>
                  <a:gd name="T8" fmla="*/ 2147483647 w 102"/>
                  <a:gd name="T9" fmla="*/ 2147483647 h 172"/>
                  <a:gd name="T10" fmla="*/ 2147483647 w 102"/>
                  <a:gd name="T11" fmla="*/ 2147483647 h 172"/>
                  <a:gd name="T12" fmla="*/ 2147483647 w 102"/>
                  <a:gd name="T13" fmla="*/ 2147483647 h 172"/>
                  <a:gd name="T14" fmla="*/ 2147483647 w 102"/>
                  <a:gd name="T15" fmla="*/ 2147483647 h 172"/>
                  <a:gd name="T16" fmla="*/ 2147483647 w 102"/>
                  <a:gd name="T17" fmla="*/ 2147483647 h 172"/>
                  <a:gd name="T18" fmla="*/ 2147483647 w 102"/>
                  <a:gd name="T19" fmla="*/ 2147483647 h 172"/>
                  <a:gd name="T20" fmla="*/ 2147483647 w 102"/>
                  <a:gd name="T21" fmla="*/ 2147483647 h 172"/>
                  <a:gd name="T22" fmla="*/ 2147483647 w 102"/>
                  <a:gd name="T23" fmla="*/ 2147483647 h 172"/>
                  <a:gd name="T24" fmla="*/ 2147483647 w 102"/>
                  <a:gd name="T25" fmla="*/ 2147483647 h 172"/>
                  <a:gd name="T26" fmla="*/ 2147483647 w 102"/>
                  <a:gd name="T27" fmla="*/ 2147483647 h 172"/>
                  <a:gd name="T28" fmla="*/ 2147483647 w 102"/>
                  <a:gd name="T29" fmla="*/ 2147483647 h 172"/>
                  <a:gd name="T30" fmla="*/ 2147483647 w 102"/>
                  <a:gd name="T31" fmla="*/ 2147483647 h 172"/>
                  <a:gd name="T32" fmla="*/ 2147483647 w 102"/>
                  <a:gd name="T33" fmla="*/ 2147483647 h 172"/>
                  <a:gd name="T34" fmla="*/ 2147483647 w 102"/>
                  <a:gd name="T35" fmla="*/ 2147483647 h 172"/>
                  <a:gd name="T36" fmla="*/ 2147483647 w 102"/>
                  <a:gd name="T37" fmla="*/ 2147483647 h 172"/>
                  <a:gd name="T38" fmla="*/ 2147483647 w 102"/>
                  <a:gd name="T39" fmla="*/ 2147483647 h 172"/>
                  <a:gd name="T40" fmla="*/ 2147483647 w 102"/>
                  <a:gd name="T41" fmla="*/ 2147483647 h 172"/>
                  <a:gd name="T42" fmla="*/ 2147483647 w 102"/>
                  <a:gd name="T43" fmla="*/ 2147483647 h 172"/>
                  <a:gd name="T44" fmla="*/ 2147483647 w 102"/>
                  <a:gd name="T45" fmla="*/ 2147483647 h 172"/>
                  <a:gd name="T46" fmla="*/ 2147483647 w 102"/>
                  <a:gd name="T47" fmla="*/ 2147483647 h 172"/>
                  <a:gd name="T48" fmla="*/ 2147483647 w 102"/>
                  <a:gd name="T49" fmla="*/ 2147483647 h 172"/>
                  <a:gd name="T50" fmla="*/ 2147483647 w 102"/>
                  <a:gd name="T51" fmla="*/ 0 h 172"/>
                  <a:gd name="T52" fmla="*/ 2147483647 w 102"/>
                  <a:gd name="T53" fmla="*/ 0 h 172"/>
                  <a:gd name="T54" fmla="*/ 2147483647 w 102"/>
                  <a:gd name="T55" fmla="*/ 0 h 172"/>
                  <a:gd name="T56" fmla="*/ 2147483647 w 102"/>
                  <a:gd name="T57" fmla="*/ 2147483647 h 172"/>
                  <a:gd name="T58" fmla="*/ 2147483647 w 102"/>
                  <a:gd name="T59" fmla="*/ 2147483647 h 172"/>
                  <a:gd name="T60" fmla="*/ 2147483647 w 102"/>
                  <a:gd name="T61" fmla="*/ 2147483647 h 172"/>
                  <a:gd name="T62" fmla="*/ 2147483647 w 102"/>
                  <a:gd name="T63" fmla="*/ 2147483647 h 172"/>
                  <a:gd name="T64" fmla="*/ 2147483647 w 102"/>
                  <a:gd name="T65" fmla="*/ 2147483647 h 172"/>
                  <a:gd name="T66" fmla="*/ 2147483647 w 102"/>
                  <a:gd name="T67" fmla="*/ 2147483647 h 172"/>
                  <a:gd name="T68" fmla="*/ 2147483647 w 102"/>
                  <a:gd name="T69" fmla="*/ 2147483647 h 172"/>
                  <a:gd name="T70" fmla="*/ 2147483647 w 102"/>
                  <a:gd name="T71" fmla="*/ 2147483647 h 172"/>
                  <a:gd name="T72" fmla="*/ 2147483647 w 102"/>
                  <a:gd name="T73" fmla="*/ 2147483647 h 172"/>
                  <a:gd name="T74" fmla="*/ 2147483647 w 102"/>
                  <a:gd name="T75" fmla="*/ 2147483647 h 172"/>
                  <a:gd name="T76" fmla="*/ 2147483647 w 102"/>
                  <a:gd name="T77" fmla="*/ 2147483647 h 172"/>
                  <a:gd name="T78" fmla="*/ 2147483647 w 102"/>
                  <a:gd name="T79" fmla="*/ 2147483647 h 172"/>
                  <a:gd name="T80" fmla="*/ 2147483647 w 102"/>
                  <a:gd name="T81" fmla="*/ 2147483647 h 172"/>
                  <a:gd name="T82" fmla="*/ 2147483647 w 102"/>
                  <a:gd name="T83" fmla="*/ 2147483647 h 172"/>
                  <a:gd name="T84" fmla="*/ 0 w 102"/>
                  <a:gd name="T85" fmla="*/ 2147483647 h 172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102"/>
                  <a:gd name="T130" fmla="*/ 0 h 172"/>
                  <a:gd name="T131" fmla="*/ 102 w 102"/>
                  <a:gd name="T132" fmla="*/ 172 h 172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102" h="172">
                    <a:moveTo>
                      <a:pt x="0" y="14"/>
                    </a:moveTo>
                    <a:lnTo>
                      <a:pt x="0" y="14"/>
                    </a:lnTo>
                    <a:lnTo>
                      <a:pt x="2" y="22"/>
                    </a:lnTo>
                    <a:lnTo>
                      <a:pt x="4" y="32"/>
                    </a:lnTo>
                    <a:lnTo>
                      <a:pt x="8" y="42"/>
                    </a:lnTo>
                    <a:lnTo>
                      <a:pt x="12" y="66"/>
                    </a:lnTo>
                    <a:lnTo>
                      <a:pt x="18" y="106"/>
                    </a:lnTo>
                    <a:lnTo>
                      <a:pt x="24" y="126"/>
                    </a:lnTo>
                    <a:lnTo>
                      <a:pt x="30" y="146"/>
                    </a:lnTo>
                    <a:lnTo>
                      <a:pt x="38" y="162"/>
                    </a:lnTo>
                    <a:lnTo>
                      <a:pt x="42" y="168"/>
                    </a:lnTo>
                    <a:lnTo>
                      <a:pt x="46" y="172"/>
                    </a:lnTo>
                    <a:lnTo>
                      <a:pt x="64" y="144"/>
                    </a:lnTo>
                    <a:lnTo>
                      <a:pt x="78" y="118"/>
                    </a:lnTo>
                    <a:lnTo>
                      <a:pt x="90" y="94"/>
                    </a:lnTo>
                    <a:lnTo>
                      <a:pt x="98" y="72"/>
                    </a:lnTo>
                    <a:lnTo>
                      <a:pt x="102" y="52"/>
                    </a:lnTo>
                    <a:lnTo>
                      <a:pt x="102" y="34"/>
                    </a:lnTo>
                    <a:lnTo>
                      <a:pt x="100" y="16"/>
                    </a:lnTo>
                    <a:lnTo>
                      <a:pt x="100" y="10"/>
                    </a:lnTo>
                    <a:lnTo>
                      <a:pt x="96" y="6"/>
                    </a:lnTo>
                    <a:lnTo>
                      <a:pt x="90" y="0"/>
                    </a:lnTo>
                    <a:lnTo>
                      <a:pt x="88" y="0"/>
                    </a:lnTo>
                    <a:lnTo>
                      <a:pt x="88" y="2"/>
                    </a:lnTo>
                    <a:lnTo>
                      <a:pt x="86" y="6"/>
                    </a:lnTo>
                    <a:lnTo>
                      <a:pt x="86" y="14"/>
                    </a:lnTo>
                    <a:lnTo>
                      <a:pt x="82" y="20"/>
                    </a:lnTo>
                    <a:lnTo>
                      <a:pt x="74" y="30"/>
                    </a:lnTo>
                    <a:lnTo>
                      <a:pt x="66" y="34"/>
                    </a:lnTo>
                    <a:lnTo>
                      <a:pt x="56" y="38"/>
                    </a:lnTo>
                    <a:lnTo>
                      <a:pt x="44" y="38"/>
                    </a:lnTo>
                    <a:lnTo>
                      <a:pt x="32" y="34"/>
                    </a:lnTo>
                    <a:lnTo>
                      <a:pt x="20" y="26"/>
                    </a:lnTo>
                    <a:lnTo>
                      <a:pt x="12" y="16"/>
                    </a:lnTo>
                    <a:lnTo>
                      <a:pt x="6" y="6"/>
                    </a:lnTo>
                    <a:lnTo>
                      <a:pt x="0" y="1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alibri" pitchFamily="-112" charset="0"/>
                </a:endParaRPr>
              </a:p>
            </p:txBody>
          </p:sp>
          <p:sp>
            <p:nvSpPr>
              <p:cNvPr id="148" name="Freeform 128"/>
              <p:cNvSpPr>
                <a:spLocks/>
              </p:cNvSpPr>
              <p:nvPr/>
            </p:nvSpPr>
            <p:spPr bwMode="auto">
              <a:xfrm>
                <a:off x="3089443" y="2005421"/>
                <a:ext cx="64164" cy="285826"/>
              </a:xfrm>
              <a:custGeom>
                <a:avLst/>
                <a:gdLst>
                  <a:gd name="T0" fmla="*/ 2147483647 w 30"/>
                  <a:gd name="T1" fmla="*/ 2147483647 h 136"/>
                  <a:gd name="T2" fmla="*/ 2147483647 w 30"/>
                  <a:gd name="T3" fmla="*/ 2147483647 h 136"/>
                  <a:gd name="T4" fmla="*/ 2147483647 w 30"/>
                  <a:gd name="T5" fmla="*/ 2147483647 h 136"/>
                  <a:gd name="T6" fmla="*/ 0 w 30"/>
                  <a:gd name="T7" fmla="*/ 2147483647 h 136"/>
                  <a:gd name="T8" fmla="*/ 2147483647 w 30"/>
                  <a:gd name="T9" fmla="*/ 2147483647 h 136"/>
                  <a:gd name="T10" fmla="*/ 2147483647 w 30"/>
                  <a:gd name="T11" fmla="*/ 2147483647 h 136"/>
                  <a:gd name="T12" fmla="*/ 2147483647 w 30"/>
                  <a:gd name="T13" fmla="*/ 2147483647 h 136"/>
                  <a:gd name="T14" fmla="*/ 2147483647 w 30"/>
                  <a:gd name="T15" fmla="*/ 2147483647 h 136"/>
                  <a:gd name="T16" fmla="*/ 2147483647 w 30"/>
                  <a:gd name="T17" fmla="*/ 2147483647 h 136"/>
                  <a:gd name="T18" fmla="*/ 2147483647 w 30"/>
                  <a:gd name="T19" fmla="*/ 2147483647 h 136"/>
                  <a:gd name="T20" fmla="*/ 2147483647 w 30"/>
                  <a:gd name="T21" fmla="*/ 2147483647 h 136"/>
                  <a:gd name="T22" fmla="*/ 2147483647 w 30"/>
                  <a:gd name="T23" fmla="*/ 2147483647 h 136"/>
                  <a:gd name="T24" fmla="*/ 0 w 30"/>
                  <a:gd name="T25" fmla="*/ 2147483647 h 136"/>
                  <a:gd name="T26" fmla="*/ 0 w 30"/>
                  <a:gd name="T27" fmla="*/ 2147483647 h 136"/>
                  <a:gd name="T28" fmla="*/ 0 w 30"/>
                  <a:gd name="T29" fmla="*/ 2147483647 h 136"/>
                  <a:gd name="T30" fmla="*/ 2147483647 w 30"/>
                  <a:gd name="T31" fmla="*/ 2147483647 h 136"/>
                  <a:gd name="T32" fmla="*/ 2147483647 w 30"/>
                  <a:gd name="T33" fmla="*/ 0 h 136"/>
                  <a:gd name="T34" fmla="*/ 2147483647 w 30"/>
                  <a:gd name="T35" fmla="*/ 0 h 136"/>
                  <a:gd name="T36" fmla="*/ 2147483647 w 30"/>
                  <a:gd name="T37" fmla="*/ 2147483647 h 136"/>
                  <a:gd name="T38" fmla="*/ 2147483647 w 30"/>
                  <a:gd name="T39" fmla="*/ 2147483647 h 136"/>
                  <a:gd name="T40" fmla="*/ 2147483647 w 30"/>
                  <a:gd name="T41" fmla="*/ 2147483647 h 136"/>
                  <a:gd name="T42" fmla="*/ 2147483647 w 30"/>
                  <a:gd name="T43" fmla="*/ 2147483647 h 136"/>
                  <a:gd name="T44" fmla="*/ 2147483647 w 30"/>
                  <a:gd name="T45" fmla="*/ 2147483647 h 136"/>
                  <a:gd name="T46" fmla="*/ 2147483647 w 30"/>
                  <a:gd name="T47" fmla="*/ 2147483647 h 136"/>
                  <a:gd name="T48" fmla="*/ 2147483647 w 30"/>
                  <a:gd name="T49" fmla="*/ 2147483647 h 136"/>
                  <a:gd name="T50" fmla="*/ 2147483647 w 30"/>
                  <a:gd name="T51" fmla="*/ 2147483647 h 136"/>
                  <a:gd name="T52" fmla="*/ 2147483647 w 30"/>
                  <a:gd name="T53" fmla="*/ 2147483647 h 136"/>
                  <a:gd name="T54" fmla="*/ 2147483647 w 30"/>
                  <a:gd name="T55" fmla="*/ 2147483647 h 136"/>
                  <a:gd name="T56" fmla="*/ 2147483647 w 30"/>
                  <a:gd name="T57" fmla="*/ 2147483647 h 136"/>
                  <a:gd name="T58" fmla="*/ 2147483647 w 30"/>
                  <a:gd name="T59" fmla="*/ 2147483647 h 136"/>
                  <a:gd name="T60" fmla="*/ 2147483647 w 30"/>
                  <a:gd name="T61" fmla="*/ 2147483647 h 136"/>
                  <a:gd name="T62" fmla="*/ 2147483647 w 30"/>
                  <a:gd name="T63" fmla="*/ 2147483647 h 136"/>
                  <a:gd name="T64" fmla="*/ 2147483647 w 30"/>
                  <a:gd name="T65" fmla="*/ 2147483647 h 136"/>
                  <a:gd name="T66" fmla="*/ 2147483647 w 30"/>
                  <a:gd name="T67" fmla="*/ 2147483647 h 136"/>
                  <a:gd name="T68" fmla="*/ 2147483647 w 30"/>
                  <a:gd name="T69" fmla="*/ 2147483647 h 136"/>
                  <a:gd name="T70" fmla="*/ 2147483647 w 30"/>
                  <a:gd name="T71" fmla="*/ 2147483647 h 136"/>
                  <a:gd name="T72" fmla="*/ 2147483647 w 30"/>
                  <a:gd name="T73" fmla="*/ 2147483647 h 1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w 30"/>
                  <a:gd name="T112" fmla="*/ 0 h 136"/>
                  <a:gd name="T113" fmla="*/ 30 w 30"/>
                  <a:gd name="T114" fmla="*/ 136 h 136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T111" t="T112" r="T113" b="T114"/>
                <a:pathLst>
                  <a:path w="30" h="136">
                    <a:moveTo>
                      <a:pt x="4" y="134"/>
                    </a:moveTo>
                    <a:lnTo>
                      <a:pt x="4" y="134"/>
                    </a:lnTo>
                    <a:lnTo>
                      <a:pt x="2" y="124"/>
                    </a:lnTo>
                    <a:lnTo>
                      <a:pt x="0" y="104"/>
                    </a:lnTo>
                    <a:lnTo>
                      <a:pt x="2" y="62"/>
                    </a:lnTo>
                    <a:lnTo>
                      <a:pt x="2" y="50"/>
                    </a:lnTo>
                    <a:lnTo>
                      <a:pt x="6" y="40"/>
                    </a:lnTo>
                    <a:lnTo>
                      <a:pt x="10" y="28"/>
                    </a:lnTo>
                    <a:lnTo>
                      <a:pt x="8" y="24"/>
                    </a:lnTo>
                    <a:lnTo>
                      <a:pt x="6" y="18"/>
                    </a:lnTo>
                    <a:lnTo>
                      <a:pt x="0" y="8"/>
                    </a:lnTo>
                    <a:lnTo>
                      <a:pt x="0" y="6"/>
                    </a:lnTo>
                    <a:lnTo>
                      <a:pt x="4" y="2"/>
                    </a:lnTo>
                    <a:lnTo>
                      <a:pt x="14" y="0"/>
                    </a:lnTo>
                    <a:lnTo>
                      <a:pt x="18" y="2"/>
                    </a:lnTo>
                    <a:lnTo>
                      <a:pt x="22" y="4"/>
                    </a:lnTo>
                    <a:lnTo>
                      <a:pt x="26" y="8"/>
                    </a:lnTo>
                    <a:lnTo>
                      <a:pt x="24" y="14"/>
                    </a:lnTo>
                    <a:lnTo>
                      <a:pt x="20" y="20"/>
                    </a:lnTo>
                    <a:lnTo>
                      <a:pt x="20" y="24"/>
                    </a:lnTo>
                    <a:lnTo>
                      <a:pt x="20" y="28"/>
                    </a:lnTo>
                    <a:lnTo>
                      <a:pt x="26" y="66"/>
                    </a:lnTo>
                    <a:lnTo>
                      <a:pt x="30" y="104"/>
                    </a:lnTo>
                    <a:lnTo>
                      <a:pt x="28" y="114"/>
                    </a:lnTo>
                    <a:lnTo>
                      <a:pt x="22" y="126"/>
                    </a:lnTo>
                    <a:lnTo>
                      <a:pt x="18" y="132"/>
                    </a:lnTo>
                    <a:lnTo>
                      <a:pt x="14" y="134"/>
                    </a:lnTo>
                    <a:lnTo>
                      <a:pt x="8" y="136"/>
                    </a:lnTo>
                    <a:lnTo>
                      <a:pt x="4" y="134"/>
                    </a:lnTo>
                    <a:close/>
                  </a:path>
                </a:pathLst>
              </a:custGeom>
              <a:solidFill>
                <a:schemeClr val="tx1">
                  <a:lumMod val="50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>
                  <a:latin typeface="+mn-lt"/>
                  <a:cs typeface="+mn-cs"/>
                </a:endParaRPr>
              </a:p>
            </p:txBody>
          </p:sp>
        </p:grpSp>
        <p:sp>
          <p:nvSpPr>
            <p:cNvPr id="145" name="Freeform 5"/>
            <p:cNvSpPr>
              <a:spLocks noEditPoints="1"/>
            </p:cNvSpPr>
            <p:nvPr/>
          </p:nvSpPr>
          <p:spPr bwMode="auto">
            <a:xfrm>
              <a:off x="3362236" y="1943108"/>
              <a:ext cx="206337" cy="641843"/>
            </a:xfrm>
            <a:custGeom>
              <a:avLst/>
              <a:gdLst/>
              <a:ahLst/>
              <a:cxnLst>
                <a:cxn ang="0">
                  <a:pos x="463" y="788"/>
                </a:cxn>
                <a:cxn ang="0">
                  <a:pos x="470" y="944"/>
                </a:cxn>
                <a:cxn ang="0">
                  <a:pos x="497" y="1404"/>
                </a:cxn>
                <a:cxn ang="0">
                  <a:pos x="485" y="1473"/>
                </a:cxn>
                <a:cxn ang="0">
                  <a:pos x="509" y="1592"/>
                </a:cxn>
                <a:cxn ang="0">
                  <a:pos x="386" y="1521"/>
                </a:cxn>
                <a:cxn ang="0">
                  <a:pos x="349" y="1293"/>
                </a:cxn>
                <a:cxn ang="0">
                  <a:pos x="354" y="1113"/>
                </a:cxn>
                <a:cxn ang="0">
                  <a:pos x="301" y="973"/>
                </a:cxn>
                <a:cxn ang="0">
                  <a:pos x="279" y="1144"/>
                </a:cxn>
                <a:cxn ang="0">
                  <a:pos x="283" y="1349"/>
                </a:cxn>
                <a:cxn ang="0">
                  <a:pos x="308" y="1501"/>
                </a:cxn>
                <a:cxn ang="0">
                  <a:pos x="290" y="1540"/>
                </a:cxn>
                <a:cxn ang="0">
                  <a:pos x="270" y="1579"/>
                </a:cxn>
                <a:cxn ang="0">
                  <a:pos x="196" y="1603"/>
                </a:cxn>
                <a:cxn ang="0">
                  <a:pos x="192" y="1541"/>
                </a:cxn>
                <a:cxn ang="0">
                  <a:pos x="176" y="1433"/>
                </a:cxn>
                <a:cxn ang="0">
                  <a:pos x="171" y="1303"/>
                </a:cxn>
                <a:cxn ang="0">
                  <a:pos x="138" y="1082"/>
                </a:cxn>
                <a:cxn ang="0">
                  <a:pos x="115" y="941"/>
                </a:cxn>
                <a:cxn ang="0">
                  <a:pos x="24" y="874"/>
                </a:cxn>
                <a:cxn ang="0">
                  <a:pos x="14" y="848"/>
                </a:cxn>
                <a:cxn ang="0">
                  <a:pos x="11" y="479"/>
                </a:cxn>
                <a:cxn ang="0">
                  <a:pos x="108" y="264"/>
                </a:cxn>
                <a:cxn ang="0">
                  <a:pos x="176" y="217"/>
                </a:cxn>
                <a:cxn ang="0">
                  <a:pos x="159" y="156"/>
                </a:cxn>
                <a:cxn ang="0">
                  <a:pos x="146" y="92"/>
                </a:cxn>
                <a:cxn ang="0">
                  <a:pos x="295" y="92"/>
                </a:cxn>
                <a:cxn ang="0">
                  <a:pos x="293" y="144"/>
                </a:cxn>
                <a:cxn ang="0">
                  <a:pos x="283" y="172"/>
                </a:cxn>
                <a:cxn ang="0">
                  <a:pos x="304" y="231"/>
                </a:cxn>
                <a:cxn ang="0">
                  <a:pos x="409" y="260"/>
                </a:cxn>
                <a:cxn ang="0">
                  <a:pos x="457" y="306"/>
                </a:cxn>
                <a:cxn ang="0">
                  <a:pos x="472" y="389"/>
                </a:cxn>
                <a:cxn ang="0">
                  <a:pos x="494" y="532"/>
                </a:cxn>
                <a:cxn ang="0">
                  <a:pos x="500" y="582"/>
                </a:cxn>
                <a:cxn ang="0">
                  <a:pos x="498" y="634"/>
                </a:cxn>
                <a:cxn ang="0">
                  <a:pos x="475" y="785"/>
                </a:cxn>
                <a:cxn ang="0">
                  <a:pos x="193" y="359"/>
                </a:cxn>
                <a:cxn ang="0">
                  <a:pos x="383" y="694"/>
                </a:cxn>
                <a:cxn ang="0">
                  <a:pos x="324" y="529"/>
                </a:cxn>
                <a:cxn ang="0">
                  <a:pos x="299" y="423"/>
                </a:cxn>
                <a:cxn ang="0">
                  <a:pos x="281" y="220"/>
                </a:cxn>
                <a:cxn ang="0">
                  <a:pos x="244" y="305"/>
                </a:cxn>
                <a:cxn ang="0">
                  <a:pos x="201" y="258"/>
                </a:cxn>
                <a:cxn ang="0">
                  <a:pos x="179" y="220"/>
                </a:cxn>
              </a:cxnLst>
              <a:rect l="0" t="0" r="r" b="b"/>
              <a:pathLst>
                <a:path w="516" h="1608">
                  <a:moveTo>
                    <a:pt x="475" y="785"/>
                  </a:moveTo>
                  <a:cubicBezTo>
                    <a:pt x="474" y="788"/>
                    <a:pt x="466" y="786"/>
                    <a:pt x="463" y="788"/>
                  </a:cubicBezTo>
                  <a:cubicBezTo>
                    <a:pt x="468" y="818"/>
                    <a:pt x="460" y="848"/>
                    <a:pt x="460" y="873"/>
                  </a:cubicBezTo>
                  <a:cubicBezTo>
                    <a:pt x="459" y="895"/>
                    <a:pt x="466" y="920"/>
                    <a:pt x="470" y="944"/>
                  </a:cubicBezTo>
                  <a:cubicBezTo>
                    <a:pt x="481" y="1012"/>
                    <a:pt x="494" y="1085"/>
                    <a:pt x="496" y="1161"/>
                  </a:cubicBezTo>
                  <a:cubicBezTo>
                    <a:pt x="497" y="1241"/>
                    <a:pt x="497" y="1324"/>
                    <a:pt x="497" y="1404"/>
                  </a:cubicBezTo>
                  <a:cubicBezTo>
                    <a:pt x="497" y="1418"/>
                    <a:pt x="496" y="1430"/>
                    <a:pt x="494" y="1442"/>
                  </a:cubicBezTo>
                  <a:cubicBezTo>
                    <a:pt x="492" y="1453"/>
                    <a:pt x="486" y="1462"/>
                    <a:pt x="485" y="1473"/>
                  </a:cubicBezTo>
                  <a:cubicBezTo>
                    <a:pt x="482" y="1490"/>
                    <a:pt x="485" y="1509"/>
                    <a:pt x="473" y="1516"/>
                  </a:cubicBezTo>
                  <a:cubicBezTo>
                    <a:pt x="477" y="1549"/>
                    <a:pt x="516" y="1552"/>
                    <a:pt x="509" y="1592"/>
                  </a:cubicBezTo>
                  <a:cubicBezTo>
                    <a:pt x="483" y="1606"/>
                    <a:pt x="422" y="1608"/>
                    <a:pt x="417" y="1575"/>
                  </a:cubicBezTo>
                  <a:cubicBezTo>
                    <a:pt x="383" y="1580"/>
                    <a:pt x="386" y="1549"/>
                    <a:pt x="386" y="1521"/>
                  </a:cubicBezTo>
                  <a:cubicBezTo>
                    <a:pt x="387" y="1516"/>
                    <a:pt x="377" y="1520"/>
                    <a:pt x="376" y="1516"/>
                  </a:cubicBezTo>
                  <a:cubicBezTo>
                    <a:pt x="352" y="1460"/>
                    <a:pt x="350" y="1375"/>
                    <a:pt x="349" y="1293"/>
                  </a:cubicBezTo>
                  <a:cubicBezTo>
                    <a:pt x="349" y="1248"/>
                    <a:pt x="349" y="1201"/>
                    <a:pt x="351" y="1156"/>
                  </a:cubicBezTo>
                  <a:cubicBezTo>
                    <a:pt x="352" y="1142"/>
                    <a:pt x="355" y="1126"/>
                    <a:pt x="354" y="1113"/>
                  </a:cubicBezTo>
                  <a:cubicBezTo>
                    <a:pt x="353" y="1107"/>
                    <a:pt x="349" y="1097"/>
                    <a:pt x="346" y="1089"/>
                  </a:cubicBezTo>
                  <a:cubicBezTo>
                    <a:pt x="331" y="1049"/>
                    <a:pt x="316" y="1011"/>
                    <a:pt x="301" y="973"/>
                  </a:cubicBezTo>
                  <a:cubicBezTo>
                    <a:pt x="295" y="958"/>
                    <a:pt x="292" y="940"/>
                    <a:pt x="278" y="932"/>
                  </a:cubicBezTo>
                  <a:cubicBezTo>
                    <a:pt x="281" y="1000"/>
                    <a:pt x="279" y="1072"/>
                    <a:pt x="279" y="1144"/>
                  </a:cubicBezTo>
                  <a:cubicBezTo>
                    <a:pt x="279" y="1179"/>
                    <a:pt x="275" y="1213"/>
                    <a:pt x="277" y="1247"/>
                  </a:cubicBezTo>
                  <a:cubicBezTo>
                    <a:pt x="279" y="1282"/>
                    <a:pt x="278" y="1317"/>
                    <a:pt x="283" y="1349"/>
                  </a:cubicBezTo>
                  <a:cubicBezTo>
                    <a:pt x="287" y="1370"/>
                    <a:pt x="293" y="1391"/>
                    <a:pt x="298" y="1412"/>
                  </a:cubicBezTo>
                  <a:cubicBezTo>
                    <a:pt x="305" y="1442"/>
                    <a:pt x="312" y="1467"/>
                    <a:pt x="308" y="1501"/>
                  </a:cubicBezTo>
                  <a:cubicBezTo>
                    <a:pt x="307" y="1508"/>
                    <a:pt x="306" y="1518"/>
                    <a:pt x="304" y="1523"/>
                  </a:cubicBezTo>
                  <a:cubicBezTo>
                    <a:pt x="301" y="1530"/>
                    <a:pt x="292" y="1533"/>
                    <a:pt x="290" y="1540"/>
                  </a:cubicBezTo>
                  <a:cubicBezTo>
                    <a:pt x="287" y="1550"/>
                    <a:pt x="292" y="1563"/>
                    <a:pt x="287" y="1572"/>
                  </a:cubicBezTo>
                  <a:cubicBezTo>
                    <a:pt x="283" y="1577"/>
                    <a:pt x="277" y="1577"/>
                    <a:pt x="270" y="1579"/>
                  </a:cubicBezTo>
                  <a:cubicBezTo>
                    <a:pt x="256" y="1586"/>
                    <a:pt x="238" y="1602"/>
                    <a:pt x="224" y="1605"/>
                  </a:cubicBezTo>
                  <a:cubicBezTo>
                    <a:pt x="216" y="1606"/>
                    <a:pt x="206" y="1603"/>
                    <a:pt x="196" y="1603"/>
                  </a:cubicBezTo>
                  <a:cubicBezTo>
                    <a:pt x="178" y="1601"/>
                    <a:pt x="164" y="1602"/>
                    <a:pt x="166" y="1580"/>
                  </a:cubicBezTo>
                  <a:cubicBezTo>
                    <a:pt x="167" y="1564"/>
                    <a:pt x="186" y="1552"/>
                    <a:pt x="192" y="1541"/>
                  </a:cubicBezTo>
                  <a:cubicBezTo>
                    <a:pt x="201" y="1522"/>
                    <a:pt x="199" y="1480"/>
                    <a:pt x="191" y="1458"/>
                  </a:cubicBezTo>
                  <a:cubicBezTo>
                    <a:pt x="187" y="1449"/>
                    <a:pt x="178" y="1442"/>
                    <a:pt x="176" y="1433"/>
                  </a:cubicBezTo>
                  <a:cubicBezTo>
                    <a:pt x="171" y="1415"/>
                    <a:pt x="172" y="1388"/>
                    <a:pt x="173" y="1366"/>
                  </a:cubicBezTo>
                  <a:cubicBezTo>
                    <a:pt x="174" y="1344"/>
                    <a:pt x="173" y="1323"/>
                    <a:pt x="171" y="1303"/>
                  </a:cubicBezTo>
                  <a:cubicBezTo>
                    <a:pt x="167" y="1261"/>
                    <a:pt x="165" y="1218"/>
                    <a:pt x="161" y="1176"/>
                  </a:cubicBezTo>
                  <a:cubicBezTo>
                    <a:pt x="158" y="1143"/>
                    <a:pt x="145" y="1112"/>
                    <a:pt x="138" y="1082"/>
                  </a:cubicBezTo>
                  <a:cubicBezTo>
                    <a:pt x="134" y="1067"/>
                    <a:pt x="130" y="1050"/>
                    <a:pt x="127" y="1035"/>
                  </a:cubicBezTo>
                  <a:cubicBezTo>
                    <a:pt x="120" y="1006"/>
                    <a:pt x="112" y="977"/>
                    <a:pt x="115" y="941"/>
                  </a:cubicBezTo>
                  <a:cubicBezTo>
                    <a:pt x="89" y="937"/>
                    <a:pt x="66" y="941"/>
                    <a:pt x="51" y="927"/>
                  </a:cubicBezTo>
                  <a:cubicBezTo>
                    <a:pt x="39" y="918"/>
                    <a:pt x="26" y="891"/>
                    <a:pt x="24" y="874"/>
                  </a:cubicBezTo>
                  <a:cubicBezTo>
                    <a:pt x="23" y="866"/>
                    <a:pt x="23" y="859"/>
                    <a:pt x="25" y="852"/>
                  </a:cubicBezTo>
                  <a:cubicBezTo>
                    <a:pt x="25" y="847"/>
                    <a:pt x="15" y="852"/>
                    <a:pt x="14" y="848"/>
                  </a:cubicBezTo>
                  <a:cubicBezTo>
                    <a:pt x="10" y="782"/>
                    <a:pt x="0" y="717"/>
                    <a:pt x="0" y="647"/>
                  </a:cubicBezTo>
                  <a:cubicBezTo>
                    <a:pt x="1" y="592"/>
                    <a:pt x="9" y="536"/>
                    <a:pt x="11" y="479"/>
                  </a:cubicBezTo>
                  <a:cubicBezTo>
                    <a:pt x="12" y="422"/>
                    <a:pt x="15" y="364"/>
                    <a:pt x="24" y="310"/>
                  </a:cubicBezTo>
                  <a:cubicBezTo>
                    <a:pt x="50" y="295"/>
                    <a:pt x="77" y="277"/>
                    <a:pt x="108" y="264"/>
                  </a:cubicBezTo>
                  <a:cubicBezTo>
                    <a:pt x="120" y="259"/>
                    <a:pt x="135" y="256"/>
                    <a:pt x="144" y="249"/>
                  </a:cubicBezTo>
                  <a:cubicBezTo>
                    <a:pt x="154" y="242"/>
                    <a:pt x="174" y="227"/>
                    <a:pt x="176" y="217"/>
                  </a:cubicBezTo>
                  <a:cubicBezTo>
                    <a:pt x="179" y="199"/>
                    <a:pt x="171" y="184"/>
                    <a:pt x="167" y="172"/>
                  </a:cubicBezTo>
                  <a:cubicBezTo>
                    <a:pt x="164" y="166"/>
                    <a:pt x="162" y="159"/>
                    <a:pt x="159" y="156"/>
                  </a:cubicBezTo>
                  <a:cubicBezTo>
                    <a:pt x="154" y="149"/>
                    <a:pt x="146" y="148"/>
                    <a:pt x="142" y="142"/>
                  </a:cubicBezTo>
                  <a:cubicBezTo>
                    <a:pt x="135" y="129"/>
                    <a:pt x="132" y="97"/>
                    <a:pt x="146" y="92"/>
                  </a:cubicBezTo>
                  <a:cubicBezTo>
                    <a:pt x="148" y="42"/>
                    <a:pt x="164" y="7"/>
                    <a:pt x="213" y="3"/>
                  </a:cubicBezTo>
                  <a:cubicBezTo>
                    <a:pt x="269" y="0"/>
                    <a:pt x="302" y="30"/>
                    <a:pt x="295" y="92"/>
                  </a:cubicBezTo>
                  <a:cubicBezTo>
                    <a:pt x="297" y="99"/>
                    <a:pt x="302" y="98"/>
                    <a:pt x="304" y="105"/>
                  </a:cubicBezTo>
                  <a:cubicBezTo>
                    <a:pt x="307" y="119"/>
                    <a:pt x="300" y="137"/>
                    <a:pt x="293" y="144"/>
                  </a:cubicBezTo>
                  <a:cubicBezTo>
                    <a:pt x="290" y="147"/>
                    <a:pt x="287" y="148"/>
                    <a:pt x="285" y="152"/>
                  </a:cubicBezTo>
                  <a:cubicBezTo>
                    <a:pt x="284" y="156"/>
                    <a:pt x="285" y="165"/>
                    <a:pt x="283" y="172"/>
                  </a:cubicBezTo>
                  <a:cubicBezTo>
                    <a:pt x="282" y="181"/>
                    <a:pt x="277" y="197"/>
                    <a:pt x="281" y="210"/>
                  </a:cubicBezTo>
                  <a:cubicBezTo>
                    <a:pt x="282" y="216"/>
                    <a:pt x="296" y="227"/>
                    <a:pt x="304" y="231"/>
                  </a:cubicBezTo>
                  <a:cubicBezTo>
                    <a:pt x="314" y="235"/>
                    <a:pt x="328" y="236"/>
                    <a:pt x="340" y="240"/>
                  </a:cubicBezTo>
                  <a:cubicBezTo>
                    <a:pt x="363" y="247"/>
                    <a:pt x="384" y="253"/>
                    <a:pt x="409" y="260"/>
                  </a:cubicBezTo>
                  <a:cubicBezTo>
                    <a:pt x="423" y="265"/>
                    <a:pt x="437" y="267"/>
                    <a:pt x="444" y="275"/>
                  </a:cubicBezTo>
                  <a:cubicBezTo>
                    <a:pt x="449" y="281"/>
                    <a:pt x="453" y="295"/>
                    <a:pt x="457" y="306"/>
                  </a:cubicBezTo>
                  <a:cubicBezTo>
                    <a:pt x="461" y="317"/>
                    <a:pt x="465" y="329"/>
                    <a:pt x="467" y="338"/>
                  </a:cubicBezTo>
                  <a:cubicBezTo>
                    <a:pt x="470" y="355"/>
                    <a:pt x="469" y="372"/>
                    <a:pt x="472" y="389"/>
                  </a:cubicBezTo>
                  <a:cubicBezTo>
                    <a:pt x="477" y="421"/>
                    <a:pt x="482" y="452"/>
                    <a:pt x="487" y="485"/>
                  </a:cubicBezTo>
                  <a:cubicBezTo>
                    <a:pt x="489" y="501"/>
                    <a:pt x="490" y="518"/>
                    <a:pt x="494" y="532"/>
                  </a:cubicBezTo>
                  <a:cubicBezTo>
                    <a:pt x="497" y="542"/>
                    <a:pt x="507" y="551"/>
                    <a:pt x="507" y="563"/>
                  </a:cubicBezTo>
                  <a:cubicBezTo>
                    <a:pt x="507" y="570"/>
                    <a:pt x="501" y="576"/>
                    <a:pt x="500" y="582"/>
                  </a:cubicBezTo>
                  <a:cubicBezTo>
                    <a:pt x="500" y="588"/>
                    <a:pt x="505" y="593"/>
                    <a:pt x="505" y="599"/>
                  </a:cubicBezTo>
                  <a:cubicBezTo>
                    <a:pt x="506" y="613"/>
                    <a:pt x="500" y="624"/>
                    <a:pt x="498" y="634"/>
                  </a:cubicBezTo>
                  <a:cubicBezTo>
                    <a:pt x="495" y="646"/>
                    <a:pt x="495" y="660"/>
                    <a:pt x="493" y="673"/>
                  </a:cubicBezTo>
                  <a:cubicBezTo>
                    <a:pt x="488" y="708"/>
                    <a:pt x="480" y="750"/>
                    <a:pt x="475" y="785"/>
                  </a:cubicBezTo>
                  <a:close/>
                  <a:moveTo>
                    <a:pt x="177" y="222"/>
                  </a:moveTo>
                  <a:cubicBezTo>
                    <a:pt x="171" y="267"/>
                    <a:pt x="183" y="313"/>
                    <a:pt x="193" y="359"/>
                  </a:cubicBezTo>
                  <a:cubicBezTo>
                    <a:pt x="213" y="461"/>
                    <a:pt x="204" y="581"/>
                    <a:pt x="208" y="694"/>
                  </a:cubicBezTo>
                  <a:cubicBezTo>
                    <a:pt x="266" y="693"/>
                    <a:pt x="327" y="693"/>
                    <a:pt x="383" y="694"/>
                  </a:cubicBezTo>
                  <a:cubicBezTo>
                    <a:pt x="378" y="677"/>
                    <a:pt x="370" y="659"/>
                    <a:pt x="362" y="642"/>
                  </a:cubicBezTo>
                  <a:cubicBezTo>
                    <a:pt x="347" y="606"/>
                    <a:pt x="336" y="567"/>
                    <a:pt x="324" y="529"/>
                  </a:cubicBezTo>
                  <a:cubicBezTo>
                    <a:pt x="318" y="511"/>
                    <a:pt x="310" y="492"/>
                    <a:pt x="306" y="473"/>
                  </a:cubicBezTo>
                  <a:cubicBezTo>
                    <a:pt x="302" y="458"/>
                    <a:pt x="301" y="440"/>
                    <a:pt x="299" y="423"/>
                  </a:cubicBezTo>
                  <a:cubicBezTo>
                    <a:pt x="293" y="371"/>
                    <a:pt x="288" y="317"/>
                    <a:pt x="285" y="267"/>
                  </a:cubicBezTo>
                  <a:cubicBezTo>
                    <a:pt x="284" y="252"/>
                    <a:pt x="288" y="234"/>
                    <a:pt x="281" y="220"/>
                  </a:cubicBezTo>
                  <a:cubicBezTo>
                    <a:pt x="270" y="239"/>
                    <a:pt x="263" y="261"/>
                    <a:pt x="251" y="279"/>
                  </a:cubicBezTo>
                  <a:cubicBezTo>
                    <a:pt x="251" y="290"/>
                    <a:pt x="252" y="301"/>
                    <a:pt x="244" y="305"/>
                  </a:cubicBezTo>
                  <a:cubicBezTo>
                    <a:pt x="242" y="304"/>
                    <a:pt x="245" y="297"/>
                    <a:pt x="243" y="296"/>
                  </a:cubicBezTo>
                  <a:cubicBezTo>
                    <a:pt x="225" y="286"/>
                    <a:pt x="215" y="272"/>
                    <a:pt x="201" y="258"/>
                  </a:cubicBezTo>
                  <a:cubicBezTo>
                    <a:pt x="194" y="250"/>
                    <a:pt x="185" y="241"/>
                    <a:pt x="182" y="232"/>
                  </a:cubicBezTo>
                  <a:cubicBezTo>
                    <a:pt x="181" y="228"/>
                    <a:pt x="183" y="223"/>
                    <a:pt x="179" y="220"/>
                  </a:cubicBezTo>
                  <a:cubicBezTo>
                    <a:pt x="177" y="220"/>
                    <a:pt x="177" y="221"/>
                    <a:pt x="177" y="222"/>
                  </a:cubicBezTo>
                  <a:close/>
                </a:path>
              </a:pathLst>
            </a:custGeom>
            <a:solidFill>
              <a:schemeClr val="tx1">
                <a:lumMod val="50000"/>
              </a:schemeClr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</p:grpSp>
      <p:grpSp>
        <p:nvGrpSpPr>
          <p:cNvPr id="158" name="Gruppe 314"/>
          <p:cNvGrpSpPr>
            <a:grpSpLocks/>
          </p:cNvGrpSpPr>
          <p:nvPr/>
        </p:nvGrpSpPr>
        <p:grpSpPr bwMode="auto">
          <a:xfrm>
            <a:off x="2801195" y="4618139"/>
            <a:ext cx="691502" cy="904272"/>
            <a:chOff x="2763312" y="5003357"/>
            <a:chExt cx="691085" cy="903202"/>
          </a:xfrm>
        </p:grpSpPr>
        <p:sp>
          <p:nvSpPr>
            <p:cNvPr id="159" name="Freeform 58"/>
            <p:cNvSpPr>
              <a:spLocks/>
            </p:cNvSpPr>
            <p:nvPr/>
          </p:nvSpPr>
          <p:spPr bwMode="auto">
            <a:xfrm flipH="1">
              <a:off x="3009768" y="5660975"/>
              <a:ext cx="408930" cy="221786"/>
            </a:xfrm>
            <a:custGeom>
              <a:avLst/>
              <a:gdLst/>
              <a:ahLst/>
              <a:cxnLst>
                <a:cxn ang="0">
                  <a:pos x="938" y="2624"/>
                </a:cxn>
                <a:cxn ang="0">
                  <a:pos x="426" y="1362"/>
                </a:cxn>
                <a:cxn ang="0">
                  <a:pos x="134" y="796"/>
                </a:cxn>
                <a:cxn ang="0">
                  <a:pos x="2" y="490"/>
                </a:cxn>
                <a:cxn ang="0">
                  <a:pos x="108" y="404"/>
                </a:cxn>
                <a:cxn ang="0">
                  <a:pos x="262" y="510"/>
                </a:cxn>
                <a:cxn ang="0">
                  <a:pos x="400" y="788"/>
                </a:cxn>
                <a:cxn ang="0">
                  <a:pos x="574" y="1034"/>
                </a:cxn>
                <a:cxn ang="0">
                  <a:pos x="788" y="1312"/>
                </a:cxn>
                <a:cxn ang="0">
                  <a:pos x="1018" y="1390"/>
                </a:cxn>
                <a:cxn ang="0">
                  <a:pos x="1174" y="1188"/>
                </a:cxn>
                <a:cxn ang="0">
                  <a:pos x="1176" y="916"/>
                </a:cxn>
                <a:cxn ang="0">
                  <a:pos x="1290" y="462"/>
                </a:cxn>
                <a:cxn ang="0">
                  <a:pos x="1192" y="354"/>
                </a:cxn>
                <a:cxn ang="0">
                  <a:pos x="1146" y="166"/>
                </a:cxn>
                <a:cxn ang="0">
                  <a:pos x="1242" y="12"/>
                </a:cxn>
                <a:cxn ang="0">
                  <a:pos x="1396" y="20"/>
                </a:cxn>
                <a:cxn ang="0">
                  <a:pos x="1478" y="260"/>
                </a:cxn>
                <a:cxn ang="0">
                  <a:pos x="1522" y="484"/>
                </a:cxn>
                <a:cxn ang="0">
                  <a:pos x="1840" y="674"/>
                </a:cxn>
                <a:cxn ang="0">
                  <a:pos x="1958" y="860"/>
                </a:cxn>
                <a:cxn ang="0">
                  <a:pos x="2072" y="812"/>
                </a:cxn>
                <a:cxn ang="0">
                  <a:pos x="2266" y="422"/>
                </a:cxn>
                <a:cxn ang="0">
                  <a:pos x="2374" y="390"/>
                </a:cxn>
                <a:cxn ang="0">
                  <a:pos x="2546" y="646"/>
                </a:cxn>
                <a:cxn ang="0">
                  <a:pos x="2794" y="1176"/>
                </a:cxn>
                <a:cxn ang="0">
                  <a:pos x="2970" y="1282"/>
                </a:cxn>
                <a:cxn ang="0">
                  <a:pos x="3178" y="1132"/>
                </a:cxn>
                <a:cxn ang="0">
                  <a:pos x="3334" y="948"/>
                </a:cxn>
                <a:cxn ang="0">
                  <a:pos x="3362" y="594"/>
                </a:cxn>
                <a:cxn ang="0">
                  <a:pos x="3548" y="576"/>
                </a:cxn>
                <a:cxn ang="0">
                  <a:pos x="3564" y="760"/>
                </a:cxn>
                <a:cxn ang="0">
                  <a:pos x="3570" y="1086"/>
                </a:cxn>
                <a:cxn ang="0">
                  <a:pos x="3580" y="1326"/>
                </a:cxn>
                <a:cxn ang="0">
                  <a:pos x="3680" y="1670"/>
                </a:cxn>
                <a:cxn ang="0">
                  <a:pos x="3818" y="1678"/>
                </a:cxn>
                <a:cxn ang="0">
                  <a:pos x="3972" y="1288"/>
                </a:cxn>
                <a:cxn ang="0">
                  <a:pos x="4152" y="786"/>
                </a:cxn>
                <a:cxn ang="0">
                  <a:pos x="4272" y="476"/>
                </a:cxn>
                <a:cxn ang="0">
                  <a:pos x="4352" y="350"/>
                </a:cxn>
                <a:cxn ang="0">
                  <a:pos x="4446" y="414"/>
                </a:cxn>
                <a:cxn ang="0">
                  <a:pos x="4430" y="708"/>
                </a:cxn>
                <a:cxn ang="0">
                  <a:pos x="4386" y="846"/>
                </a:cxn>
                <a:cxn ang="0">
                  <a:pos x="4458" y="966"/>
                </a:cxn>
                <a:cxn ang="0">
                  <a:pos x="4584" y="906"/>
                </a:cxn>
                <a:cxn ang="0">
                  <a:pos x="4850" y="384"/>
                </a:cxn>
                <a:cxn ang="0">
                  <a:pos x="5006" y="256"/>
                </a:cxn>
                <a:cxn ang="0">
                  <a:pos x="5104" y="406"/>
                </a:cxn>
                <a:cxn ang="0">
                  <a:pos x="5176" y="732"/>
                </a:cxn>
                <a:cxn ang="0">
                  <a:pos x="5412" y="676"/>
                </a:cxn>
                <a:cxn ang="0">
                  <a:pos x="5728" y="394"/>
                </a:cxn>
                <a:cxn ang="0">
                  <a:pos x="5866" y="414"/>
                </a:cxn>
                <a:cxn ang="0">
                  <a:pos x="5778" y="646"/>
                </a:cxn>
                <a:cxn ang="0">
                  <a:pos x="5374" y="1184"/>
                </a:cxn>
                <a:cxn ang="0">
                  <a:pos x="4986" y="1952"/>
                </a:cxn>
                <a:cxn ang="0">
                  <a:pos x="4798" y="2604"/>
                </a:cxn>
                <a:cxn ang="0">
                  <a:pos x="3234" y="2760"/>
                </a:cxn>
                <a:cxn ang="0">
                  <a:pos x="1684" y="2748"/>
                </a:cxn>
              </a:cxnLst>
              <a:rect l="0" t="0" r="r" b="b"/>
              <a:pathLst>
                <a:path w="5888" h="2780">
                  <a:moveTo>
                    <a:pt x="1006" y="2640"/>
                  </a:moveTo>
                  <a:lnTo>
                    <a:pt x="1006" y="2640"/>
                  </a:lnTo>
                  <a:lnTo>
                    <a:pt x="996" y="2642"/>
                  </a:lnTo>
                  <a:lnTo>
                    <a:pt x="986" y="2644"/>
                  </a:lnTo>
                  <a:lnTo>
                    <a:pt x="972" y="2644"/>
                  </a:lnTo>
                  <a:lnTo>
                    <a:pt x="960" y="2642"/>
                  </a:lnTo>
                  <a:lnTo>
                    <a:pt x="948" y="2636"/>
                  </a:lnTo>
                  <a:lnTo>
                    <a:pt x="944" y="2634"/>
                  </a:lnTo>
                  <a:lnTo>
                    <a:pt x="940" y="2630"/>
                  </a:lnTo>
                  <a:lnTo>
                    <a:pt x="938" y="2624"/>
                  </a:lnTo>
                  <a:lnTo>
                    <a:pt x="936" y="2618"/>
                  </a:lnTo>
                  <a:lnTo>
                    <a:pt x="936" y="2618"/>
                  </a:lnTo>
                  <a:lnTo>
                    <a:pt x="926" y="2588"/>
                  </a:lnTo>
                  <a:lnTo>
                    <a:pt x="904" y="2526"/>
                  </a:lnTo>
                  <a:lnTo>
                    <a:pt x="820" y="2324"/>
                  </a:lnTo>
                  <a:lnTo>
                    <a:pt x="698" y="2032"/>
                  </a:lnTo>
                  <a:lnTo>
                    <a:pt x="548" y="1676"/>
                  </a:lnTo>
                  <a:lnTo>
                    <a:pt x="548" y="1676"/>
                  </a:lnTo>
                  <a:lnTo>
                    <a:pt x="512" y="1580"/>
                  </a:lnTo>
                  <a:lnTo>
                    <a:pt x="426" y="1362"/>
                  </a:lnTo>
                  <a:lnTo>
                    <a:pt x="376" y="1238"/>
                  </a:lnTo>
                  <a:lnTo>
                    <a:pt x="328" y="1122"/>
                  </a:lnTo>
                  <a:lnTo>
                    <a:pt x="286" y="1024"/>
                  </a:lnTo>
                  <a:lnTo>
                    <a:pt x="268" y="988"/>
                  </a:lnTo>
                  <a:lnTo>
                    <a:pt x="254" y="962"/>
                  </a:lnTo>
                  <a:lnTo>
                    <a:pt x="254" y="962"/>
                  </a:lnTo>
                  <a:lnTo>
                    <a:pt x="238" y="938"/>
                  </a:lnTo>
                  <a:lnTo>
                    <a:pt x="216" y="908"/>
                  </a:lnTo>
                  <a:lnTo>
                    <a:pt x="164" y="836"/>
                  </a:lnTo>
                  <a:lnTo>
                    <a:pt x="134" y="796"/>
                  </a:lnTo>
                  <a:lnTo>
                    <a:pt x="106" y="754"/>
                  </a:lnTo>
                  <a:lnTo>
                    <a:pt x="78" y="710"/>
                  </a:lnTo>
                  <a:lnTo>
                    <a:pt x="52" y="666"/>
                  </a:lnTo>
                  <a:lnTo>
                    <a:pt x="30" y="624"/>
                  </a:lnTo>
                  <a:lnTo>
                    <a:pt x="14" y="582"/>
                  </a:lnTo>
                  <a:lnTo>
                    <a:pt x="8" y="562"/>
                  </a:lnTo>
                  <a:lnTo>
                    <a:pt x="4" y="542"/>
                  </a:lnTo>
                  <a:lnTo>
                    <a:pt x="0" y="524"/>
                  </a:lnTo>
                  <a:lnTo>
                    <a:pt x="0" y="506"/>
                  </a:lnTo>
                  <a:lnTo>
                    <a:pt x="2" y="490"/>
                  </a:lnTo>
                  <a:lnTo>
                    <a:pt x="6" y="474"/>
                  </a:lnTo>
                  <a:lnTo>
                    <a:pt x="12" y="460"/>
                  </a:lnTo>
                  <a:lnTo>
                    <a:pt x="22" y="448"/>
                  </a:lnTo>
                  <a:lnTo>
                    <a:pt x="32" y="436"/>
                  </a:lnTo>
                  <a:lnTo>
                    <a:pt x="48" y="426"/>
                  </a:lnTo>
                  <a:lnTo>
                    <a:pt x="66" y="418"/>
                  </a:lnTo>
                  <a:lnTo>
                    <a:pt x="88" y="410"/>
                  </a:lnTo>
                  <a:lnTo>
                    <a:pt x="88" y="410"/>
                  </a:lnTo>
                  <a:lnTo>
                    <a:pt x="92" y="408"/>
                  </a:lnTo>
                  <a:lnTo>
                    <a:pt x="108" y="404"/>
                  </a:lnTo>
                  <a:lnTo>
                    <a:pt x="118" y="404"/>
                  </a:lnTo>
                  <a:lnTo>
                    <a:pt x="130" y="404"/>
                  </a:lnTo>
                  <a:lnTo>
                    <a:pt x="144" y="406"/>
                  </a:lnTo>
                  <a:lnTo>
                    <a:pt x="160" y="410"/>
                  </a:lnTo>
                  <a:lnTo>
                    <a:pt x="176" y="416"/>
                  </a:lnTo>
                  <a:lnTo>
                    <a:pt x="192" y="426"/>
                  </a:lnTo>
                  <a:lnTo>
                    <a:pt x="210" y="440"/>
                  </a:lnTo>
                  <a:lnTo>
                    <a:pt x="228" y="458"/>
                  </a:lnTo>
                  <a:lnTo>
                    <a:pt x="246" y="482"/>
                  </a:lnTo>
                  <a:lnTo>
                    <a:pt x="262" y="510"/>
                  </a:lnTo>
                  <a:lnTo>
                    <a:pt x="280" y="544"/>
                  </a:lnTo>
                  <a:lnTo>
                    <a:pt x="296" y="586"/>
                  </a:lnTo>
                  <a:lnTo>
                    <a:pt x="296" y="586"/>
                  </a:lnTo>
                  <a:lnTo>
                    <a:pt x="314" y="628"/>
                  </a:lnTo>
                  <a:lnTo>
                    <a:pt x="328" y="664"/>
                  </a:lnTo>
                  <a:lnTo>
                    <a:pt x="344" y="696"/>
                  </a:lnTo>
                  <a:lnTo>
                    <a:pt x="360" y="724"/>
                  </a:lnTo>
                  <a:lnTo>
                    <a:pt x="374" y="748"/>
                  </a:lnTo>
                  <a:lnTo>
                    <a:pt x="388" y="770"/>
                  </a:lnTo>
                  <a:lnTo>
                    <a:pt x="400" y="788"/>
                  </a:lnTo>
                  <a:lnTo>
                    <a:pt x="414" y="802"/>
                  </a:lnTo>
                  <a:lnTo>
                    <a:pt x="436" y="824"/>
                  </a:lnTo>
                  <a:lnTo>
                    <a:pt x="456" y="840"/>
                  </a:lnTo>
                  <a:lnTo>
                    <a:pt x="474" y="852"/>
                  </a:lnTo>
                  <a:lnTo>
                    <a:pt x="486" y="862"/>
                  </a:lnTo>
                  <a:lnTo>
                    <a:pt x="486" y="862"/>
                  </a:lnTo>
                  <a:lnTo>
                    <a:pt x="498" y="878"/>
                  </a:lnTo>
                  <a:lnTo>
                    <a:pt x="510" y="900"/>
                  </a:lnTo>
                  <a:lnTo>
                    <a:pt x="540" y="962"/>
                  </a:lnTo>
                  <a:lnTo>
                    <a:pt x="574" y="1034"/>
                  </a:lnTo>
                  <a:lnTo>
                    <a:pt x="592" y="1074"/>
                  </a:lnTo>
                  <a:lnTo>
                    <a:pt x="612" y="1110"/>
                  </a:lnTo>
                  <a:lnTo>
                    <a:pt x="612" y="1110"/>
                  </a:lnTo>
                  <a:lnTo>
                    <a:pt x="624" y="1130"/>
                  </a:lnTo>
                  <a:lnTo>
                    <a:pt x="642" y="1156"/>
                  </a:lnTo>
                  <a:lnTo>
                    <a:pt x="664" y="1186"/>
                  </a:lnTo>
                  <a:lnTo>
                    <a:pt x="690" y="1218"/>
                  </a:lnTo>
                  <a:lnTo>
                    <a:pt x="720" y="1250"/>
                  </a:lnTo>
                  <a:lnTo>
                    <a:pt x="754" y="1282"/>
                  </a:lnTo>
                  <a:lnTo>
                    <a:pt x="788" y="1312"/>
                  </a:lnTo>
                  <a:lnTo>
                    <a:pt x="826" y="1340"/>
                  </a:lnTo>
                  <a:lnTo>
                    <a:pt x="864" y="1364"/>
                  </a:lnTo>
                  <a:lnTo>
                    <a:pt x="884" y="1374"/>
                  </a:lnTo>
                  <a:lnTo>
                    <a:pt x="902" y="1382"/>
                  </a:lnTo>
                  <a:lnTo>
                    <a:pt x="922" y="1388"/>
                  </a:lnTo>
                  <a:lnTo>
                    <a:pt x="942" y="1394"/>
                  </a:lnTo>
                  <a:lnTo>
                    <a:pt x="962" y="1396"/>
                  </a:lnTo>
                  <a:lnTo>
                    <a:pt x="980" y="1396"/>
                  </a:lnTo>
                  <a:lnTo>
                    <a:pt x="1000" y="1394"/>
                  </a:lnTo>
                  <a:lnTo>
                    <a:pt x="1018" y="1390"/>
                  </a:lnTo>
                  <a:lnTo>
                    <a:pt x="1036" y="1384"/>
                  </a:lnTo>
                  <a:lnTo>
                    <a:pt x="1054" y="1374"/>
                  </a:lnTo>
                  <a:lnTo>
                    <a:pt x="1070" y="1360"/>
                  </a:lnTo>
                  <a:lnTo>
                    <a:pt x="1088" y="1344"/>
                  </a:lnTo>
                  <a:lnTo>
                    <a:pt x="1104" y="1326"/>
                  </a:lnTo>
                  <a:lnTo>
                    <a:pt x="1118" y="1302"/>
                  </a:lnTo>
                  <a:lnTo>
                    <a:pt x="1118" y="1302"/>
                  </a:lnTo>
                  <a:lnTo>
                    <a:pt x="1144" y="1258"/>
                  </a:lnTo>
                  <a:lnTo>
                    <a:pt x="1162" y="1220"/>
                  </a:lnTo>
                  <a:lnTo>
                    <a:pt x="1174" y="1188"/>
                  </a:lnTo>
                  <a:lnTo>
                    <a:pt x="1180" y="1162"/>
                  </a:lnTo>
                  <a:lnTo>
                    <a:pt x="1182" y="1138"/>
                  </a:lnTo>
                  <a:lnTo>
                    <a:pt x="1182" y="1118"/>
                  </a:lnTo>
                  <a:lnTo>
                    <a:pt x="1180" y="1098"/>
                  </a:lnTo>
                  <a:lnTo>
                    <a:pt x="1176" y="1076"/>
                  </a:lnTo>
                  <a:lnTo>
                    <a:pt x="1172" y="1054"/>
                  </a:lnTo>
                  <a:lnTo>
                    <a:pt x="1168" y="1028"/>
                  </a:lnTo>
                  <a:lnTo>
                    <a:pt x="1168" y="996"/>
                  </a:lnTo>
                  <a:lnTo>
                    <a:pt x="1170" y="960"/>
                  </a:lnTo>
                  <a:lnTo>
                    <a:pt x="1176" y="916"/>
                  </a:lnTo>
                  <a:lnTo>
                    <a:pt x="1188" y="862"/>
                  </a:lnTo>
                  <a:lnTo>
                    <a:pt x="1206" y="800"/>
                  </a:lnTo>
                  <a:lnTo>
                    <a:pt x="1232" y="726"/>
                  </a:lnTo>
                  <a:lnTo>
                    <a:pt x="1232" y="726"/>
                  </a:lnTo>
                  <a:lnTo>
                    <a:pt x="1258" y="652"/>
                  </a:lnTo>
                  <a:lnTo>
                    <a:pt x="1276" y="590"/>
                  </a:lnTo>
                  <a:lnTo>
                    <a:pt x="1286" y="538"/>
                  </a:lnTo>
                  <a:lnTo>
                    <a:pt x="1292" y="496"/>
                  </a:lnTo>
                  <a:lnTo>
                    <a:pt x="1292" y="478"/>
                  </a:lnTo>
                  <a:lnTo>
                    <a:pt x="1290" y="462"/>
                  </a:lnTo>
                  <a:lnTo>
                    <a:pt x="1290" y="448"/>
                  </a:lnTo>
                  <a:lnTo>
                    <a:pt x="1286" y="434"/>
                  </a:lnTo>
                  <a:lnTo>
                    <a:pt x="1282" y="424"/>
                  </a:lnTo>
                  <a:lnTo>
                    <a:pt x="1278" y="414"/>
                  </a:lnTo>
                  <a:lnTo>
                    <a:pt x="1272" y="406"/>
                  </a:lnTo>
                  <a:lnTo>
                    <a:pt x="1266" y="398"/>
                  </a:lnTo>
                  <a:lnTo>
                    <a:pt x="1252" y="386"/>
                  </a:lnTo>
                  <a:lnTo>
                    <a:pt x="1238" y="378"/>
                  </a:lnTo>
                  <a:lnTo>
                    <a:pt x="1206" y="362"/>
                  </a:lnTo>
                  <a:lnTo>
                    <a:pt x="1192" y="354"/>
                  </a:lnTo>
                  <a:lnTo>
                    <a:pt x="1180" y="344"/>
                  </a:lnTo>
                  <a:lnTo>
                    <a:pt x="1170" y="332"/>
                  </a:lnTo>
                  <a:lnTo>
                    <a:pt x="1166" y="324"/>
                  </a:lnTo>
                  <a:lnTo>
                    <a:pt x="1162" y="314"/>
                  </a:lnTo>
                  <a:lnTo>
                    <a:pt x="1162" y="314"/>
                  </a:lnTo>
                  <a:lnTo>
                    <a:pt x="1152" y="270"/>
                  </a:lnTo>
                  <a:lnTo>
                    <a:pt x="1150" y="246"/>
                  </a:lnTo>
                  <a:lnTo>
                    <a:pt x="1146" y="220"/>
                  </a:lnTo>
                  <a:lnTo>
                    <a:pt x="1146" y="194"/>
                  </a:lnTo>
                  <a:lnTo>
                    <a:pt x="1146" y="166"/>
                  </a:lnTo>
                  <a:lnTo>
                    <a:pt x="1148" y="140"/>
                  </a:lnTo>
                  <a:lnTo>
                    <a:pt x="1154" y="114"/>
                  </a:lnTo>
                  <a:lnTo>
                    <a:pt x="1162" y="90"/>
                  </a:lnTo>
                  <a:lnTo>
                    <a:pt x="1172" y="68"/>
                  </a:lnTo>
                  <a:lnTo>
                    <a:pt x="1188" y="48"/>
                  </a:lnTo>
                  <a:lnTo>
                    <a:pt x="1196" y="38"/>
                  </a:lnTo>
                  <a:lnTo>
                    <a:pt x="1206" y="30"/>
                  </a:lnTo>
                  <a:lnTo>
                    <a:pt x="1218" y="24"/>
                  </a:lnTo>
                  <a:lnTo>
                    <a:pt x="1230" y="16"/>
                  </a:lnTo>
                  <a:lnTo>
                    <a:pt x="1242" y="12"/>
                  </a:lnTo>
                  <a:lnTo>
                    <a:pt x="1258" y="6"/>
                  </a:lnTo>
                  <a:lnTo>
                    <a:pt x="1274" y="4"/>
                  </a:lnTo>
                  <a:lnTo>
                    <a:pt x="1290" y="0"/>
                  </a:lnTo>
                  <a:lnTo>
                    <a:pt x="1308" y="0"/>
                  </a:lnTo>
                  <a:lnTo>
                    <a:pt x="1328" y="0"/>
                  </a:lnTo>
                  <a:lnTo>
                    <a:pt x="1328" y="0"/>
                  </a:lnTo>
                  <a:lnTo>
                    <a:pt x="1348" y="2"/>
                  </a:lnTo>
                  <a:lnTo>
                    <a:pt x="1366" y="6"/>
                  </a:lnTo>
                  <a:lnTo>
                    <a:pt x="1382" y="12"/>
                  </a:lnTo>
                  <a:lnTo>
                    <a:pt x="1396" y="20"/>
                  </a:lnTo>
                  <a:lnTo>
                    <a:pt x="1408" y="30"/>
                  </a:lnTo>
                  <a:lnTo>
                    <a:pt x="1420" y="42"/>
                  </a:lnTo>
                  <a:lnTo>
                    <a:pt x="1430" y="54"/>
                  </a:lnTo>
                  <a:lnTo>
                    <a:pt x="1440" y="70"/>
                  </a:lnTo>
                  <a:lnTo>
                    <a:pt x="1446" y="84"/>
                  </a:lnTo>
                  <a:lnTo>
                    <a:pt x="1454" y="102"/>
                  </a:lnTo>
                  <a:lnTo>
                    <a:pt x="1464" y="138"/>
                  </a:lnTo>
                  <a:lnTo>
                    <a:pt x="1470" y="178"/>
                  </a:lnTo>
                  <a:lnTo>
                    <a:pt x="1474" y="218"/>
                  </a:lnTo>
                  <a:lnTo>
                    <a:pt x="1478" y="260"/>
                  </a:lnTo>
                  <a:lnTo>
                    <a:pt x="1478" y="300"/>
                  </a:lnTo>
                  <a:lnTo>
                    <a:pt x="1482" y="376"/>
                  </a:lnTo>
                  <a:lnTo>
                    <a:pt x="1484" y="408"/>
                  </a:lnTo>
                  <a:lnTo>
                    <a:pt x="1490" y="436"/>
                  </a:lnTo>
                  <a:lnTo>
                    <a:pt x="1492" y="448"/>
                  </a:lnTo>
                  <a:lnTo>
                    <a:pt x="1496" y="458"/>
                  </a:lnTo>
                  <a:lnTo>
                    <a:pt x="1502" y="468"/>
                  </a:lnTo>
                  <a:lnTo>
                    <a:pt x="1506" y="474"/>
                  </a:lnTo>
                  <a:lnTo>
                    <a:pt x="1506" y="474"/>
                  </a:lnTo>
                  <a:lnTo>
                    <a:pt x="1522" y="484"/>
                  </a:lnTo>
                  <a:lnTo>
                    <a:pt x="1538" y="496"/>
                  </a:lnTo>
                  <a:lnTo>
                    <a:pt x="1582" y="518"/>
                  </a:lnTo>
                  <a:lnTo>
                    <a:pt x="1634" y="540"/>
                  </a:lnTo>
                  <a:lnTo>
                    <a:pt x="1690" y="566"/>
                  </a:lnTo>
                  <a:lnTo>
                    <a:pt x="1718" y="580"/>
                  </a:lnTo>
                  <a:lnTo>
                    <a:pt x="1746" y="596"/>
                  </a:lnTo>
                  <a:lnTo>
                    <a:pt x="1772" y="614"/>
                  </a:lnTo>
                  <a:lnTo>
                    <a:pt x="1796" y="632"/>
                  </a:lnTo>
                  <a:lnTo>
                    <a:pt x="1820" y="652"/>
                  </a:lnTo>
                  <a:lnTo>
                    <a:pt x="1840" y="674"/>
                  </a:lnTo>
                  <a:lnTo>
                    <a:pt x="1856" y="698"/>
                  </a:lnTo>
                  <a:lnTo>
                    <a:pt x="1870" y="726"/>
                  </a:lnTo>
                  <a:lnTo>
                    <a:pt x="1870" y="726"/>
                  </a:lnTo>
                  <a:lnTo>
                    <a:pt x="1882" y="752"/>
                  </a:lnTo>
                  <a:lnTo>
                    <a:pt x="1894" y="776"/>
                  </a:lnTo>
                  <a:lnTo>
                    <a:pt x="1906" y="798"/>
                  </a:lnTo>
                  <a:lnTo>
                    <a:pt x="1918" y="818"/>
                  </a:lnTo>
                  <a:lnTo>
                    <a:pt x="1932" y="834"/>
                  </a:lnTo>
                  <a:lnTo>
                    <a:pt x="1944" y="848"/>
                  </a:lnTo>
                  <a:lnTo>
                    <a:pt x="1958" y="860"/>
                  </a:lnTo>
                  <a:lnTo>
                    <a:pt x="1970" y="868"/>
                  </a:lnTo>
                  <a:lnTo>
                    <a:pt x="1984" y="872"/>
                  </a:lnTo>
                  <a:lnTo>
                    <a:pt x="1996" y="874"/>
                  </a:lnTo>
                  <a:lnTo>
                    <a:pt x="2010" y="872"/>
                  </a:lnTo>
                  <a:lnTo>
                    <a:pt x="2022" y="868"/>
                  </a:lnTo>
                  <a:lnTo>
                    <a:pt x="2036" y="860"/>
                  </a:lnTo>
                  <a:lnTo>
                    <a:pt x="2048" y="848"/>
                  </a:lnTo>
                  <a:lnTo>
                    <a:pt x="2060" y="832"/>
                  </a:lnTo>
                  <a:lnTo>
                    <a:pt x="2072" y="812"/>
                  </a:lnTo>
                  <a:lnTo>
                    <a:pt x="2072" y="812"/>
                  </a:lnTo>
                  <a:lnTo>
                    <a:pt x="2084" y="790"/>
                  </a:lnTo>
                  <a:lnTo>
                    <a:pt x="2096" y="760"/>
                  </a:lnTo>
                  <a:lnTo>
                    <a:pt x="2124" y="694"/>
                  </a:lnTo>
                  <a:lnTo>
                    <a:pt x="2154" y="618"/>
                  </a:lnTo>
                  <a:lnTo>
                    <a:pt x="2170" y="582"/>
                  </a:lnTo>
                  <a:lnTo>
                    <a:pt x="2188" y="544"/>
                  </a:lnTo>
                  <a:lnTo>
                    <a:pt x="2206" y="508"/>
                  </a:lnTo>
                  <a:lnTo>
                    <a:pt x="2226" y="476"/>
                  </a:lnTo>
                  <a:lnTo>
                    <a:pt x="2246" y="448"/>
                  </a:lnTo>
                  <a:lnTo>
                    <a:pt x="2266" y="422"/>
                  </a:lnTo>
                  <a:lnTo>
                    <a:pt x="2278" y="412"/>
                  </a:lnTo>
                  <a:lnTo>
                    <a:pt x="2288" y="404"/>
                  </a:lnTo>
                  <a:lnTo>
                    <a:pt x="2300" y="396"/>
                  </a:lnTo>
                  <a:lnTo>
                    <a:pt x="2312" y="390"/>
                  </a:lnTo>
                  <a:lnTo>
                    <a:pt x="2324" y="386"/>
                  </a:lnTo>
                  <a:lnTo>
                    <a:pt x="2336" y="384"/>
                  </a:lnTo>
                  <a:lnTo>
                    <a:pt x="2348" y="384"/>
                  </a:lnTo>
                  <a:lnTo>
                    <a:pt x="2362" y="386"/>
                  </a:lnTo>
                  <a:lnTo>
                    <a:pt x="2362" y="386"/>
                  </a:lnTo>
                  <a:lnTo>
                    <a:pt x="2374" y="390"/>
                  </a:lnTo>
                  <a:lnTo>
                    <a:pt x="2386" y="394"/>
                  </a:lnTo>
                  <a:lnTo>
                    <a:pt x="2398" y="402"/>
                  </a:lnTo>
                  <a:lnTo>
                    <a:pt x="2410" y="408"/>
                  </a:lnTo>
                  <a:lnTo>
                    <a:pt x="2430" y="428"/>
                  </a:lnTo>
                  <a:lnTo>
                    <a:pt x="2450" y="450"/>
                  </a:lnTo>
                  <a:lnTo>
                    <a:pt x="2470" y="476"/>
                  </a:lnTo>
                  <a:lnTo>
                    <a:pt x="2486" y="504"/>
                  </a:lnTo>
                  <a:lnTo>
                    <a:pt x="2502" y="536"/>
                  </a:lnTo>
                  <a:lnTo>
                    <a:pt x="2518" y="572"/>
                  </a:lnTo>
                  <a:lnTo>
                    <a:pt x="2546" y="646"/>
                  </a:lnTo>
                  <a:lnTo>
                    <a:pt x="2574" y="724"/>
                  </a:lnTo>
                  <a:lnTo>
                    <a:pt x="2602" y="802"/>
                  </a:lnTo>
                  <a:lnTo>
                    <a:pt x="2630" y="878"/>
                  </a:lnTo>
                  <a:lnTo>
                    <a:pt x="2630" y="878"/>
                  </a:lnTo>
                  <a:lnTo>
                    <a:pt x="2666" y="960"/>
                  </a:lnTo>
                  <a:lnTo>
                    <a:pt x="2686" y="1004"/>
                  </a:lnTo>
                  <a:lnTo>
                    <a:pt x="2710" y="1050"/>
                  </a:lnTo>
                  <a:lnTo>
                    <a:pt x="2736" y="1094"/>
                  </a:lnTo>
                  <a:lnTo>
                    <a:pt x="2764" y="1136"/>
                  </a:lnTo>
                  <a:lnTo>
                    <a:pt x="2794" y="1176"/>
                  </a:lnTo>
                  <a:lnTo>
                    <a:pt x="2808" y="1194"/>
                  </a:lnTo>
                  <a:lnTo>
                    <a:pt x="2826" y="1212"/>
                  </a:lnTo>
                  <a:lnTo>
                    <a:pt x="2842" y="1226"/>
                  </a:lnTo>
                  <a:lnTo>
                    <a:pt x="2858" y="1240"/>
                  </a:lnTo>
                  <a:lnTo>
                    <a:pt x="2876" y="1252"/>
                  </a:lnTo>
                  <a:lnTo>
                    <a:pt x="2894" y="1264"/>
                  </a:lnTo>
                  <a:lnTo>
                    <a:pt x="2912" y="1272"/>
                  </a:lnTo>
                  <a:lnTo>
                    <a:pt x="2932" y="1278"/>
                  </a:lnTo>
                  <a:lnTo>
                    <a:pt x="2950" y="1282"/>
                  </a:lnTo>
                  <a:lnTo>
                    <a:pt x="2970" y="1282"/>
                  </a:lnTo>
                  <a:lnTo>
                    <a:pt x="2990" y="1280"/>
                  </a:lnTo>
                  <a:lnTo>
                    <a:pt x="3010" y="1276"/>
                  </a:lnTo>
                  <a:lnTo>
                    <a:pt x="3030" y="1268"/>
                  </a:lnTo>
                  <a:lnTo>
                    <a:pt x="3052" y="1258"/>
                  </a:lnTo>
                  <a:lnTo>
                    <a:pt x="3072" y="1244"/>
                  </a:lnTo>
                  <a:lnTo>
                    <a:pt x="3094" y="1226"/>
                  </a:lnTo>
                  <a:lnTo>
                    <a:pt x="3116" y="1206"/>
                  </a:lnTo>
                  <a:lnTo>
                    <a:pt x="3138" y="1180"/>
                  </a:lnTo>
                  <a:lnTo>
                    <a:pt x="3138" y="1180"/>
                  </a:lnTo>
                  <a:lnTo>
                    <a:pt x="3178" y="1132"/>
                  </a:lnTo>
                  <a:lnTo>
                    <a:pt x="3214" y="1092"/>
                  </a:lnTo>
                  <a:lnTo>
                    <a:pt x="3244" y="1062"/>
                  </a:lnTo>
                  <a:lnTo>
                    <a:pt x="3270" y="1040"/>
                  </a:lnTo>
                  <a:lnTo>
                    <a:pt x="3306" y="1010"/>
                  </a:lnTo>
                  <a:lnTo>
                    <a:pt x="3318" y="1000"/>
                  </a:lnTo>
                  <a:lnTo>
                    <a:pt x="3326" y="992"/>
                  </a:lnTo>
                  <a:lnTo>
                    <a:pt x="3332" y="984"/>
                  </a:lnTo>
                  <a:lnTo>
                    <a:pt x="3334" y="974"/>
                  </a:lnTo>
                  <a:lnTo>
                    <a:pt x="3336" y="962"/>
                  </a:lnTo>
                  <a:lnTo>
                    <a:pt x="3334" y="948"/>
                  </a:lnTo>
                  <a:lnTo>
                    <a:pt x="3324" y="900"/>
                  </a:lnTo>
                  <a:lnTo>
                    <a:pt x="3312" y="822"/>
                  </a:lnTo>
                  <a:lnTo>
                    <a:pt x="3312" y="822"/>
                  </a:lnTo>
                  <a:lnTo>
                    <a:pt x="3308" y="776"/>
                  </a:lnTo>
                  <a:lnTo>
                    <a:pt x="3308" y="734"/>
                  </a:lnTo>
                  <a:lnTo>
                    <a:pt x="3314" y="696"/>
                  </a:lnTo>
                  <a:lnTo>
                    <a:pt x="3322" y="664"/>
                  </a:lnTo>
                  <a:lnTo>
                    <a:pt x="3332" y="636"/>
                  </a:lnTo>
                  <a:lnTo>
                    <a:pt x="3346" y="612"/>
                  </a:lnTo>
                  <a:lnTo>
                    <a:pt x="3362" y="594"/>
                  </a:lnTo>
                  <a:lnTo>
                    <a:pt x="3382" y="578"/>
                  </a:lnTo>
                  <a:lnTo>
                    <a:pt x="3402" y="566"/>
                  </a:lnTo>
                  <a:lnTo>
                    <a:pt x="3422" y="558"/>
                  </a:lnTo>
                  <a:lnTo>
                    <a:pt x="3444" y="554"/>
                  </a:lnTo>
                  <a:lnTo>
                    <a:pt x="3466" y="552"/>
                  </a:lnTo>
                  <a:lnTo>
                    <a:pt x="3488" y="554"/>
                  </a:lnTo>
                  <a:lnTo>
                    <a:pt x="3510" y="560"/>
                  </a:lnTo>
                  <a:lnTo>
                    <a:pt x="3530" y="566"/>
                  </a:lnTo>
                  <a:lnTo>
                    <a:pt x="3548" y="576"/>
                  </a:lnTo>
                  <a:lnTo>
                    <a:pt x="3548" y="576"/>
                  </a:lnTo>
                  <a:lnTo>
                    <a:pt x="3556" y="584"/>
                  </a:lnTo>
                  <a:lnTo>
                    <a:pt x="3564" y="590"/>
                  </a:lnTo>
                  <a:lnTo>
                    <a:pt x="3570" y="598"/>
                  </a:lnTo>
                  <a:lnTo>
                    <a:pt x="3574" y="606"/>
                  </a:lnTo>
                  <a:lnTo>
                    <a:pt x="3578" y="616"/>
                  </a:lnTo>
                  <a:lnTo>
                    <a:pt x="3580" y="626"/>
                  </a:lnTo>
                  <a:lnTo>
                    <a:pt x="3582" y="650"/>
                  </a:lnTo>
                  <a:lnTo>
                    <a:pt x="3580" y="674"/>
                  </a:lnTo>
                  <a:lnTo>
                    <a:pt x="3576" y="700"/>
                  </a:lnTo>
                  <a:lnTo>
                    <a:pt x="3564" y="760"/>
                  </a:lnTo>
                  <a:lnTo>
                    <a:pt x="3548" y="822"/>
                  </a:lnTo>
                  <a:lnTo>
                    <a:pt x="3542" y="852"/>
                  </a:lnTo>
                  <a:lnTo>
                    <a:pt x="3536" y="884"/>
                  </a:lnTo>
                  <a:lnTo>
                    <a:pt x="3532" y="916"/>
                  </a:lnTo>
                  <a:lnTo>
                    <a:pt x="3530" y="946"/>
                  </a:lnTo>
                  <a:lnTo>
                    <a:pt x="3534" y="974"/>
                  </a:lnTo>
                  <a:lnTo>
                    <a:pt x="3540" y="1002"/>
                  </a:lnTo>
                  <a:lnTo>
                    <a:pt x="3540" y="1002"/>
                  </a:lnTo>
                  <a:lnTo>
                    <a:pt x="3556" y="1050"/>
                  </a:lnTo>
                  <a:lnTo>
                    <a:pt x="3570" y="1086"/>
                  </a:lnTo>
                  <a:lnTo>
                    <a:pt x="3582" y="1116"/>
                  </a:lnTo>
                  <a:lnTo>
                    <a:pt x="3592" y="1142"/>
                  </a:lnTo>
                  <a:lnTo>
                    <a:pt x="3596" y="1170"/>
                  </a:lnTo>
                  <a:lnTo>
                    <a:pt x="3598" y="1186"/>
                  </a:lnTo>
                  <a:lnTo>
                    <a:pt x="3598" y="1202"/>
                  </a:lnTo>
                  <a:lnTo>
                    <a:pt x="3594" y="1242"/>
                  </a:lnTo>
                  <a:lnTo>
                    <a:pt x="3584" y="1294"/>
                  </a:lnTo>
                  <a:lnTo>
                    <a:pt x="3584" y="1294"/>
                  </a:lnTo>
                  <a:lnTo>
                    <a:pt x="3580" y="1310"/>
                  </a:lnTo>
                  <a:lnTo>
                    <a:pt x="3580" y="1326"/>
                  </a:lnTo>
                  <a:lnTo>
                    <a:pt x="3580" y="1366"/>
                  </a:lnTo>
                  <a:lnTo>
                    <a:pt x="3584" y="1410"/>
                  </a:lnTo>
                  <a:lnTo>
                    <a:pt x="3592" y="1458"/>
                  </a:lnTo>
                  <a:lnTo>
                    <a:pt x="3604" y="1506"/>
                  </a:lnTo>
                  <a:lnTo>
                    <a:pt x="3618" y="1552"/>
                  </a:lnTo>
                  <a:lnTo>
                    <a:pt x="3636" y="1598"/>
                  </a:lnTo>
                  <a:lnTo>
                    <a:pt x="3646" y="1618"/>
                  </a:lnTo>
                  <a:lnTo>
                    <a:pt x="3656" y="1636"/>
                  </a:lnTo>
                  <a:lnTo>
                    <a:pt x="3668" y="1654"/>
                  </a:lnTo>
                  <a:lnTo>
                    <a:pt x="3680" y="1670"/>
                  </a:lnTo>
                  <a:lnTo>
                    <a:pt x="3692" y="1684"/>
                  </a:lnTo>
                  <a:lnTo>
                    <a:pt x="3704" y="1696"/>
                  </a:lnTo>
                  <a:lnTo>
                    <a:pt x="3718" y="1704"/>
                  </a:lnTo>
                  <a:lnTo>
                    <a:pt x="3732" y="1710"/>
                  </a:lnTo>
                  <a:lnTo>
                    <a:pt x="3746" y="1714"/>
                  </a:lnTo>
                  <a:lnTo>
                    <a:pt x="3760" y="1714"/>
                  </a:lnTo>
                  <a:lnTo>
                    <a:pt x="3774" y="1710"/>
                  </a:lnTo>
                  <a:lnTo>
                    <a:pt x="3788" y="1704"/>
                  </a:lnTo>
                  <a:lnTo>
                    <a:pt x="3804" y="1694"/>
                  </a:lnTo>
                  <a:lnTo>
                    <a:pt x="3818" y="1678"/>
                  </a:lnTo>
                  <a:lnTo>
                    <a:pt x="3834" y="1660"/>
                  </a:lnTo>
                  <a:lnTo>
                    <a:pt x="3850" y="1636"/>
                  </a:lnTo>
                  <a:lnTo>
                    <a:pt x="3866" y="1606"/>
                  </a:lnTo>
                  <a:lnTo>
                    <a:pt x="3880" y="1574"/>
                  </a:lnTo>
                  <a:lnTo>
                    <a:pt x="3880" y="1574"/>
                  </a:lnTo>
                  <a:lnTo>
                    <a:pt x="3908" y="1504"/>
                  </a:lnTo>
                  <a:lnTo>
                    <a:pt x="3930" y="1442"/>
                  </a:lnTo>
                  <a:lnTo>
                    <a:pt x="3948" y="1386"/>
                  </a:lnTo>
                  <a:lnTo>
                    <a:pt x="3962" y="1334"/>
                  </a:lnTo>
                  <a:lnTo>
                    <a:pt x="3972" y="1288"/>
                  </a:lnTo>
                  <a:lnTo>
                    <a:pt x="3980" y="1244"/>
                  </a:lnTo>
                  <a:lnTo>
                    <a:pt x="3994" y="1160"/>
                  </a:lnTo>
                  <a:lnTo>
                    <a:pt x="4000" y="1120"/>
                  </a:lnTo>
                  <a:lnTo>
                    <a:pt x="4010" y="1080"/>
                  </a:lnTo>
                  <a:lnTo>
                    <a:pt x="4022" y="1038"/>
                  </a:lnTo>
                  <a:lnTo>
                    <a:pt x="4036" y="996"/>
                  </a:lnTo>
                  <a:lnTo>
                    <a:pt x="4056" y="950"/>
                  </a:lnTo>
                  <a:lnTo>
                    <a:pt x="4082" y="900"/>
                  </a:lnTo>
                  <a:lnTo>
                    <a:pt x="4114" y="846"/>
                  </a:lnTo>
                  <a:lnTo>
                    <a:pt x="4152" y="786"/>
                  </a:lnTo>
                  <a:lnTo>
                    <a:pt x="4152" y="786"/>
                  </a:lnTo>
                  <a:lnTo>
                    <a:pt x="4190" y="728"/>
                  </a:lnTo>
                  <a:lnTo>
                    <a:pt x="4220" y="680"/>
                  </a:lnTo>
                  <a:lnTo>
                    <a:pt x="4240" y="636"/>
                  </a:lnTo>
                  <a:lnTo>
                    <a:pt x="4256" y="600"/>
                  </a:lnTo>
                  <a:lnTo>
                    <a:pt x="4266" y="570"/>
                  </a:lnTo>
                  <a:lnTo>
                    <a:pt x="4272" y="546"/>
                  </a:lnTo>
                  <a:lnTo>
                    <a:pt x="4274" y="524"/>
                  </a:lnTo>
                  <a:lnTo>
                    <a:pt x="4274" y="506"/>
                  </a:lnTo>
                  <a:lnTo>
                    <a:pt x="4272" y="476"/>
                  </a:lnTo>
                  <a:lnTo>
                    <a:pt x="4270" y="462"/>
                  </a:lnTo>
                  <a:lnTo>
                    <a:pt x="4272" y="448"/>
                  </a:lnTo>
                  <a:lnTo>
                    <a:pt x="4276" y="434"/>
                  </a:lnTo>
                  <a:lnTo>
                    <a:pt x="4284" y="418"/>
                  </a:lnTo>
                  <a:lnTo>
                    <a:pt x="4298" y="398"/>
                  </a:lnTo>
                  <a:lnTo>
                    <a:pt x="4318" y="376"/>
                  </a:lnTo>
                  <a:lnTo>
                    <a:pt x="4318" y="376"/>
                  </a:lnTo>
                  <a:lnTo>
                    <a:pt x="4330" y="364"/>
                  </a:lnTo>
                  <a:lnTo>
                    <a:pt x="4340" y="356"/>
                  </a:lnTo>
                  <a:lnTo>
                    <a:pt x="4352" y="350"/>
                  </a:lnTo>
                  <a:lnTo>
                    <a:pt x="4362" y="346"/>
                  </a:lnTo>
                  <a:lnTo>
                    <a:pt x="4372" y="346"/>
                  </a:lnTo>
                  <a:lnTo>
                    <a:pt x="4382" y="346"/>
                  </a:lnTo>
                  <a:lnTo>
                    <a:pt x="4392" y="348"/>
                  </a:lnTo>
                  <a:lnTo>
                    <a:pt x="4400" y="354"/>
                  </a:lnTo>
                  <a:lnTo>
                    <a:pt x="4410" y="360"/>
                  </a:lnTo>
                  <a:lnTo>
                    <a:pt x="4418" y="368"/>
                  </a:lnTo>
                  <a:lnTo>
                    <a:pt x="4426" y="376"/>
                  </a:lnTo>
                  <a:lnTo>
                    <a:pt x="4432" y="388"/>
                  </a:lnTo>
                  <a:lnTo>
                    <a:pt x="4446" y="414"/>
                  </a:lnTo>
                  <a:lnTo>
                    <a:pt x="4456" y="442"/>
                  </a:lnTo>
                  <a:lnTo>
                    <a:pt x="4464" y="476"/>
                  </a:lnTo>
                  <a:lnTo>
                    <a:pt x="4468" y="512"/>
                  </a:lnTo>
                  <a:lnTo>
                    <a:pt x="4470" y="548"/>
                  </a:lnTo>
                  <a:lnTo>
                    <a:pt x="4468" y="586"/>
                  </a:lnTo>
                  <a:lnTo>
                    <a:pt x="4462" y="622"/>
                  </a:lnTo>
                  <a:lnTo>
                    <a:pt x="4452" y="658"/>
                  </a:lnTo>
                  <a:lnTo>
                    <a:pt x="4446" y="676"/>
                  </a:lnTo>
                  <a:lnTo>
                    <a:pt x="4438" y="692"/>
                  </a:lnTo>
                  <a:lnTo>
                    <a:pt x="4430" y="708"/>
                  </a:lnTo>
                  <a:lnTo>
                    <a:pt x="4420" y="722"/>
                  </a:lnTo>
                  <a:lnTo>
                    <a:pt x="4420" y="722"/>
                  </a:lnTo>
                  <a:lnTo>
                    <a:pt x="4410" y="736"/>
                  </a:lnTo>
                  <a:lnTo>
                    <a:pt x="4402" y="752"/>
                  </a:lnTo>
                  <a:lnTo>
                    <a:pt x="4396" y="768"/>
                  </a:lnTo>
                  <a:lnTo>
                    <a:pt x="4390" y="782"/>
                  </a:lnTo>
                  <a:lnTo>
                    <a:pt x="4388" y="798"/>
                  </a:lnTo>
                  <a:lnTo>
                    <a:pt x="4386" y="814"/>
                  </a:lnTo>
                  <a:lnTo>
                    <a:pt x="4384" y="830"/>
                  </a:lnTo>
                  <a:lnTo>
                    <a:pt x="4386" y="846"/>
                  </a:lnTo>
                  <a:lnTo>
                    <a:pt x="4386" y="860"/>
                  </a:lnTo>
                  <a:lnTo>
                    <a:pt x="4390" y="874"/>
                  </a:lnTo>
                  <a:lnTo>
                    <a:pt x="4398" y="902"/>
                  </a:lnTo>
                  <a:lnTo>
                    <a:pt x="4404" y="914"/>
                  </a:lnTo>
                  <a:lnTo>
                    <a:pt x="4412" y="926"/>
                  </a:lnTo>
                  <a:lnTo>
                    <a:pt x="4420" y="936"/>
                  </a:lnTo>
                  <a:lnTo>
                    <a:pt x="4428" y="946"/>
                  </a:lnTo>
                  <a:lnTo>
                    <a:pt x="4436" y="954"/>
                  </a:lnTo>
                  <a:lnTo>
                    <a:pt x="4446" y="960"/>
                  </a:lnTo>
                  <a:lnTo>
                    <a:pt x="4458" y="966"/>
                  </a:lnTo>
                  <a:lnTo>
                    <a:pt x="4468" y="968"/>
                  </a:lnTo>
                  <a:lnTo>
                    <a:pt x="4480" y="970"/>
                  </a:lnTo>
                  <a:lnTo>
                    <a:pt x="4492" y="970"/>
                  </a:lnTo>
                  <a:lnTo>
                    <a:pt x="4504" y="968"/>
                  </a:lnTo>
                  <a:lnTo>
                    <a:pt x="4518" y="964"/>
                  </a:lnTo>
                  <a:lnTo>
                    <a:pt x="4530" y="958"/>
                  </a:lnTo>
                  <a:lnTo>
                    <a:pt x="4544" y="948"/>
                  </a:lnTo>
                  <a:lnTo>
                    <a:pt x="4556" y="938"/>
                  </a:lnTo>
                  <a:lnTo>
                    <a:pt x="4570" y="924"/>
                  </a:lnTo>
                  <a:lnTo>
                    <a:pt x="4584" y="906"/>
                  </a:lnTo>
                  <a:lnTo>
                    <a:pt x="4598" y="888"/>
                  </a:lnTo>
                  <a:lnTo>
                    <a:pt x="4610" y="864"/>
                  </a:lnTo>
                  <a:lnTo>
                    <a:pt x="4624" y="840"/>
                  </a:lnTo>
                  <a:lnTo>
                    <a:pt x="4624" y="840"/>
                  </a:lnTo>
                  <a:lnTo>
                    <a:pt x="4678" y="724"/>
                  </a:lnTo>
                  <a:lnTo>
                    <a:pt x="4734" y="604"/>
                  </a:lnTo>
                  <a:lnTo>
                    <a:pt x="4762" y="544"/>
                  </a:lnTo>
                  <a:lnTo>
                    <a:pt x="4792" y="486"/>
                  </a:lnTo>
                  <a:lnTo>
                    <a:pt x="4820" y="432"/>
                  </a:lnTo>
                  <a:lnTo>
                    <a:pt x="4850" y="384"/>
                  </a:lnTo>
                  <a:lnTo>
                    <a:pt x="4878" y="340"/>
                  </a:lnTo>
                  <a:lnTo>
                    <a:pt x="4894" y="322"/>
                  </a:lnTo>
                  <a:lnTo>
                    <a:pt x="4908" y="304"/>
                  </a:lnTo>
                  <a:lnTo>
                    <a:pt x="4922" y="290"/>
                  </a:lnTo>
                  <a:lnTo>
                    <a:pt x="4936" y="278"/>
                  </a:lnTo>
                  <a:lnTo>
                    <a:pt x="4950" y="268"/>
                  </a:lnTo>
                  <a:lnTo>
                    <a:pt x="4964" y="260"/>
                  </a:lnTo>
                  <a:lnTo>
                    <a:pt x="4978" y="256"/>
                  </a:lnTo>
                  <a:lnTo>
                    <a:pt x="4992" y="254"/>
                  </a:lnTo>
                  <a:lnTo>
                    <a:pt x="5006" y="256"/>
                  </a:lnTo>
                  <a:lnTo>
                    <a:pt x="5018" y="260"/>
                  </a:lnTo>
                  <a:lnTo>
                    <a:pt x="5032" y="268"/>
                  </a:lnTo>
                  <a:lnTo>
                    <a:pt x="5044" y="280"/>
                  </a:lnTo>
                  <a:lnTo>
                    <a:pt x="5058" y="296"/>
                  </a:lnTo>
                  <a:lnTo>
                    <a:pt x="5070" y="314"/>
                  </a:lnTo>
                  <a:lnTo>
                    <a:pt x="5070" y="314"/>
                  </a:lnTo>
                  <a:lnTo>
                    <a:pt x="5080" y="336"/>
                  </a:lnTo>
                  <a:lnTo>
                    <a:pt x="5090" y="358"/>
                  </a:lnTo>
                  <a:lnTo>
                    <a:pt x="5098" y="382"/>
                  </a:lnTo>
                  <a:lnTo>
                    <a:pt x="5104" y="406"/>
                  </a:lnTo>
                  <a:lnTo>
                    <a:pt x="5114" y="454"/>
                  </a:lnTo>
                  <a:lnTo>
                    <a:pt x="5120" y="502"/>
                  </a:lnTo>
                  <a:lnTo>
                    <a:pt x="5128" y="592"/>
                  </a:lnTo>
                  <a:lnTo>
                    <a:pt x="5132" y="634"/>
                  </a:lnTo>
                  <a:lnTo>
                    <a:pt x="5138" y="670"/>
                  </a:lnTo>
                  <a:lnTo>
                    <a:pt x="5144" y="686"/>
                  </a:lnTo>
                  <a:lnTo>
                    <a:pt x="5150" y="700"/>
                  </a:lnTo>
                  <a:lnTo>
                    <a:pt x="5156" y="712"/>
                  </a:lnTo>
                  <a:lnTo>
                    <a:pt x="5164" y="724"/>
                  </a:lnTo>
                  <a:lnTo>
                    <a:pt x="5176" y="732"/>
                  </a:lnTo>
                  <a:lnTo>
                    <a:pt x="5188" y="740"/>
                  </a:lnTo>
                  <a:lnTo>
                    <a:pt x="5202" y="744"/>
                  </a:lnTo>
                  <a:lnTo>
                    <a:pt x="5218" y="746"/>
                  </a:lnTo>
                  <a:lnTo>
                    <a:pt x="5236" y="744"/>
                  </a:lnTo>
                  <a:lnTo>
                    <a:pt x="5258" y="740"/>
                  </a:lnTo>
                  <a:lnTo>
                    <a:pt x="5282" y="734"/>
                  </a:lnTo>
                  <a:lnTo>
                    <a:pt x="5310" y="724"/>
                  </a:lnTo>
                  <a:lnTo>
                    <a:pt x="5340" y="712"/>
                  </a:lnTo>
                  <a:lnTo>
                    <a:pt x="5374" y="696"/>
                  </a:lnTo>
                  <a:lnTo>
                    <a:pt x="5412" y="676"/>
                  </a:lnTo>
                  <a:lnTo>
                    <a:pt x="5452" y="652"/>
                  </a:lnTo>
                  <a:lnTo>
                    <a:pt x="5452" y="652"/>
                  </a:lnTo>
                  <a:lnTo>
                    <a:pt x="5488" y="610"/>
                  </a:lnTo>
                  <a:lnTo>
                    <a:pt x="5528" y="566"/>
                  </a:lnTo>
                  <a:lnTo>
                    <a:pt x="5576" y="516"/>
                  </a:lnTo>
                  <a:lnTo>
                    <a:pt x="5628" y="468"/>
                  </a:lnTo>
                  <a:lnTo>
                    <a:pt x="5654" y="444"/>
                  </a:lnTo>
                  <a:lnTo>
                    <a:pt x="5680" y="424"/>
                  </a:lnTo>
                  <a:lnTo>
                    <a:pt x="5704" y="408"/>
                  </a:lnTo>
                  <a:lnTo>
                    <a:pt x="5728" y="394"/>
                  </a:lnTo>
                  <a:lnTo>
                    <a:pt x="5750" y="386"/>
                  </a:lnTo>
                  <a:lnTo>
                    <a:pt x="5760" y="384"/>
                  </a:lnTo>
                  <a:lnTo>
                    <a:pt x="5768" y="384"/>
                  </a:lnTo>
                  <a:lnTo>
                    <a:pt x="5768" y="384"/>
                  </a:lnTo>
                  <a:lnTo>
                    <a:pt x="5786" y="386"/>
                  </a:lnTo>
                  <a:lnTo>
                    <a:pt x="5804" y="388"/>
                  </a:lnTo>
                  <a:lnTo>
                    <a:pt x="5822" y="392"/>
                  </a:lnTo>
                  <a:lnTo>
                    <a:pt x="5838" y="398"/>
                  </a:lnTo>
                  <a:lnTo>
                    <a:pt x="5852" y="406"/>
                  </a:lnTo>
                  <a:lnTo>
                    <a:pt x="5866" y="414"/>
                  </a:lnTo>
                  <a:lnTo>
                    <a:pt x="5876" y="426"/>
                  </a:lnTo>
                  <a:lnTo>
                    <a:pt x="5884" y="438"/>
                  </a:lnTo>
                  <a:lnTo>
                    <a:pt x="5888" y="454"/>
                  </a:lnTo>
                  <a:lnTo>
                    <a:pt x="5888" y="472"/>
                  </a:lnTo>
                  <a:lnTo>
                    <a:pt x="5884" y="494"/>
                  </a:lnTo>
                  <a:lnTo>
                    <a:pt x="5874" y="518"/>
                  </a:lnTo>
                  <a:lnTo>
                    <a:pt x="5860" y="546"/>
                  </a:lnTo>
                  <a:lnTo>
                    <a:pt x="5838" y="576"/>
                  </a:lnTo>
                  <a:lnTo>
                    <a:pt x="5812" y="610"/>
                  </a:lnTo>
                  <a:lnTo>
                    <a:pt x="5778" y="646"/>
                  </a:lnTo>
                  <a:lnTo>
                    <a:pt x="5778" y="646"/>
                  </a:lnTo>
                  <a:lnTo>
                    <a:pt x="5706" y="724"/>
                  </a:lnTo>
                  <a:lnTo>
                    <a:pt x="5644" y="796"/>
                  </a:lnTo>
                  <a:lnTo>
                    <a:pt x="5588" y="864"/>
                  </a:lnTo>
                  <a:lnTo>
                    <a:pt x="5540" y="928"/>
                  </a:lnTo>
                  <a:lnTo>
                    <a:pt x="5498" y="986"/>
                  </a:lnTo>
                  <a:lnTo>
                    <a:pt x="5462" y="1042"/>
                  </a:lnTo>
                  <a:lnTo>
                    <a:pt x="5402" y="1136"/>
                  </a:lnTo>
                  <a:lnTo>
                    <a:pt x="5402" y="1136"/>
                  </a:lnTo>
                  <a:lnTo>
                    <a:pt x="5374" y="1184"/>
                  </a:lnTo>
                  <a:lnTo>
                    <a:pt x="5346" y="1244"/>
                  </a:lnTo>
                  <a:lnTo>
                    <a:pt x="5282" y="1384"/>
                  </a:lnTo>
                  <a:lnTo>
                    <a:pt x="5246" y="1460"/>
                  </a:lnTo>
                  <a:lnTo>
                    <a:pt x="5208" y="1540"/>
                  </a:lnTo>
                  <a:lnTo>
                    <a:pt x="5166" y="1618"/>
                  </a:lnTo>
                  <a:lnTo>
                    <a:pt x="5122" y="1696"/>
                  </a:lnTo>
                  <a:lnTo>
                    <a:pt x="5122" y="1696"/>
                  </a:lnTo>
                  <a:lnTo>
                    <a:pt x="5076" y="1776"/>
                  </a:lnTo>
                  <a:lnTo>
                    <a:pt x="5030" y="1862"/>
                  </a:lnTo>
                  <a:lnTo>
                    <a:pt x="4986" y="1952"/>
                  </a:lnTo>
                  <a:lnTo>
                    <a:pt x="4944" y="2044"/>
                  </a:lnTo>
                  <a:lnTo>
                    <a:pt x="4906" y="2134"/>
                  </a:lnTo>
                  <a:lnTo>
                    <a:pt x="4876" y="2220"/>
                  </a:lnTo>
                  <a:lnTo>
                    <a:pt x="4850" y="2300"/>
                  </a:lnTo>
                  <a:lnTo>
                    <a:pt x="4840" y="2336"/>
                  </a:lnTo>
                  <a:lnTo>
                    <a:pt x="4834" y="2368"/>
                  </a:lnTo>
                  <a:lnTo>
                    <a:pt x="4834" y="2368"/>
                  </a:lnTo>
                  <a:lnTo>
                    <a:pt x="4814" y="2480"/>
                  </a:lnTo>
                  <a:lnTo>
                    <a:pt x="4802" y="2558"/>
                  </a:lnTo>
                  <a:lnTo>
                    <a:pt x="4798" y="2604"/>
                  </a:lnTo>
                  <a:lnTo>
                    <a:pt x="4796" y="2618"/>
                  </a:lnTo>
                  <a:lnTo>
                    <a:pt x="4796" y="2618"/>
                  </a:lnTo>
                  <a:lnTo>
                    <a:pt x="4686" y="2632"/>
                  </a:lnTo>
                  <a:lnTo>
                    <a:pt x="4558" y="2648"/>
                  </a:lnTo>
                  <a:lnTo>
                    <a:pt x="4386" y="2668"/>
                  </a:lnTo>
                  <a:lnTo>
                    <a:pt x="4176" y="2688"/>
                  </a:lnTo>
                  <a:lnTo>
                    <a:pt x="3936" y="2710"/>
                  </a:lnTo>
                  <a:lnTo>
                    <a:pt x="3670" y="2732"/>
                  </a:lnTo>
                  <a:lnTo>
                    <a:pt x="3384" y="2752"/>
                  </a:lnTo>
                  <a:lnTo>
                    <a:pt x="3234" y="2760"/>
                  </a:lnTo>
                  <a:lnTo>
                    <a:pt x="3082" y="2766"/>
                  </a:lnTo>
                  <a:lnTo>
                    <a:pt x="2928" y="2772"/>
                  </a:lnTo>
                  <a:lnTo>
                    <a:pt x="2772" y="2776"/>
                  </a:lnTo>
                  <a:lnTo>
                    <a:pt x="2614" y="2778"/>
                  </a:lnTo>
                  <a:lnTo>
                    <a:pt x="2456" y="2780"/>
                  </a:lnTo>
                  <a:lnTo>
                    <a:pt x="2298" y="2778"/>
                  </a:lnTo>
                  <a:lnTo>
                    <a:pt x="2142" y="2774"/>
                  </a:lnTo>
                  <a:lnTo>
                    <a:pt x="1986" y="2768"/>
                  </a:lnTo>
                  <a:lnTo>
                    <a:pt x="1834" y="2760"/>
                  </a:lnTo>
                  <a:lnTo>
                    <a:pt x="1684" y="2748"/>
                  </a:lnTo>
                  <a:lnTo>
                    <a:pt x="1540" y="2734"/>
                  </a:lnTo>
                  <a:lnTo>
                    <a:pt x="1398" y="2716"/>
                  </a:lnTo>
                  <a:lnTo>
                    <a:pt x="1262" y="2694"/>
                  </a:lnTo>
                  <a:lnTo>
                    <a:pt x="1130" y="2670"/>
                  </a:lnTo>
                  <a:lnTo>
                    <a:pt x="1068" y="2656"/>
                  </a:lnTo>
                  <a:lnTo>
                    <a:pt x="1006" y="2640"/>
                  </a:lnTo>
                  <a:lnTo>
                    <a:pt x="1006" y="264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0081BE">
                    <a:lumMod val="75000"/>
                  </a:srgbClr>
                </a:gs>
                <a:gs pos="100000">
                  <a:srgbClr val="0081BE">
                    <a:lumMod val="75000"/>
                  </a:srgbClr>
                </a:gs>
              </a:gsLst>
              <a:path path="circle">
                <a:fillToRect t="100000" r="100000"/>
              </a:path>
              <a:tileRect l="-100000" b="-100000"/>
            </a:gradFill>
            <a:ln w="9525" cap="flat" cmpd="sng" algn="ctr">
              <a:noFill/>
              <a:prstDash val="solid"/>
            </a:ln>
            <a:effectLst>
              <a:innerShdw blurRad="190500" dist="114300" dir="5640000">
                <a:srgbClr val="000000">
                  <a:alpha val="37000"/>
                </a:srgbClr>
              </a:innerShdw>
            </a:effectLst>
          </p:spPr>
          <p:txBody>
            <a:bodyPr anchor="ctr"/>
            <a:lstStyle/>
            <a:p>
              <a:pPr marL="342900" indent="-342900" algn="ctr" fontAlgn="auto">
                <a:spcBef>
                  <a:spcPts val="0"/>
                </a:spcBef>
                <a:spcAft>
                  <a:spcPts val="0"/>
                </a:spcAft>
                <a:buFont typeface="+mj-lt"/>
                <a:buAutoNum type="arabicPeriod"/>
                <a:defRPr/>
              </a:pPr>
              <a:endParaRPr lang="da-DK" kern="0" dirty="0">
                <a:solidFill>
                  <a:sysClr val="window" lastClr="FFFFFF"/>
                </a:solidFill>
                <a:latin typeface="Calibri"/>
                <a:cs typeface="+mn-cs"/>
              </a:endParaRPr>
            </a:p>
          </p:txBody>
        </p:sp>
        <p:grpSp>
          <p:nvGrpSpPr>
            <p:cNvPr id="160" name="Gruppe 55"/>
            <p:cNvGrpSpPr>
              <a:grpSpLocks/>
            </p:cNvGrpSpPr>
            <p:nvPr/>
          </p:nvGrpSpPr>
          <p:grpSpPr bwMode="auto">
            <a:xfrm flipH="1">
              <a:off x="2763314" y="5003358"/>
              <a:ext cx="512073" cy="566205"/>
              <a:chOff x="4645980" y="1941195"/>
              <a:chExt cx="3147696" cy="3481706"/>
            </a:xfrm>
          </p:grpSpPr>
          <p:grpSp>
            <p:nvGrpSpPr>
              <p:cNvPr id="169" name="Gruppe 73"/>
              <p:cNvGrpSpPr>
                <a:grpSpLocks/>
              </p:cNvGrpSpPr>
              <p:nvPr/>
            </p:nvGrpSpPr>
            <p:grpSpPr bwMode="auto">
              <a:xfrm>
                <a:off x="5375910" y="1941195"/>
                <a:ext cx="1749425" cy="590550"/>
                <a:chOff x="5269230" y="584835"/>
                <a:chExt cx="1749425" cy="590550"/>
              </a:xfrm>
            </p:grpSpPr>
            <p:sp>
              <p:nvSpPr>
                <p:cNvPr id="187" name="Freeform 29"/>
                <p:cNvSpPr>
                  <a:spLocks/>
                </p:cNvSpPr>
                <p:nvPr/>
              </p:nvSpPr>
              <p:spPr bwMode="auto">
                <a:xfrm>
                  <a:off x="6294755" y="619760"/>
                  <a:ext cx="723900" cy="323850"/>
                </a:xfrm>
                <a:custGeom>
                  <a:avLst/>
                  <a:gdLst/>
                  <a:ahLst/>
                  <a:cxnLst>
                    <a:cxn ang="0">
                      <a:pos x="78" y="196"/>
                    </a:cxn>
                    <a:cxn ang="0">
                      <a:pos x="42" y="194"/>
                    </a:cxn>
                    <a:cxn ang="0">
                      <a:pos x="18" y="188"/>
                    </a:cxn>
                    <a:cxn ang="0">
                      <a:pos x="6" y="178"/>
                    </a:cxn>
                    <a:cxn ang="0">
                      <a:pos x="6" y="174"/>
                    </a:cxn>
                    <a:cxn ang="0">
                      <a:pos x="0" y="134"/>
                    </a:cxn>
                    <a:cxn ang="0">
                      <a:pos x="2" y="112"/>
                    </a:cxn>
                    <a:cxn ang="0">
                      <a:pos x="8" y="100"/>
                    </a:cxn>
                    <a:cxn ang="0">
                      <a:pos x="22" y="90"/>
                    </a:cxn>
                    <a:cxn ang="0">
                      <a:pos x="44" y="84"/>
                    </a:cxn>
                    <a:cxn ang="0">
                      <a:pos x="58" y="82"/>
                    </a:cxn>
                    <a:cxn ang="0">
                      <a:pos x="168" y="80"/>
                    </a:cxn>
                    <a:cxn ang="0">
                      <a:pos x="206" y="74"/>
                    </a:cxn>
                    <a:cxn ang="0">
                      <a:pos x="224" y="64"/>
                    </a:cxn>
                    <a:cxn ang="0">
                      <a:pos x="228" y="60"/>
                    </a:cxn>
                    <a:cxn ang="0">
                      <a:pos x="246" y="42"/>
                    </a:cxn>
                    <a:cxn ang="0">
                      <a:pos x="272" y="24"/>
                    </a:cxn>
                    <a:cxn ang="0">
                      <a:pos x="312" y="6"/>
                    </a:cxn>
                    <a:cxn ang="0">
                      <a:pos x="324" y="2"/>
                    </a:cxn>
                    <a:cxn ang="0">
                      <a:pos x="362" y="0"/>
                    </a:cxn>
                    <a:cxn ang="0">
                      <a:pos x="394" y="4"/>
                    </a:cxn>
                    <a:cxn ang="0">
                      <a:pos x="416" y="12"/>
                    </a:cxn>
                    <a:cxn ang="0">
                      <a:pos x="434" y="26"/>
                    </a:cxn>
                    <a:cxn ang="0">
                      <a:pos x="446" y="48"/>
                    </a:cxn>
                    <a:cxn ang="0">
                      <a:pos x="454" y="80"/>
                    </a:cxn>
                    <a:cxn ang="0">
                      <a:pos x="456" y="100"/>
                    </a:cxn>
                    <a:cxn ang="0">
                      <a:pos x="448" y="136"/>
                    </a:cxn>
                    <a:cxn ang="0">
                      <a:pos x="432" y="164"/>
                    </a:cxn>
                    <a:cxn ang="0">
                      <a:pos x="408" y="184"/>
                    </a:cxn>
                    <a:cxn ang="0">
                      <a:pos x="380" y="196"/>
                    </a:cxn>
                    <a:cxn ang="0">
                      <a:pos x="348" y="202"/>
                    </a:cxn>
                    <a:cxn ang="0">
                      <a:pos x="296" y="202"/>
                    </a:cxn>
                    <a:cxn ang="0">
                      <a:pos x="280" y="198"/>
                    </a:cxn>
                    <a:cxn ang="0">
                      <a:pos x="246" y="192"/>
                    </a:cxn>
                    <a:cxn ang="0">
                      <a:pos x="198" y="190"/>
                    </a:cxn>
                    <a:cxn ang="0">
                      <a:pos x="78" y="196"/>
                    </a:cxn>
                  </a:cxnLst>
                  <a:rect l="0" t="0" r="r" b="b"/>
                  <a:pathLst>
                    <a:path w="456" h="204">
                      <a:moveTo>
                        <a:pt x="78" y="196"/>
                      </a:moveTo>
                      <a:lnTo>
                        <a:pt x="78" y="196"/>
                      </a:lnTo>
                      <a:lnTo>
                        <a:pt x="68" y="196"/>
                      </a:lnTo>
                      <a:lnTo>
                        <a:pt x="42" y="194"/>
                      </a:lnTo>
                      <a:lnTo>
                        <a:pt x="30" y="192"/>
                      </a:lnTo>
                      <a:lnTo>
                        <a:pt x="18" y="188"/>
                      </a:lnTo>
                      <a:lnTo>
                        <a:pt x="10" y="182"/>
                      </a:lnTo>
                      <a:lnTo>
                        <a:pt x="6" y="178"/>
                      </a:lnTo>
                      <a:lnTo>
                        <a:pt x="6" y="174"/>
                      </a:lnTo>
                      <a:lnTo>
                        <a:pt x="6" y="174"/>
                      </a:lnTo>
                      <a:lnTo>
                        <a:pt x="2" y="150"/>
                      </a:lnTo>
                      <a:lnTo>
                        <a:pt x="0" y="134"/>
                      </a:lnTo>
                      <a:lnTo>
                        <a:pt x="0" y="120"/>
                      </a:lnTo>
                      <a:lnTo>
                        <a:pt x="2" y="112"/>
                      </a:lnTo>
                      <a:lnTo>
                        <a:pt x="4" y="106"/>
                      </a:lnTo>
                      <a:lnTo>
                        <a:pt x="8" y="100"/>
                      </a:lnTo>
                      <a:lnTo>
                        <a:pt x="14" y="94"/>
                      </a:lnTo>
                      <a:lnTo>
                        <a:pt x="22" y="90"/>
                      </a:lnTo>
                      <a:lnTo>
                        <a:pt x="32" y="86"/>
                      </a:lnTo>
                      <a:lnTo>
                        <a:pt x="44" y="84"/>
                      </a:lnTo>
                      <a:lnTo>
                        <a:pt x="58" y="82"/>
                      </a:lnTo>
                      <a:lnTo>
                        <a:pt x="58" y="82"/>
                      </a:lnTo>
                      <a:lnTo>
                        <a:pt x="116" y="82"/>
                      </a:lnTo>
                      <a:lnTo>
                        <a:pt x="168" y="80"/>
                      </a:lnTo>
                      <a:lnTo>
                        <a:pt x="188" y="78"/>
                      </a:lnTo>
                      <a:lnTo>
                        <a:pt x="206" y="74"/>
                      </a:lnTo>
                      <a:lnTo>
                        <a:pt x="220" y="68"/>
                      </a:lnTo>
                      <a:lnTo>
                        <a:pt x="224" y="64"/>
                      </a:lnTo>
                      <a:lnTo>
                        <a:pt x="228" y="60"/>
                      </a:lnTo>
                      <a:lnTo>
                        <a:pt x="228" y="60"/>
                      </a:lnTo>
                      <a:lnTo>
                        <a:pt x="236" y="52"/>
                      </a:lnTo>
                      <a:lnTo>
                        <a:pt x="246" y="42"/>
                      </a:lnTo>
                      <a:lnTo>
                        <a:pt x="258" y="32"/>
                      </a:lnTo>
                      <a:lnTo>
                        <a:pt x="272" y="24"/>
                      </a:lnTo>
                      <a:lnTo>
                        <a:pt x="300" y="10"/>
                      </a:lnTo>
                      <a:lnTo>
                        <a:pt x="312" y="6"/>
                      </a:lnTo>
                      <a:lnTo>
                        <a:pt x="324" y="2"/>
                      </a:lnTo>
                      <a:lnTo>
                        <a:pt x="324" y="2"/>
                      </a:lnTo>
                      <a:lnTo>
                        <a:pt x="342" y="2"/>
                      </a:lnTo>
                      <a:lnTo>
                        <a:pt x="362" y="0"/>
                      </a:lnTo>
                      <a:lnTo>
                        <a:pt x="384" y="2"/>
                      </a:lnTo>
                      <a:lnTo>
                        <a:pt x="394" y="4"/>
                      </a:lnTo>
                      <a:lnTo>
                        <a:pt x="406" y="8"/>
                      </a:lnTo>
                      <a:lnTo>
                        <a:pt x="416" y="12"/>
                      </a:lnTo>
                      <a:lnTo>
                        <a:pt x="424" y="18"/>
                      </a:lnTo>
                      <a:lnTo>
                        <a:pt x="434" y="26"/>
                      </a:lnTo>
                      <a:lnTo>
                        <a:pt x="440" y="36"/>
                      </a:lnTo>
                      <a:lnTo>
                        <a:pt x="446" y="48"/>
                      </a:lnTo>
                      <a:lnTo>
                        <a:pt x="452" y="62"/>
                      </a:lnTo>
                      <a:lnTo>
                        <a:pt x="454" y="80"/>
                      </a:lnTo>
                      <a:lnTo>
                        <a:pt x="456" y="100"/>
                      </a:lnTo>
                      <a:lnTo>
                        <a:pt x="456" y="100"/>
                      </a:lnTo>
                      <a:lnTo>
                        <a:pt x="454" y="120"/>
                      </a:lnTo>
                      <a:lnTo>
                        <a:pt x="448" y="136"/>
                      </a:lnTo>
                      <a:lnTo>
                        <a:pt x="442" y="152"/>
                      </a:lnTo>
                      <a:lnTo>
                        <a:pt x="432" y="164"/>
                      </a:lnTo>
                      <a:lnTo>
                        <a:pt x="420" y="174"/>
                      </a:lnTo>
                      <a:lnTo>
                        <a:pt x="408" y="184"/>
                      </a:lnTo>
                      <a:lnTo>
                        <a:pt x="394" y="190"/>
                      </a:lnTo>
                      <a:lnTo>
                        <a:pt x="380" y="196"/>
                      </a:lnTo>
                      <a:lnTo>
                        <a:pt x="364" y="200"/>
                      </a:lnTo>
                      <a:lnTo>
                        <a:pt x="348" y="202"/>
                      </a:lnTo>
                      <a:lnTo>
                        <a:pt x="320" y="204"/>
                      </a:lnTo>
                      <a:lnTo>
                        <a:pt x="296" y="202"/>
                      </a:lnTo>
                      <a:lnTo>
                        <a:pt x="280" y="198"/>
                      </a:lnTo>
                      <a:lnTo>
                        <a:pt x="280" y="198"/>
                      </a:lnTo>
                      <a:lnTo>
                        <a:pt x="266" y="194"/>
                      </a:lnTo>
                      <a:lnTo>
                        <a:pt x="246" y="192"/>
                      </a:lnTo>
                      <a:lnTo>
                        <a:pt x="224" y="190"/>
                      </a:lnTo>
                      <a:lnTo>
                        <a:pt x="198" y="190"/>
                      </a:lnTo>
                      <a:lnTo>
                        <a:pt x="140" y="192"/>
                      </a:lnTo>
                      <a:lnTo>
                        <a:pt x="78" y="196"/>
                      </a:lnTo>
                      <a:lnTo>
                        <a:pt x="78" y="196"/>
                      </a:lnTo>
                      <a:close/>
                    </a:path>
                  </a:pathLst>
                </a:custGeom>
                <a:gradFill flip="none" rotWithShape="1">
                  <a:gsLst>
                    <a:gs pos="0">
                      <a:srgbClr val="FFFFFF"/>
                    </a:gs>
                    <a:gs pos="50000">
                      <a:srgbClr val="808080">
                        <a:shade val="67500"/>
                        <a:satMod val="115000"/>
                      </a:srgbClr>
                    </a:gs>
                    <a:gs pos="100000">
                      <a:srgbClr val="808080">
                        <a:shade val="100000"/>
                        <a:satMod val="115000"/>
                      </a:srgbClr>
                    </a:gs>
                  </a:gsLst>
                  <a:path path="circle">
                    <a:fillToRect l="100000" b="100000"/>
                  </a:path>
                  <a:tileRect t="-100000" r="-100000"/>
                </a:gra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Text" lastClr="000000"/>
                    </a:solidFill>
                    <a:latin typeface="+mn-lt"/>
                    <a:cs typeface="+mn-cs"/>
                  </a:endParaRPr>
                </a:p>
              </p:txBody>
            </p:sp>
            <p:sp>
              <p:nvSpPr>
                <p:cNvPr id="188" name="Freeform 34"/>
                <p:cNvSpPr>
                  <a:spLocks/>
                </p:cNvSpPr>
                <p:nvPr/>
              </p:nvSpPr>
              <p:spPr bwMode="auto">
                <a:xfrm>
                  <a:off x="5882005" y="584835"/>
                  <a:ext cx="641350" cy="590550"/>
                </a:xfrm>
                <a:custGeom>
                  <a:avLst/>
                  <a:gdLst/>
                  <a:ahLst/>
                  <a:cxnLst>
                    <a:cxn ang="0">
                      <a:pos x="372" y="360"/>
                    </a:cxn>
                    <a:cxn ang="0">
                      <a:pos x="372" y="360"/>
                    </a:cxn>
                    <a:cxn ang="0">
                      <a:pos x="364" y="356"/>
                    </a:cxn>
                    <a:cxn ang="0">
                      <a:pos x="344" y="346"/>
                    </a:cxn>
                    <a:cxn ang="0">
                      <a:pos x="312" y="334"/>
                    </a:cxn>
                    <a:cxn ang="0">
                      <a:pos x="292" y="330"/>
                    </a:cxn>
                    <a:cxn ang="0">
                      <a:pos x="272" y="326"/>
                    </a:cxn>
                    <a:cxn ang="0">
                      <a:pos x="248" y="322"/>
                    </a:cxn>
                    <a:cxn ang="0">
                      <a:pos x="224" y="320"/>
                    </a:cxn>
                    <a:cxn ang="0">
                      <a:pos x="198" y="322"/>
                    </a:cxn>
                    <a:cxn ang="0">
                      <a:pos x="170" y="324"/>
                    </a:cxn>
                    <a:cxn ang="0">
                      <a:pos x="142" y="332"/>
                    </a:cxn>
                    <a:cxn ang="0">
                      <a:pos x="114" y="340"/>
                    </a:cxn>
                    <a:cxn ang="0">
                      <a:pos x="84" y="354"/>
                    </a:cxn>
                    <a:cxn ang="0">
                      <a:pos x="56" y="372"/>
                    </a:cxn>
                    <a:cxn ang="0">
                      <a:pos x="56" y="372"/>
                    </a:cxn>
                    <a:cxn ang="0">
                      <a:pos x="48" y="358"/>
                    </a:cxn>
                    <a:cxn ang="0">
                      <a:pos x="32" y="318"/>
                    </a:cxn>
                    <a:cxn ang="0">
                      <a:pos x="22" y="292"/>
                    </a:cxn>
                    <a:cxn ang="0">
                      <a:pos x="14" y="262"/>
                    </a:cxn>
                    <a:cxn ang="0">
                      <a:pos x="6" y="230"/>
                    </a:cxn>
                    <a:cxn ang="0">
                      <a:pos x="2" y="198"/>
                    </a:cxn>
                    <a:cxn ang="0">
                      <a:pos x="0" y="164"/>
                    </a:cxn>
                    <a:cxn ang="0">
                      <a:pos x="2" y="148"/>
                    </a:cxn>
                    <a:cxn ang="0">
                      <a:pos x="4" y="132"/>
                    </a:cxn>
                    <a:cxn ang="0">
                      <a:pos x="8" y="116"/>
                    </a:cxn>
                    <a:cxn ang="0">
                      <a:pos x="14" y="100"/>
                    </a:cxn>
                    <a:cxn ang="0">
                      <a:pos x="20" y="86"/>
                    </a:cxn>
                    <a:cxn ang="0">
                      <a:pos x="30" y="72"/>
                    </a:cxn>
                    <a:cxn ang="0">
                      <a:pos x="40" y="58"/>
                    </a:cxn>
                    <a:cxn ang="0">
                      <a:pos x="52" y="46"/>
                    </a:cxn>
                    <a:cxn ang="0">
                      <a:pos x="68" y="36"/>
                    </a:cxn>
                    <a:cxn ang="0">
                      <a:pos x="84" y="26"/>
                    </a:cxn>
                    <a:cxn ang="0">
                      <a:pos x="104" y="18"/>
                    </a:cxn>
                    <a:cxn ang="0">
                      <a:pos x="126" y="10"/>
                    </a:cxn>
                    <a:cxn ang="0">
                      <a:pos x="150" y="6"/>
                    </a:cxn>
                    <a:cxn ang="0">
                      <a:pos x="178" y="2"/>
                    </a:cxn>
                    <a:cxn ang="0">
                      <a:pos x="178" y="2"/>
                    </a:cxn>
                    <a:cxn ang="0">
                      <a:pos x="206" y="0"/>
                    </a:cxn>
                    <a:cxn ang="0">
                      <a:pos x="230" y="0"/>
                    </a:cxn>
                    <a:cxn ang="0">
                      <a:pos x="254" y="2"/>
                    </a:cxn>
                    <a:cxn ang="0">
                      <a:pos x="276" y="6"/>
                    </a:cxn>
                    <a:cxn ang="0">
                      <a:pos x="294" y="10"/>
                    </a:cxn>
                    <a:cxn ang="0">
                      <a:pos x="312" y="16"/>
                    </a:cxn>
                    <a:cxn ang="0">
                      <a:pos x="328" y="24"/>
                    </a:cxn>
                    <a:cxn ang="0">
                      <a:pos x="342" y="32"/>
                    </a:cxn>
                    <a:cxn ang="0">
                      <a:pos x="354" y="42"/>
                    </a:cxn>
                    <a:cxn ang="0">
                      <a:pos x="364" y="52"/>
                    </a:cxn>
                    <a:cxn ang="0">
                      <a:pos x="374" y="64"/>
                    </a:cxn>
                    <a:cxn ang="0">
                      <a:pos x="382" y="76"/>
                    </a:cxn>
                    <a:cxn ang="0">
                      <a:pos x="388" y="88"/>
                    </a:cxn>
                    <a:cxn ang="0">
                      <a:pos x="392" y="102"/>
                    </a:cxn>
                    <a:cxn ang="0">
                      <a:pos x="400" y="132"/>
                    </a:cxn>
                    <a:cxn ang="0">
                      <a:pos x="404" y="162"/>
                    </a:cxn>
                    <a:cxn ang="0">
                      <a:pos x="404" y="194"/>
                    </a:cxn>
                    <a:cxn ang="0">
                      <a:pos x="400" y="224"/>
                    </a:cxn>
                    <a:cxn ang="0">
                      <a:pos x="396" y="256"/>
                    </a:cxn>
                    <a:cxn ang="0">
                      <a:pos x="384" y="312"/>
                    </a:cxn>
                    <a:cxn ang="0">
                      <a:pos x="372" y="360"/>
                    </a:cxn>
                    <a:cxn ang="0">
                      <a:pos x="372" y="360"/>
                    </a:cxn>
                  </a:cxnLst>
                  <a:rect l="0" t="0" r="r" b="b"/>
                  <a:pathLst>
                    <a:path w="404" h="372">
                      <a:moveTo>
                        <a:pt x="372" y="360"/>
                      </a:moveTo>
                      <a:lnTo>
                        <a:pt x="372" y="360"/>
                      </a:lnTo>
                      <a:lnTo>
                        <a:pt x="364" y="356"/>
                      </a:lnTo>
                      <a:lnTo>
                        <a:pt x="344" y="346"/>
                      </a:lnTo>
                      <a:lnTo>
                        <a:pt x="312" y="334"/>
                      </a:lnTo>
                      <a:lnTo>
                        <a:pt x="292" y="330"/>
                      </a:lnTo>
                      <a:lnTo>
                        <a:pt x="272" y="326"/>
                      </a:lnTo>
                      <a:lnTo>
                        <a:pt x="248" y="322"/>
                      </a:lnTo>
                      <a:lnTo>
                        <a:pt x="224" y="320"/>
                      </a:lnTo>
                      <a:lnTo>
                        <a:pt x="198" y="322"/>
                      </a:lnTo>
                      <a:lnTo>
                        <a:pt x="170" y="324"/>
                      </a:lnTo>
                      <a:lnTo>
                        <a:pt x="142" y="332"/>
                      </a:lnTo>
                      <a:lnTo>
                        <a:pt x="114" y="340"/>
                      </a:lnTo>
                      <a:lnTo>
                        <a:pt x="84" y="354"/>
                      </a:lnTo>
                      <a:lnTo>
                        <a:pt x="56" y="372"/>
                      </a:lnTo>
                      <a:lnTo>
                        <a:pt x="56" y="372"/>
                      </a:lnTo>
                      <a:lnTo>
                        <a:pt x="48" y="358"/>
                      </a:lnTo>
                      <a:lnTo>
                        <a:pt x="32" y="318"/>
                      </a:lnTo>
                      <a:lnTo>
                        <a:pt x="22" y="292"/>
                      </a:lnTo>
                      <a:lnTo>
                        <a:pt x="14" y="262"/>
                      </a:lnTo>
                      <a:lnTo>
                        <a:pt x="6" y="230"/>
                      </a:lnTo>
                      <a:lnTo>
                        <a:pt x="2" y="198"/>
                      </a:lnTo>
                      <a:lnTo>
                        <a:pt x="0" y="164"/>
                      </a:lnTo>
                      <a:lnTo>
                        <a:pt x="2" y="148"/>
                      </a:lnTo>
                      <a:lnTo>
                        <a:pt x="4" y="132"/>
                      </a:lnTo>
                      <a:lnTo>
                        <a:pt x="8" y="116"/>
                      </a:lnTo>
                      <a:lnTo>
                        <a:pt x="14" y="100"/>
                      </a:lnTo>
                      <a:lnTo>
                        <a:pt x="20" y="86"/>
                      </a:lnTo>
                      <a:lnTo>
                        <a:pt x="30" y="72"/>
                      </a:lnTo>
                      <a:lnTo>
                        <a:pt x="40" y="58"/>
                      </a:lnTo>
                      <a:lnTo>
                        <a:pt x="52" y="46"/>
                      </a:lnTo>
                      <a:lnTo>
                        <a:pt x="68" y="36"/>
                      </a:lnTo>
                      <a:lnTo>
                        <a:pt x="84" y="26"/>
                      </a:lnTo>
                      <a:lnTo>
                        <a:pt x="104" y="18"/>
                      </a:lnTo>
                      <a:lnTo>
                        <a:pt x="126" y="10"/>
                      </a:lnTo>
                      <a:lnTo>
                        <a:pt x="150" y="6"/>
                      </a:lnTo>
                      <a:lnTo>
                        <a:pt x="178" y="2"/>
                      </a:lnTo>
                      <a:lnTo>
                        <a:pt x="178" y="2"/>
                      </a:lnTo>
                      <a:lnTo>
                        <a:pt x="206" y="0"/>
                      </a:lnTo>
                      <a:lnTo>
                        <a:pt x="230" y="0"/>
                      </a:lnTo>
                      <a:lnTo>
                        <a:pt x="254" y="2"/>
                      </a:lnTo>
                      <a:lnTo>
                        <a:pt x="276" y="6"/>
                      </a:lnTo>
                      <a:lnTo>
                        <a:pt x="294" y="10"/>
                      </a:lnTo>
                      <a:lnTo>
                        <a:pt x="312" y="16"/>
                      </a:lnTo>
                      <a:lnTo>
                        <a:pt x="328" y="24"/>
                      </a:lnTo>
                      <a:lnTo>
                        <a:pt x="342" y="32"/>
                      </a:lnTo>
                      <a:lnTo>
                        <a:pt x="354" y="42"/>
                      </a:lnTo>
                      <a:lnTo>
                        <a:pt x="364" y="52"/>
                      </a:lnTo>
                      <a:lnTo>
                        <a:pt x="374" y="64"/>
                      </a:lnTo>
                      <a:lnTo>
                        <a:pt x="382" y="76"/>
                      </a:lnTo>
                      <a:lnTo>
                        <a:pt x="388" y="88"/>
                      </a:lnTo>
                      <a:lnTo>
                        <a:pt x="392" y="102"/>
                      </a:lnTo>
                      <a:lnTo>
                        <a:pt x="400" y="132"/>
                      </a:lnTo>
                      <a:lnTo>
                        <a:pt x="404" y="162"/>
                      </a:lnTo>
                      <a:lnTo>
                        <a:pt x="404" y="194"/>
                      </a:lnTo>
                      <a:lnTo>
                        <a:pt x="400" y="224"/>
                      </a:lnTo>
                      <a:lnTo>
                        <a:pt x="396" y="256"/>
                      </a:lnTo>
                      <a:lnTo>
                        <a:pt x="384" y="312"/>
                      </a:lnTo>
                      <a:lnTo>
                        <a:pt x="372" y="360"/>
                      </a:lnTo>
                      <a:lnTo>
                        <a:pt x="372" y="360"/>
                      </a:lnTo>
                      <a:close/>
                    </a:path>
                  </a:pathLst>
                </a:custGeom>
                <a:gradFill flip="none" rotWithShape="1">
                  <a:gsLst>
                    <a:gs pos="0">
                      <a:srgbClr val="FFFFFF"/>
                    </a:gs>
                    <a:gs pos="50000">
                      <a:srgbClr val="E6E6E6">
                        <a:lumMod val="75000"/>
                      </a:srgbClr>
                    </a:gs>
                    <a:gs pos="100000">
                      <a:srgbClr val="808080">
                        <a:shade val="100000"/>
                        <a:satMod val="115000"/>
                      </a:srgbClr>
                    </a:gs>
                  </a:gsLst>
                  <a:path path="circle">
                    <a:fillToRect l="50000" t="50000" r="50000" b="50000"/>
                  </a:path>
                  <a:tileRect/>
                </a:gra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Text" lastClr="000000"/>
                    </a:solidFill>
                    <a:latin typeface="+mn-lt"/>
                    <a:cs typeface="+mn-cs"/>
                  </a:endParaRPr>
                </a:p>
              </p:txBody>
            </p:sp>
            <p:sp>
              <p:nvSpPr>
                <p:cNvPr id="189" name="Freeform 41"/>
                <p:cNvSpPr>
                  <a:spLocks/>
                </p:cNvSpPr>
                <p:nvPr/>
              </p:nvSpPr>
              <p:spPr bwMode="auto">
                <a:xfrm>
                  <a:off x="5269230" y="746760"/>
                  <a:ext cx="771525" cy="387350"/>
                </a:xfrm>
                <a:custGeom>
                  <a:avLst/>
                  <a:gdLst/>
                  <a:ahLst/>
                  <a:cxnLst>
                    <a:cxn ang="0">
                      <a:pos x="418" y="174"/>
                    </a:cxn>
                    <a:cxn ang="0">
                      <a:pos x="454" y="164"/>
                    </a:cxn>
                    <a:cxn ang="0">
                      <a:pos x="478" y="150"/>
                    </a:cxn>
                    <a:cxn ang="0">
                      <a:pos x="484" y="142"/>
                    </a:cxn>
                    <a:cxn ang="0">
                      <a:pos x="486" y="130"/>
                    </a:cxn>
                    <a:cxn ang="0">
                      <a:pos x="482" y="100"/>
                    </a:cxn>
                    <a:cxn ang="0">
                      <a:pos x="474" y="64"/>
                    </a:cxn>
                    <a:cxn ang="0">
                      <a:pos x="466" y="48"/>
                    </a:cxn>
                    <a:cxn ang="0">
                      <a:pos x="452" y="38"/>
                    </a:cxn>
                    <a:cxn ang="0">
                      <a:pos x="432" y="32"/>
                    </a:cxn>
                    <a:cxn ang="0">
                      <a:pos x="406" y="34"/>
                    </a:cxn>
                    <a:cxn ang="0">
                      <a:pos x="346" y="46"/>
                    </a:cxn>
                    <a:cxn ang="0">
                      <a:pos x="270" y="58"/>
                    </a:cxn>
                    <a:cxn ang="0">
                      <a:pos x="236" y="54"/>
                    </a:cxn>
                    <a:cxn ang="0">
                      <a:pos x="226" y="48"/>
                    </a:cxn>
                    <a:cxn ang="0">
                      <a:pos x="216" y="38"/>
                    </a:cxn>
                    <a:cxn ang="0">
                      <a:pos x="186" y="20"/>
                    </a:cxn>
                    <a:cxn ang="0">
                      <a:pos x="154" y="8"/>
                    </a:cxn>
                    <a:cxn ang="0">
                      <a:pos x="124" y="0"/>
                    </a:cxn>
                    <a:cxn ang="0">
                      <a:pos x="112" y="0"/>
                    </a:cxn>
                    <a:cxn ang="0">
                      <a:pos x="72" y="6"/>
                    </a:cxn>
                    <a:cxn ang="0">
                      <a:pos x="40" y="18"/>
                    </a:cxn>
                    <a:cxn ang="0">
                      <a:pos x="22" y="32"/>
                    </a:cxn>
                    <a:cxn ang="0">
                      <a:pos x="8" y="54"/>
                    </a:cxn>
                    <a:cxn ang="0">
                      <a:pos x="0" y="82"/>
                    </a:cxn>
                    <a:cxn ang="0">
                      <a:pos x="2" y="122"/>
                    </a:cxn>
                    <a:cxn ang="0">
                      <a:pos x="8" y="146"/>
                    </a:cxn>
                    <a:cxn ang="0">
                      <a:pos x="24" y="188"/>
                    </a:cxn>
                    <a:cxn ang="0">
                      <a:pos x="50" y="218"/>
                    </a:cxn>
                    <a:cxn ang="0">
                      <a:pos x="80" y="236"/>
                    </a:cxn>
                    <a:cxn ang="0">
                      <a:pos x="114" y="244"/>
                    </a:cxn>
                    <a:cxn ang="0">
                      <a:pos x="146" y="244"/>
                    </a:cxn>
                    <a:cxn ang="0">
                      <a:pos x="176" y="240"/>
                    </a:cxn>
                    <a:cxn ang="0">
                      <a:pos x="214" y="222"/>
                    </a:cxn>
                    <a:cxn ang="0">
                      <a:pos x="228" y="214"/>
                    </a:cxn>
                    <a:cxn ang="0">
                      <a:pos x="268" y="200"/>
                    </a:cxn>
                    <a:cxn ang="0">
                      <a:pos x="354" y="182"/>
                    </a:cxn>
                    <a:cxn ang="0">
                      <a:pos x="418" y="174"/>
                    </a:cxn>
                  </a:cxnLst>
                  <a:rect l="0" t="0" r="r" b="b"/>
                  <a:pathLst>
                    <a:path w="486" h="244">
                      <a:moveTo>
                        <a:pt x="418" y="174"/>
                      </a:moveTo>
                      <a:lnTo>
                        <a:pt x="418" y="174"/>
                      </a:lnTo>
                      <a:lnTo>
                        <a:pt x="430" y="172"/>
                      </a:lnTo>
                      <a:lnTo>
                        <a:pt x="454" y="164"/>
                      </a:lnTo>
                      <a:lnTo>
                        <a:pt x="466" y="158"/>
                      </a:lnTo>
                      <a:lnTo>
                        <a:pt x="478" y="150"/>
                      </a:lnTo>
                      <a:lnTo>
                        <a:pt x="482" y="146"/>
                      </a:lnTo>
                      <a:lnTo>
                        <a:pt x="484" y="142"/>
                      </a:lnTo>
                      <a:lnTo>
                        <a:pt x="486" y="136"/>
                      </a:lnTo>
                      <a:lnTo>
                        <a:pt x="486" y="130"/>
                      </a:lnTo>
                      <a:lnTo>
                        <a:pt x="486" y="130"/>
                      </a:lnTo>
                      <a:lnTo>
                        <a:pt x="482" y="100"/>
                      </a:lnTo>
                      <a:lnTo>
                        <a:pt x="480" y="82"/>
                      </a:lnTo>
                      <a:lnTo>
                        <a:pt x="474" y="64"/>
                      </a:lnTo>
                      <a:lnTo>
                        <a:pt x="470" y="56"/>
                      </a:lnTo>
                      <a:lnTo>
                        <a:pt x="466" y="48"/>
                      </a:lnTo>
                      <a:lnTo>
                        <a:pt x="460" y="42"/>
                      </a:lnTo>
                      <a:lnTo>
                        <a:pt x="452" y="38"/>
                      </a:lnTo>
                      <a:lnTo>
                        <a:pt x="444" y="34"/>
                      </a:lnTo>
                      <a:lnTo>
                        <a:pt x="432" y="32"/>
                      </a:lnTo>
                      <a:lnTo>
                        <a:pt x="420" y="32"/>
                      </a:lnTo>
                      <a:lnTo>
                        <a:pt x="406" y="34"/>
                      </a:lnTo>
                      <a:lnTo>
                        <a:pt x="406" y="34"/>
                      </a:lnTo>
                      <a:lnTo>
                        <a:pt x="346" y="46"/>
                      </a:lnTo>
                      <a:lnTo>
                        <a:pt x="294" y="56"/>
                      </a:lnTo>
                      <a:lnTo>
                        <a:pt x="270" y="58"/>
                      </a:lnTo>
                      <a:lnTo>
                        <a:pt x="252" y="58"/>
                      </a:lnTo>
                      <a:lnTo>
                        <a:pt x="236" y="54"/>
                      </a:lnTo>
                      <a:lnTo>
                        <a:pt x="230" y="52"/>
                      </a:lnTo>
                      <a:lnTo>
                        <a:pt x="226" y="48"/>
                      </a:lnTo>
                      <a:lnTo>
                        <a:pt x="226" y="48"/>
                      </a:lnTo>
                      <a:lnTo>
                        <a:pt x="216" y="38"/>
                      </a:lnTo>
                      <a:lnTo>
                        <a:pt x="202" y="30"/>
                      </a:lnTo>
                      <a:lnTo>
                        <a:pt x="186" y="20"/>
                      </a:lnTo>
                      <a:lnTo>
                        <a:pt x="170" y="14"/>
                      </a:lnTo>
                      <a:lnTo>
                        <a:pt x="154" y="8"/>
                      </a:lnTo>
                      <a:lnTo>
                        <a:pt x="138" y="4"/>
                      </a:lnTo>
                      <a:lnTo>
                        <a:pt x="124" y="0"/>
                      </a:lnTo>
                      <a:lnTo>
                        <a:pt x="112" y="0"/>
                      </a:lnTo>
                      <a:lnTo>
                        <a:pt x="112" y="0"/>
                      </a:lnTo>
                      <a:lnTo>
                        <a:pt x="94" y="2"/>
                      </a:lnTo>
                      <a:lnTo>
                        <a:pt x="72" y="6"/>
                      </a:lnTo>
                      <a:lnTo>
                        <a:pt x="50" y="14"/>
                      </a:lnTo>
                      <a:lnTo>
                        <a:pt x="40" y="18"/>
                      </a:lnTo>
                      <a:lnTo>
                        <a:pt x="30" y="24"/>
                      </a:lnTo>
                      <a:lnTo>
                        <a:pt x="22" y="32"/>
                      </a:lnTo>
                      <a:lnTo>
                        <a:pt x="14" y="42"/>
                      </a:lnTo>
                      <a:lnTo>
                        <a:pt x="8" y="54"/>
                      </a:lnTo>
                      <a:lnTo>
                        <a:pt x="4" y="68"/>
                      </a:lnTo>
                      <a:lnTo>
                        <a:pt x="0" y="82"/>
                      </a:lnTo>
                      <a:lnTo>
                        <a:pt x="0" y="102"/>
                      </a:lnTo>
                      <a:lnTo>
                        <a:pt x="2" y="122"/>
                      </a:lnTo>
                      <a:lnTo>
                        <a:pt x="8" y="146"/>
                      </a:lnTo>
                      <a:lnTo>
                        <a:pt x="8" y="146"/>
                      </a:lnTo>
                      <a:lnTo>
                        <a:pt x="14" y="170"/>
                      </a:lnTo>
                      <a:lnTo>
                        <a:pt x="24" y="188"/>
                      </a:lnTo>
                      <a:lnTo>
                        <a:pt x="36" y="204"/>
                      </a:lnTo>
                      <a:lnTo>
                        <a:pt x="50" y="218"/>
                      </a:lnTo>
                      <a:lnTo>
                        <a:pt x="64" y="228"/>
                      </a:lnTo>
                      <a:lnTo>
                        <a:pt x="80" y="236"/>
                      </a:lnTo>
                      <a:lnTo>
                        <a:pt x="96" y="240"/>
                      </a:lnTo>
                      <a:lnTo>
                        <a:pt x="114" y="244"/>
                      </a:lnTo>
                      <a:lnTo>
                        <a:pt x="130" y="244"/>
                      </a:lnTo>
                      <a:lnTo>
                        <a:pt x="146" y="244"/>
                      </a:lnTo>
                      <a:lnTo>
                        <a:pt x="162" y="242"/>
                      </a:lnTo>
                      <a:lnTo>
                        <a:pt x="176" y="240"/>
                      </a:lnTo>
                      <a:lnTo>
                        <a:pt x="200" y="232"/>
                      </a:lnTo>
                      <a:lnTo>
                        <a:pt x="214" y="222"/>
                      </a:lnTo>
                      <a:lnTo>
                        <a:pt x="214" y="222"/>
                      </a:lnTo>
                      <a:lnTo>
                        <a:pt x="228" y="214"/>
                      </a:lnTo>
                      <a:lnTo>
                        <a:pt x="246" y="208"/>
                      </a:lnTo>
                      <a:lnTo>
                        <a:pt x="268" y="200"/>
                      </a:lnTo>
                      <a:lnTo>
                        <a:pt x="294" y="194"/>
                      </a:lnTo>
                      <a:lnTo>
                        <a:pt x="354" y="182"/>
                      </a:lnTo>
                      <a:lnTo>
                        <a:pt x="418" y="174"/>
                      </a:lnTo>
                      <a:lnTo>
                        <a:pt x="418" y="174"/>
                      </a:lnTo>
                      <a:close/>
                    </a:path>
                  </a:pathLst>
                </a:custGeom>
                <a:gradFill flip="none" rotWithShape="1">
                  <a:gsLst>
                    <a:gs pos="0">
                      <a:srgbClr val="FFFFFF"/>
                    </a:gs>
                    <a:gs pos="50000">
                      <a:srgbClr val="808080">
                        <a:shade val="67500"/>
                        <a:satMod val="115000"/>
                      </a:srgbClr>
                    </a:gs>
                    <a:gs pos="100000">
                      <a:srgbClr val="808080">
                        <a:shade val="100000"/>
                        <a:satMod val="115000"/>
                      </a:srgbClr>
                    </a:gs>
                  </a:gsLst>
                  <a:path path="circle">
                    <a:fillToRect r="100000" b="100000"/>
                  </a:path>
                  <a:tileRect l="-100000" t="-100000"/>
                </a:gra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Text" lastClr="000000"/>
                    </a:solidFill>
                    <a:latin typeface="+mn-lt"/>
                    <a:cs typeface="+mn-cs"/>
                  </a:endParaRPr>
                </a:p>
              </p:txBody>
            </p:sp>
          </p:grpSp>
          <p:sp>
            <p:nvSpPr>
              <p:cNvPr id="170" name="Freeform 10"/>
              <p:cNvSpPr>
                <a:spLocks/>
              </p:cNvSpPr>
              <p:nvPr/>
            </p:nvSpPr>
            <p:spPr bwMode="auto">
              <a:xfrm>
                <a:off x="6761765" y="3952997"/>
                <a:ext cx="1031921" cy="1220840"/>
              </a:xfrm>
              <a:custGeom>
                <a:avLst/>
                <a:gdLst/>
                <a:ahLst/>
                <a:cxnLst>
                  <a:cxn ang="0">
                    <a:pos x="648" y="384"/>
                  </a:cxn>
                  <a:cxn ang="0">
                    <a:pos x="642" y="462"/>
                  </a:cxn>
                  <a:cxn ang="0">
                    <a:pos x="624" y="532"/>
                  </a:cxn>
                  <a:cxn ang="0">
                    <a:pos x="594" y="598"/>
                  </a:cxn>
                  <a:cxn ang="0">
                    <a:pos x="554" y="654"/>
                  </a:cxn>
                  <a:cxn ang="0">
                    <a:pos x="506" y="702"/>
                  </a:cxn>
                  <a:cxn ang="0">
                    <a:pos x="450" y="736"/>
                  </a:cxn>
                  <a:cxn ang="0">
                    <a:pos x="390" y="760"/>
                  </a:cxn>
                  <a:cxn ang="0">
                    <a:pos x="324" y="766"/>
                  </a:cxn>
                  <a:cxn ang="0">
                    <a:pos x="290" y="764"/>
                  </a:cxn>
                  <a:cxn ang="0">
                    <a:pos x="228" y="750"/>
                  </a:cxn>
                  <a:cxn ang="0">
                    <a:pos x="170" y="720"/>
                  </a:cxn>
                  <a:cxn ang="0">
                    <a:pos x="118" y="680"/>
                  </a:cxn>
                  <a:cxn ang="0">
                    <a:pos x="74" y="628"/>
                  </a:cxn>
                  <a:cxn ang="0">
                    <a:pos x="38" y="566"/>
                  </a:cxn>
                  <a:cxn ang="0">
                    <a:pos x="14" y="498"/>
                  </a:cxn>
                  <a:cxn ang="0">
                    <a:pos x="0" y="424"/>
                  </a:cxn>
                  <a:cxn ang="0">
                    <a:pos x="0" y="384"/>
                  </a:cxn>
                  <a:cxn ang="0">
                    <a:pos x="6" y="306"/>
                  </a:cxn>
                  <a:cxn ang="0">
                    <a:pos x="24" y="234"/>
                  </a:cxn>
                  <a:cxn ang="0">
                    <a:pos x="54" y="170"/>
                  </a:cxn>
                  <a:cxn ang="0">
                    <a:pos x="94" y="114"/>
                  </a:cxn>
                  <a:cxn ang="0">
                    <a:pos x="142" y="66"/>
                  </a:cxn>
                  <a:cxn ang="0">
                    <a:pos x="198" y="32"/>
                  </a:cxn>
                  <a:cxn ang="0">
                    <a:pos x="258" y="8"/>
                  </a:cxn>
                  <a:cxn ang="0">
                    <a:pos x="324" y="0"/>
                  </a:cxn>
                  <a:cxn ang="0">
                    <a:pos x="358" y="2"/>
                  </a:cxn>
                  <a:cxn ang="0">
                    <a:pos x="420" y="18"/>
                  </a:cxn>
                  <a:cxn ang="0">
                    <a:pos x="478" y="48"/>
                  </a:cxn>
                  <a:cxn ang="0">
                    <a:pos x="530" y="88"/>
                  </a:cxn>
                  <a:cxn ang="0">
                    <a:pos x="574" y="140"/>
                  </a:cxn>
                  <a:cxn ang="0">
                    <a:pos x="610" y="202"/>
                  </a:cxn>
                  <a:cxn ang="0">
                    <a:pos x="634" y="270"/>
                  </a:cxn>
                  <a:cxn ang="0">
                    <a:pos x="646" y="344"/>
                  </a:cxn>
                  <a:cxn ang="0">
                    <a:pos x="648" y="384"/>
                  </a:cxn>
                </a:cxnLst>
                <a:rect l="0" t="0" r="r" b="b"/>
                <a:pathLst>
                  <a:path w="648" h="766">
                    <a:moveTo>
                      <a:pt x="648" y="384"/>
                    </a:moveTo>
                    <a:lnTo>
                      <a:pt x="648" y="384"/>
                    </a:lnTo>
                    <a:lnTo>
                      <a:pt x="646" y="424"/>
                    </a:lnTo>
                    <a:lnTo>
                      <a:pt x="642" y="462"/>
                    </a:lnTo>
                    <a:lnTo>
                      <a:pt x="634" y="498"/>
                    </a:lnTo>
                    <a:lnTo>
                      <a:pt x="624" y="532"/>
                    </a:lnTo>
                    <a:lnTo>
                      <a:pt x="610" y="566"/>
                    </a:lnTo>
                    <a:lnTo>
                      <a:pt x="594" y="598"/>
                    </a:lnTo>
                    <a:lnTo>
                      <a:pt x="574" y="628"/>
                    </a:lnTo>
                    <a:lnTo>
                      <a:pt x="554" y="654"/>
                    </a:lnTo>
                    <a:lnTo>
                      <a:pt x="530" y="680"/>
                    </a:lnTo>
                    <a:lnTo>
                      <a:pt x="506" y="702"/>
                    </a:lnTo>
                    <a:lnTo>
                      <a:pt x="478" y="720"/>
                    </a:lnTo>
                    <a:lnTo>
                      <a:pt x="450" y="736"/>
                    </a:lnTo>
                    <a:lnTo>
                      <a:pt x="420" y="750"/>
                    </a:lnTo>
                    <a:lnTo>
                      <a:pt x="390" y="760"/>
                    </a:lnTo>
                    <a:lnTo>
                      <a:pt x="358" y="764"/>
                    </a:lnTo>
                    <a:lnTo>
                      <a:pt x="324" y="766"/>
                    </a:lnTo>
                    <a:lnTo>
                      <a:pt x="324" y="766"/>
                    </a:lnTo>
                    <a:lnTo>
                      <a:pt x="290" y="764"/>
                    </a:lnTo>
                    <a:lnTo>
                      <a:pt x="258" y="760"/>
                    </a:lnTo>
                    <a:lnTo>
                      <a:pt x="228" y="750"/>
                    </a:lnTo>
                    <a:lnTo>
                      <a:pt x="198" y="736"/>
                    </a:lnTo>
                    <a:lnTo>
                      <a:pt x="170" y="720"/>
                    </a:lnTo>
                    <a:lnTo>
                      <a:pt x="142" y="702"/>
                    </a:lnTo>
                    <a:lnTo>
                      <a:pt x="118" y="680"/>
                    </a:lnTo>
                    <a:lnTo>
                      <a:pt x="94" y="654"/>
                    </a:lnTo>
                    <a:lnTo>
                      <a:pt x="74" y="628"/>
                    </a:lnTo>
                    <a:lnTo>
                      <a:pt x="54" y="598"/>
                    </a:lnTo>
                    <a:lnTo>
                      <a:pt x="38" y="566"/>
                    </a:lnTo>
                    <a:lnTo>
                      <a:pt x="24" y="532"/>
                    </a:lnTo>
                    <a:lnTo>
                      <a:pt x="14" y="498"/>
                    </a:lnTo>
                    <a:lnTo>
                      <a:pt x="6" y="462"/>
                    </a:lnTo>
                    <a:lnTo>
                      <a:pt x="0" y="424"/>
                    </a:lnTo>
                    <a:lnTo>
                      <a:pt x="0" y="384"/>
                    </a:lnTo>
                    <a:lnTo>
                      <a:pt x="0" y="384"/>
                    </a:lnTo>
                    <a:lnTo>
                      <a:pt x="0" y="344"/>
                    </a:lnTo>
                    <a:lnTo>
                      <a:pt x="6" y="306"/>
                    </a:lnTo>
                    <a:lnTo>
                      <a:pt x="14" y="270"/>
                    </a:lnTo>
                    <a:lnTo>
                      <a:pt x="24" y="234"/>
                    </a:lnTo>
                    <a:lnTo>
                      <a:pt x="38" y="202"/>
                    </a:lnTo>
                    <a:lnTo>
                      <a:pt x="54" y="170"/>
                    </a:lnTo>
                    <a:lnTo>
                      <a:pt x="74" y="140"/>
                    </a:lnTo>
                    <a:lnTo>
                      <a:pt x="94" y="114"/>
                    </a:lnTo>
                    <a:lnTo>
                      <a:pt x="118" y="88"/>
                    </a:lnTo>
                    <a:lnTo>
                      <a:pt x="142" y="66"/>
                    </a:lnTo>
                    <a:lnTo>
                      <a:pt x="170" y="48"/>
                    </a:lnTo>
                    <a:lnTo>
                      <a:pt x="198" y="32"/>
                    </a:lnTo>
                    <a:lnTo>
                      <a:pt x="228" y="18"/>
                    </a:lnTo>
                    <a:lnTo>
                      <a:pt x="258" y="8"/>
                    </a:lnTo>
                    <a:lnTo>
                      <a:pt x="290" y="2"/>
                    </a:lnTo>
                    <a:lnTo>
                      <a:pt x="324" y="0"/>
                    </a:lnTo>
                    <a:lnTo>
                      <a:pt x="324" y="0"/>
                    </a:lnTo>
                    <a:lnTo>
                      <a:pt x="358" y="2"/>
                    </a:lnTo>
                    <a:lnTo>
                      <a:pt x="390" y="8"/>
                    </a:lnTo>
                    <a:lnTo>
                      <a:pt x="420" y="18"/>
                    </a:lnTo>
                    <a:lnTo>
                      <a:pt x="450" y="32"/>
                    </a:lnTo>
                    <a:lnTo>
                      <a:pt x="478" y="48"/>
                    </a:lnTo>
                    <a:lnTo>
                      <a:pt x="506" y="66"/>
                    </a:lnTo>
                    <a:lnTo>
                      <a:pt x="530" y="88"/>
                    </a:lnTo>
                    <a:lnTo>
                      <a:pt x="554" y="114"/>
                    </a:lnTo>
                    <a:lnTo>
                      <a:pt x="574" y="140"/>
                    </a:lnTo>
                    <a:lnTo>
                      <a:pt x="594" y="170"/>
                    </a:lnTo>
                    <a:lnTo>
                      <a:pt x="610" y="202"/>
                    </a:lnTo>
                    <a:lnTo>
                      <a:pt x="624" y="234"/>
                    </a:lnTo>
                    <a:lnTo>
                      <a:pt x="634" y="270"/>
                    </a:lnTo>
                    <a:lnTo>
                      <a:pt x="642" y="306"/>
                    </a:lnTo>
                    <a:lnTo>
                      <a:pt x="646" y="344"/>
                    </a:lnTo>
                    <a:lnTo>
                      <a:pt x="648" y="384"/>
                    </a:lnTo>
                    <a:lnTo>
                      <a:pt x="648" y="384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FFFFFF"/>
                  </a:gs>
                  <a:gs pos="50000">
                    <a:srgbClr val="808080">
                      <a:shade val="67500"/>
                      <a:satMod val="115000"/>
                    </a:srgbClr>
                  </a:gs>
                  <a:gs pos="100000">
                    <a:srgbClr val="808080">
                      <a:shade val="100000"/>
                      <a:satMod val="115000"/>
                    </a:srgbClr>
                  </a:gs>
                </a:gsLst>
                <a:lin ang="0" scaled="1"/>
                <a:tileRect/>
              </a:gra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>
                  <a:solidFill>
                    <a:sysClr val="windowText" lastClr="000000"/>
                  </a:solidFill>
                  <a:latin typeface="+mn-lt"/>
                  <a:cs typeface="+mn-cs"/>
                </a:endParaRPr>
              </a:p>
            </p:txBody>
          </p:sp>
          <p:sp>
            <p:nvSpPr>
              <p:cNvPr id="171" name="Freeform 11"/>
              <p:cNvSpPr>
                <a:spLocks/>
              </p:cNvSpPr>
              <p:nvPr/>
            </p:nvSpPr>
            <p:spPr bwMode="auto">
              <a:xfrm>
                <a:off x="6761765" y="4021777"/>
                <a:ext cx="928729" cy="1091881"/>
              </a:xfrm>
              <a:custGeom>
                <a:avLst/>
                <a:gdLst/>
                <a:ahLst/>
                <a:cxnLst>
                  <a:cxn ang="0">
                    <a:pos x="586" y="344"/>
                  </a:cxn>
                  <a:cxn ang="0">
                    <a:pos x="580" y="412"/>
                  </a:cxn>
                  <a:cxn ang="0">
                    <a:pos x="564" y="478"/>
                  </a:cxn>
                  <a:cxn ang="0">
                    <a:pos x="536" y="536"/>
                  </a:cxn>
                  <a:cxn ang="0">
                    <a:pos x="500" y="586"/>
                  </a:cxn>
                  <a:cxn ang="0">
                    <a:pos x="456" y="628"/>
                  </a:cxn>
                  <a:cxn ang="0">
                    <a:pos x="408" y="660"/>
                  </a:cxn>
                  <a:cxn ang="0">
                    <a:pos x="352" y="680"/>
                  </a:cxn>
                  <a:cxn ang="0">
                    <a:pos x="292" y="686"/>
                  </a:cxn>
                  <a:cxn ang="0">
                    <a:pos x="262" y="684"/>
                  </a:cxn>
                  <a:cxn ang="0">
                    <a:pos x="206" y="672"/>
                  </a:cxn>
                  <a:cxn ang="0">
                    <a:pos x="152" y="646"/>
                  </a:cxn>
                  <a:cxn ang="0">
                    <a:pos x="106" y="608"/>
                  </a:cxn>
                  <a:cxn ang="0">
                    <a:pos x="66" y="562"/>
                  </a:cxn>
                  <a:cxn ang="0">
                    <a:pos x="34" y="508"/>
                  </a:cxn>
                  <a:cxn ang="0">
                    <a:pos x="12" y="446"/>
                  </a:cxn>
                  <a:cxn ang="0">
                    <a:pos x="0" y="378"/>
                  </a:cxn>
                  <a:cxn ang="0">
                    <a:pos x="0" y="344"/>
                  </a:cxn>
                  <a:cxn ang="0">
                    <a:pos x="6" y="274"/>
                  </a:cxn>
                  <a:cxn ang="0">
                    <a:pos x="22" y="210"/>
                  </a:cxn>
                  <a:cxn ang="0">
                    <a:pos x="50" y="152"/>
                  </a:cxn>
                  <a:cxn ang="0">
                    <a:pos x="86" y="100"/>
                  </a:cxn>
                  <a:cxn ang="0">
                    <a:pos x="128" y="58"/>
                  </a:cxn>
                  <a:cxn ang="0">
                    <a:pos x="178" y="28"/>
                  </a:cxn>
                  <a:cxn ang="0">
                    <a:pos x="234" y="8"/>
                  </a:cxn>
                  <a:cxn ang="0">
                    <a:pos x="292" y="0"/>
                  </a:cxn>
                  <a:cxn ang="0">
                    <a:pos x="322" y="2"/>
                  </a:cxn>
                  <a:cxn ang="0">
                    <a:pos x="380" y="16"/>
                  </a:cxn>
                  <a:cxn ang="0">
                    <a:pos x="432" y="42"/>
                  </a:cxn>
                  <a:cxn ang="0">
                    <a:pos x="480" y="78"/>
                  </a:cxn>
                  <a:cxn ang="0">
                    <a:pos x="520" y="126"/>
                  </a:cxn>
                  <a:cxn ang="0">
                    <a:pos x="550" y="180"/>
                  </a:cxn>
                  <a:cxn ang="0">
                    <a:pos x="574" y="242"/>
                  </a:cxn>
                  <a:cxn ang="0">
                    <a:pos x="584" y="308"/>
                  </a:cxn>
                  <a:cxn ang="0">
                    <a:pos x="586" y="344"/>
                  </a:cxn>
                </a:cxnLst>
                <a:rect l="0" t="0" r="r" b="b"/>
                <a:pathLst>
                  <a:path w="586" h="686">
                    <a:moveTo>
                      <a:pt x="586" y="344"/>
                    </a:moveTo>
                    <a:lnTo>
                      <a:pt x="586" y="344"/>
                    </a:lnTo>
                    <a:lnTo>
                      <a:pt x="584" y="378"/>
                    </a:lnTo>
                    <a:lnTo>
                      <a:pt x="580" y="412"/>
                    </a:lnTo>
                    <a:lnTo>
                      <a:pt x="574" y="446"/>
                    </a:lnTo>
                    <a:lnTo>
                      <a:pt x="564" y="478"/>
                    </a:lnTo>
                    <a:lnTo>
                      <a:pt x="550" y="508"/>
                    </a:lnTo>
                    <a:lnTo>
                      <a:pt x="536" y="536"/>
                    </a:lnTo>
                    <a:lnTo>
                      <a:pt x="520" y="562"/>
                    </a:lnTo>
                    <a:lnTo>
                      <a:pt x="500" y="586"/>
                    </a:lnTo>
                    <a:lnTo>
                      <a:pt x="480" y="608"/>
                    </a:lnTo>
                    <a:lnTo>
                      <a:pt x="456" y="628"/>
                    </a:lnTo>
                    <a:lnTo>
                      <a:pt x="432" y="646"/>
                    </a:lnTo>
                    <a:lnTo>
                      <a:pt x="408" y="660"/>
                    </a:lnTo>
                    <a:lnTo>
                      <a:pt x="380" y="672"/>
                    </a:lnTo>
                    <a:lnTo>
                      <a:pt x="352" y="680"/>
                    </a:lnTo>
                    <a:lnTo>
                      <a:pt x="322" y="684"/>
                    </a:lnTo>
                    <a:lnTo>
                      <a:pt x="292" y="686"/>
                    </a:lnTo>
                    <a:lnTo>
                      <a:pt x="292" y="686"/>
                    </a:lnTo>
                    <a:lnTo>
                      <a:pt x="262" y="684"/>
                    </a:lnTo>
                    <a:lnTo>
                      <a:pt x="234" y="680"/>
                    </a:lnTo>
                    <a:lnTo>
                      <a:pt x="206" y="672"/>
                    </a:lnTo>
                    <a:lnTo>
                      <a:pt x="178" y="660"/>
                    </a:lnTo>
                    <a:lnTo>
                      <a:pt x="152" y="646"/>
                    </a:lnTo>
                    <a:lnTo>
                      <a:pt x="128" y="628"/>
                    </a:lnTo>
                    <a:lnTo>
                      <a:pt x="106" y="608"/>
                    </a:lnTo>
                    <a:lnTo>
                      <a:pt x="86" y="586"/>
                    </a:lnTo>
                    <a:lnTo>
                      <a:pt x="66" y="562"/>
                    </a:lnTo>
                    <a:lnTo>
                      <a:pt x="50" y="536"/>
                    </a:lnTo>
                    <a:lnTo>
                      <a:pt x="34" y="508"/>
                    </a:lnTo>
                    <a:lnTo>
                      <a:pt x="22" y="478"/>
                    </a:lnTo>
                    <a:lnTo>
                      <a:pt x="12" y="446"/>
                    </a:lnTo>
                    <a:lnTo>
                      <a:pt x="6" y="412"/>
                    </a:lnTo>
                    <a:lnTo>
                      <a:pt x="0" y="378"/>
                    </a:lnTo>
                    <a:lnTo>
                      <a:pt x="0" y="344"/>
                    </a:lnTo>
                    <a:lnTo>
                      <a:pt x="0" y="344"/>
                    </a:lnTo>
                    <a:lnTo>
                      <a:pt x="0" y="308"/>
                    </a:lnTo>
                    <a:lnTo>
                      <a:pt x="6" y="274"/>
                    </a:lnTo>
                    <a:lnTo>
                      <a:pt x="12" y="242"/>
                    </a:lnTo>
                    <a:lnTo>
                      <a:pt x="22" y="210"/>
                    </a:lnTo>
                    <a:lnTo>
                      <a:pt x="34" y="180"/>
                    </a:lnTo>
                    <a:lnTo>
                      <a:pt x="50" y="152"/>
                    </a:lnTo>
                    <a:lnTo>
                      <a:pt x="66" y="126"/>
                    </a:lnTo>
                    <a:lnTo>
                      <a:pt x="86" y="100"/>
                    </a:lnTo>
                    <a:lnTo>
                      <a:pt x="106" y="78"/>
                    </a:lnTo>
                    <a:lnTo>
                      <a:pt x="128" y="58"/>
                    </a:lnTo>
                    <a:lnTo>
                      <a:pt x="152" y="42"/>
                    </a:lnTo>
                    <a:lnTo>
                      <a:pt x="178" y="28"/>
                    </a:lnTo>
                    <a:lnTo>
                      <a:pt x="206" y="16"/>
                    </a:lnTo>
                    <a:lnTo>
                      <a:pt x="234" y="8"/>
                    </a:lnTo>
                    <a:lnTo>
                      <a:pt x="262" y="2"/>
                    </a:lnTo>
                    <a:lnTo>
                      <a:pt x="292" y="0"/>
                    </a:lnTo>
                    <a:lnTo>
                      <a:pt x="292" y="0"/>
                    </a:lnTo>
                    <a:lnTo>
                      <a:pt x="322" y="2"/>
                    </a:lnTo>
                    <a:lnTo>
                      <a:pt x="352" y="8"/>
                    </a:lnTo>
                    <a:lnTo>
                      <a:pt x="380" y="16"/>
                    </a:lnTo>
                    <a:lnTo>
                      <a:pt x="408" y="28"/>
                    </a:lnTo>
                    <a:lnTo>
                      <a:pt x="432" y="42"/>
                    </a:lnTo>
                    <a:lnTo>
                      <a:pt x="456" y="58"/>
                    </a:lnTo>
                    <a:lnTo>
                      <a:pt x="480" y="78"/>
                    </a:lnTo>
                    <a:lnTo>
                      <a:pt x="500" y="100"/>
                    </a:lnTo>
                    <a:lnTo>
                      <a:pt x="520" y="126"/>
                    </a:lnTo>
                    <a:lnTo>
                      <a:pt x="536" y="152"/>
                    </a:lnTo>
                    <a:lnTo>
                      <a:pt x="550" y="180"/>
                    </a:lnTo>
                    <a:lnTo>
                      <a:pt x="564" y="210"/>
                    </a:lnTo>
                    <a:lnTo>
                      <a:pt x="574" y="242"/>
                    </a:lnTo>
                    <a:lnTo>
                      <a:pt x="580" y="274"/>
                    </a:lnTo>
                    <a:lnTo>
                      <a:pt x="584" y="308"/>
                    </a:lnTo>
                    <a:lnTo>
                      <a:pt x="586" y="344"/>
                    </a:lnTo>
                    <a:lnTo>
                      <a:pt x="586" y="344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FFFFFF"/>
                  </a:gs>
                  <a:gs pos="50000">
                    <a:srgbClr val="808080">
                      <a:shade val="67500"/>
                      <a:satMod val="115000"/>
                    </a:srgbClr>
                  </a:gs>
                  <a:gs pos="100000">
                    <a:srgbClr val="808080">
                      <a:shade val="100000"/>
                      <a:satMod val="115000"/>
                    </a:srgbClr>
                  </a:gs>
                </a:gsLst>
                <a:lin ang="13500000" scaled="1"/>
                <a:tileRect/>
              </a:gra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>
                  <a:solidFill>
                    <a:sysClr val="windowText" lastClr="000000"/>
                  </a:solidFill>
                  <a:latin typeface="+mn-lt"/>
                  <a:cs typeface="+mn-cs"/>
                </a:endParaRPr>
              </a:p>
            </p:txBody>
          </p:sp>
          <p:sp>
            <p:nvSpPr>
              <p:cNvPr id="172" name="Freeform 13"/>
              <p:cNvSpPr>
                <a:spLocks/>
              </p:cNvSpPr>
              <p:nvPr/>
            </p:nvSpPr>
            <p:spPr bwMode="auto">
              <a:xfrm>
                <a:off x="5721247" y="2671977"/>
                <a:ext cx="1238306" cy="352493"/>
              </a:xfrm>
              <a:custGeom>
                <a:avLst/>
                <a:gdLst/>
                <a:ahLst/>
                <a:cxnLst>
                  <a:cxn ang="0">
                    <a:pos x="776" y="224"/>
                  </a:cxn>
                  <a:cxn ang="0">
                    <a:pos x="776" y="224"/>
                  </a:cxn>
                  <a:cxn ang="0">
                    <a:pos x="736" y="202"/>
                  </a:cxn>
                  <a:cxn ang="0">
                    <a:pos x="694" y="176"/>
                  </a:cxn>
                  <a:cxn ang="0">
                    <a:pos x="648" y="146"/>
                  </a:cxn>
                  <a:cxn ang="0">
                    <a:pos x="600" y="112"/>
                  </a:cxn>
                  <a:cxn ang="0">
                    <a:pos x="580" y="94"/>
                  </a:cxn>
                  <a:cxn ang="0">
                    <a:pos x="560" y="76"/>
                  </a:cxn>
                  <a:cxn ang="0">
                    <a:pos x="544" y="58"/>
                  </a:cxn>
                  <a:cxn ang="0">
                    <a:pos x="532" y="42"/>
                  </a:cxn>
                  <a:cxn ang="0">
                    <a:pos x="524" y="26"/>
                  </a:cxn>
                  <a:cxn ang="0">
                    <a:pos x="522" y="20"/>
                  </a:cxn>
                  <a:cxn ang="0">
                    <a:pos x="522" y="12"/>
                  </a:cxn>
                  <a:cxn ang="0">
                    <a:pos x="522" y="12"/>
                  </a:cxn>
                  <a:cxn ang="0">
                    <a:pos x="486" y="8"/>
                  </a:cxn>
                  <a:cxn ang="0">
                    <a:pos x="448" y="4"/>
                  </a:cxn>
                  <a:cxn ang="0">
                    <a:pos x="400" y="2"/>
                  </a:cxn>
                  <a:cxn ang="0">
                    <a:pos x="350" y="0"/>
                  </a:cxn>
                  <a:cxn ang="0">
                    <a:pos x="302" y="2"/>
                  </a:cxn>
                  <a:cxn ang="0">
                    <a:pos x="278" y="4"/>
                  </a:cxn>
                  <a:cxn ang="0">
                    <a:pos x="258" y="6"/>
                  </a:cxn>
                  <a:cxn ang="0">
                    <a:pos x="240" y="10"/>
                  </a:cxn>
                  <a:cxn ang="0">
                    <a:pos x="224" y="16"/>
                  </a:cxn>
                  <a:cxn ang="0">
                    <a:pos x="224" y="16"/>
                  </a:cxn>
                  <a:cxn ang="0">
                    <a:pos x="202" y="42"/>
                  </a:cxn>
                  <a:cxn ang="0">
                    <a:pos x="176" y="70"/>
                  </a:cxn>
                  <a:cxn ang="0">
                    <a:pos x="144" y="102"/>
                  </a:cxn>
                  <a:cxn ang="0">
                    <a:pos x="110" y="134"/>
                  </a:cxn>
                  <a:cxn ang="0">
                    <a:pos x="74" y="164"/>
                  </a:cxn>
                  <a:cxn ang="0">
                    <a:pos x="56" y="176"/>
                  </a:cxn>
                  <a:cxn ang="0">
                    <a:pos x="38" y="188"/>
                  </a:cxn>
                  <a:cxn ang="0">
                    <a:pos x="22" y="196"/>
                  </a:cxn>
                  <a:cxn ang="0">
                    <a:pos x="8" y="202"/>
                  </a:cxn>
                  <a:cxn ang="0">
                    <a:pos x="8" y="202"/>
                  </a:cxn>
                  <a:cxn ang="0">
                    <a:pos x="0" y="204"/>
                  </a:cxn>
                  <a:cxn ang="0">
                    <a:pos x="28" y="196"/>
                  </a:cxn>
                  <a:cxn ang="0">
                    <a:pos x="92" y="184"/>
                  </a:cxn>
                  <a:cxn ang="0">
                    <a:pos x="134" y="178"/>
                  </a:cxn>
                  <a:cxn ang="0">
                    <a:pos x="184" y="172"/>
                  </a:cxn>
                  <a:cxn ang="0">
                    <a:pos x="242" y="168"/>
                  </a:cxn>
                  <a:cxn ang="0">
                    <a:pos x="304" y="166"/>
                  </a:cxn>
                  <a:cxn ang="0">
                    <a:pos x="372" y="166"/>
                  </a:cxn>
                  <a:cxn ang="0">
                    <a:pos x="444" y="170"/>
                  </a:cxn>
                  <a:cxn ang="0">
                    <a:pos x="522" y="176"/>
                  </a:cxn>
                  <a:cxn ang="0">
                    <a:pos x="602" y="188"/>
                  </a:cxn>
                  <a:cxn ang="0">
                    <a:pos x="688" y="204"/>
                  </a:cxn>
                  <a:cxn ang="0">
                    <a:pos x="732" y="214"/>
                  </a:cxn>
                  <a:cxn ang="0">
                    <a:pos x="776" y="224"/>
                  </a:cxn>
                  <a:cxn ang="0">
                    <a:pos x="776" y="224"/>
                  </a:cxn>
                </a:cxnLst>
                <a:rect l="0" t="0" r="r" b="b"/>
                <a:pathLst>
                  <a:path w="776" h="224">
                    <a:moveTo>
                      <a:pt x="776" y="224"/>
                    </a:moveTo>
                    <a:lnTo>
                      <a:pt x="776" y="224"/>
                    </a:lnTo>
                    <a:lnTo>
                      <a:pt x="736" y="202"/>
                    </a:lnTo>
                    <a:lnTo>
                      <a:pt x="694" y="176"/>
                    </a:lnTo>
                    <a:lnTo>
                      <a:pt x="648" y="146"/>
                    </a:lnTo>
                    <a:lnTo>
                      <a:pt x="600" y="112"/>
                    </a:lnTo>
                    <a:lnTo>
                      <a:pt x="580" y="94"/>
                    </a:lnTo>
                    <a:lnTo>
                      <a:pt x="560" y="76"/>
                    </a:lnTo>
                    <a:lnTo>
                      <a:pt x="544" y="58"/>
                    </a:lnTo>
                    <a:lnTo>
                      <a:pt x="532" y="42"/>
                    </a:lnTo>
                    <a:lnTo>
                      <a:pt x="524" y="26"/>
                    </a:lnTo>
                    <a:lnTo>
                      <a:pt x="522" y="20"/>
                    </a:lnTo>
                    <a:lnTo>
                      <a:pt x="522" y="12"/>
                    </a:lnTo>
                    <a:lnTo>
                      <a:pt x="522" y="12"/>
                    </a:lnTo>
                    <a:lnTo>
                      <a:pt x="486" y="8"/>
                    </a:lnTo>
                    <a:lnTo>
                      <a:pt x="448" y="4"/>
                    </a:lnTo>
                    <a:lnTo>
                      <a:pt x="400" y="2"/>
                    </a:lnTo>
                    <a:lnTo>
                      <a:pt x="350" y="0"/>
                    </a:lnTo>
                    <a:lnTo>
                      <a:pt x="302" y="2"/>
                    </a:lnTo>
                    <a:lnTo>
                      <a:pt x="278" y="4"/>
                    </a:lnTo>
                    <a:lnTo>
                      <a:pt x="258" y="6"/>
                    </a:lnTo>
                    <a:lnTo>
                      <a:pt x="240" y="10"/>
                    </a:lnTo>
                    <a:lnTo>
                      <a:pt x="224" y="16"/>
                    </a:lnTo>
                    <a:lnTo>
                      <a:pt x="224" y="16"/>
                    </a:lnTo>
                    <a:lnTo>
                      <a:pt x="202" y="42"/>
                    </a:lnTo>
                    <a:lnTo>
                      <a:pt x="176" y="70"/>
                    </a:lnTo>
                    <a:lnTo>
                      <a:pt x="144" y="102"/>
                    </a:lnTo>
                    <a:lnTo>
                      <a:pt x="110" y="134"/>
                    </a:lnTo>
                    <a:lnTo>
                      <a:pt x="74" y="164"/>
                    </a:lnTo>
                    <a:lnTo>
                      <a:pt x="56" y="176"/>
                    </a:lnTo>
                    <a:lnTo>
                      <a:pt x="38" y="188"/>
                    </a:lnTo>
                    <a:lnTo>
                      <a:pt x="22" y="196"/>
                    </a:lnTo>
                    <a:lnTo>
                      <a:pt x="8" y="202"/>
                    </a:lnTo>
                    <a:lnTo>
                      <a:pt x="8" y="202"/>
                    </a:lnTo>
                    <a:lnTo>
                      <a:pt x="0" y="204"/>
                    </a:lnTo>
                    <a:lnTo>
                      <a:pt x="28" y="196"/>
                    </a:lnTo>
                    <a:lnTo>
                      <a:pt x="92" y="184"/>
                    </a:lnTo>
                    <a:lnTo>
                      <a:pt x="134" y="178"/>
                    </a:lnTo>
                    <a:lnTo>
                      <a:pt x="184" y="172"/>
                    </a:lnTo>
                    <a:lnTo>
                      <a:pt x="242" y="168"/>
                    </a:lnTo>
                    <a:lnTo>
                      <a:pt x="304" y="166"/>
                    </a:lnTo>
                    <a:lnTo>
                      <a:pt x="372" y="166"/>
                    </a:lnTo>
                    <a:lnTo>
                      <a:pt x="444" y="170"/>
                    </a:lnTo>
                    <a:lnTo>
                      <a:pt x="522" y="176"/>
                    </a:lnTo>
                    <a:lnTo>
                      <a:pt x="602" y="188"/>
                    </a:lnTo>
                    <a:lnTo>
                      <a:pt x="688" y="204"/>
                    </a:lnTo>
                    <a:lnTo>
                      <a:pt x="732" y="214"/>
                    </a:lnTo>
                    <a:lnTo>
                      <a:pt x="776" y="224"/>
                    </a:lnTo>
                    <a:lnTo>
                      <a:pt x="776" y="224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FFFFFF"/>
                  </a:gs>
                  <a:gs pos="50000">
                    <a:srgbClr val="808080">
                      <a:shade val="67500"/>
                      <a:satMod val="115000"/>
                    </a:srgbClr>
                  </a:gs>
                  <a:gs pos="100000">
                    <a:srgbClr val="808080">
                      <a:shade val="100000"/>
                      <a:satMod val="115000"/>
                    </a:srgbClr>
                  </a:gs>
                </a:gsLst>
                <a:lin ang="10800000" scaled="1"/>
                <a:tileRect/>
              </a:gra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>
                  <a:solidFill>
                    <a:sysClr val="windowText" lastClr="000000"/>
                  </a:solidFill>
                  <a:latin typeface="+mn-lt"/>
                  <a:cs typeface="+mn-cs"/>
                </a:endParaRPr>
              </a:p>
            </p:txBody>
          </p:sp>
          <p:sp>
            <p:nvSpPr>
              <p:cNvPr id="173" name="Freeform 14"/>
              <p:cNvSpPr>
                <a:spLocks/>
              </p:cNvSpPr>
              <p:nvPr/>
            </p:nvSpPr>
            <p:spPr bwMode="auto">
              <a:xfrm>
                <a:off x="5723572" y="3168650"/>
                <a:ext cx="1206500" cy="250825"/>
              </a:xfrm>
              <a:custGeom>
                <a:avLst/>
                <a:gdLst/>
                <a:ahLst/>
                <a:cxnLst>
                  <a:cxn ang="0">
                    <a:pos x="760" y="80"/>
                  </a:cxn>
                  <a:cxn ang="0">
                    <a:pos x="760" y="80"/>
                  </a:cxn>
                  <a:cxn ang="0">
                    <a:pos x="758" y="88"/>
                  </a:cxn>
                  <a:cxn ang="0">
                    <a:pos x="752" y="96"/>
                  </a:cxn>
                  <a:cxn ang="0">
                    <a:pos x="742" y="104"/>
                  </a:cxn>
                  <a:cxn ang="0">
                    <a:pos x="730" y="110"/>
                  </a:cxn>
                  <a:cxn ang="0">
                    <a:pos x="714" y="118"/>
                  </a:cxn>
                  <a:cxn ang="0">
                    <a:pos x="694" y="124"/>
                  </a:cxn>
                  <a:cxn ang="0">
                    <a:pos x="648" y="136"/>
                  </a:cxn>
                  <a:cxn ang="0">
                    <a:pos x="592" y="146"/>
                  </a:cxn>
                  <a:cxn ang="0">
                    <a:pos x="528" y="152"/>
                  </a:cxn>
                  <a:cxn ang="0">
                    <a:pos x="456" y="158"/>
                  </a:cxn>
                  <a:cxn ang="0">
                    <a:pos x="380" y="158"/>
                  </a:cxn>
                  <a:cxn ang="0">
                    <a:pos x="380" y="158"/>
                  </a:cxn>
                  <a:cxn ang="0">
                    <a:pos x="304" y="158"/>
                  </a:cxn>
                  <a:cxn ang="0">
                    <a:pos x="232" y="152"/>
                  </a:cxn>
                  <a:cxn ang="0">
                    <a:pos x="168" y="146"/>
                  </a:cxn>
                  <a:cxn ang="0">
                    <a:pos x="112" y="136"/>
                  </a:cxn>
                  <a:cxn ang="0">
                    <a:pos x="66" y="124"/>
                  </a:cxn>
                  <a:cxn ang="0">
                    <a:pos x="46" y="118"/>
                  </a:cxn>
                  <a:cxn ang="0">
                    <a:pos x="30" y="110"/>
                  </a:cxn>
                  <a:cxn ang="0">
                    <a:pos x="18" y="104"/>
                  </a:cxn>
                  <a:cxn ang="0">
                    <a:pos x="8" y="96"/>
                  </a:cxn>
                  <a:cxn ang="0">
                    <a:pos x="2" y="88"/>
                  </a:cxn>
                  <a:cxn ang="0">
                    <a:pos x="0" y="80"/>
                  </a:cxn>
                  <a:cxn ang="0">
                    <a:pos x="0" y="80"/>
                  </a:cxn>
                  <a:cxn ang="0">
                    <a:pos x="2" y="72"/>
                  </a:cxn>
                  <a:cxn ang="0">
                    <a:pos x="8" y="64"/>
                  </a:cxn>
                  <a:cxn ang="0">
                    <a:pos x="18" y="56"/>
                  </a:cxn>
                  <a:cxn ang="0">
                    <a:pos x="30" y="50"/>
                  </a:cxn>
                  <a:cxn ang="0">
                    <a:pos x="46" y="42"/>
                  </a:cxn>
                  <a:cxn ang="0">
                    <a:pos x="66" y="36"/>
                  </a:cxn>
                  <a:cxn ang="0">
                    <a:pos x="112" y="24"/>
                  </a:cxn>
                  <a:cxn ang="0">
                    <a:pos x="168" y="14"/>
                  </a:cxn>
                  <a:cxn ang="0">
                    <a:pos x="232" y="8"/>
                  </a:cxn>
                  <a:cxn ang="0">
                    <a:pos x="304" y="2"/>
                  </a:cxn>
                  <a:cxn ang="0">
                    <a:pos x="380" y="0"/>
                  </a:cxn>
                  <a:cxn ang="0">
                    <a:pos x="380" y="0"/>
                  </a:cxn>
                  <a:cxn ang="0">
                    <a:pos x="456" y="2"/>
                  </a:cxn>
                  <a:cxn ang="0">
                    <a:pos x="528" y="8"/>
                  </a:cxn>
                  <a:cxn ang="0">
                    <a:pos x="592" y="14"/>
                  </a:cxn>
                  <a:cxn ang="0">
                    <a:pos x="648" y="24"/>
                  </a:cxn>
                  <a:cxn ang="0">
                    <a:pos x="694" y="36"/>
                  </a:cxn>
                  <a:cxn ang="0">
                    <a:pos x="714" y="42"/>
                  </a:cxn>
                  <a:cxn ang="0">
                    <a:pos x="730" y="50"/>
                  </a:cxn>
                  <a:cxn ang="0">
                    <a:pos x="742" y="56"/>
                  </a:cxn>
                  <a:cxn ang="0">
                    <a:pos x="752" y="64"/>
                  </a:cxn>
                  <a:cxn ang="0">
                    <a:pos x="758" y="72"/>
                  </a:cxn>
                  <a:cxn ang="0">
                    <a:pos x="760" y="80"/>
                  </a:cxn>
                  <a:cxn ang="0">
                    <a:pos x="760" y="80"/>
                  </a:cxn>
                </a:cxnLst>
                <a:rect l="0" t="0" r="r" b="b"/>
                <a:pathLst>
                  <a:path w="760" h="158">
                    <a:moveTo>
                      <a:pt x="760" y="80"/>
                    </a:moveTo>
                    <a:lnTo>
                      <a:pt x="760" y="80"/>
                    </a:lnTo>
                    <a:lnTo>
                      <a:pt x="758" y="88"/>
                    </a:lnTo>
                    <a:lnTo>
                      <a:pt x="752" y="96"/>
                    </a:lnTo>
                    <a:lnTo>
                      <a:pt x="742" y="104"/>
                    </a:lnTo>
                    <a:lnTo>
                      <a:pt x="730" y="110"/>
                    </a:lnTo>
                    <a:lnTo>
                      <a:pt x="714" y="118"/>
                    </a:lnTo>
                    <a:lnTo>
                      <a:pt x="694" y="124"/>
                    </a:lnTo>
                    <a:lnTo>
                      <a:pt x="648" y="136"/>
                    </a:lnTo>
                    <a:lnTo>
                      <a:pt x="592" y="146"/>
                    </a:lnTo>
                    <a:lnTo>
                      <a:pt x="528" y="152"/>
                    </a:lnTo>
                    <a:lnTo>
                      <a:pt x="456" y="158"/>
                    </a:lnTo>
                    <a:lnTo>
                      <a:pt x="380" y="158"/>
                    </a:lnTo>
                    <a:lnTo>
                      <a:pt x="380" y="158"/>
                    </a:lnTo>
                    <a:lnTo>
                      <a:pt x="304" y="158"/>
                    </a:lnTo>
                    <a:lnTo>
                      <a:pt x="232" y="152"/>
                    </a:lnTo>
                    <a:lnTo>
                      <a:pt x="168" y="146"/>
                    </a:lnTo>
                    <a:lnTo>
                      <a:pt x="112" y="136"/>
                    </a:lnTo>
                    <a:lnTo>
                      <a:pt x="66" y="124"/>
                    </a:lnTo>
                    <a:lnTo>
                      <a:pt x="46" y="118"/>
                    </a:lnTo>
                    <a:lnTo>
                      <a:pt x="30" y="110"/>
                    </a:lnTo>
                    <a:lnTo>
                      <a:pt x="18" y="104"/>
                    </a:lnTo>
                    <a:lnTo>
                      <a:pt x="8" y="96"/>
                    </a:lnTo>
                    <a:lnTo>
                      <a:pt x="2" y="88"/>
                    </a:lnTo>
                    <a:lnTo>
                      <a:pt x="0" y="80"/>
                    </a:lnTo>
                    <a:lnTo>
                      <a:pt x="0" y="80"/>
                    </a:lnTo>
                    <a:lnTo>
                      <a:pt x="2" y="72"/>
                    </a:lnTo>
                    <a:lnTo>
                      <a:pt x="8" y="64"/>
                    </a:lnTo>
                    <a:lnTo>
                      <a:pt x="18" y="56"/>
                    </a:lnTo>
                    <a:lnTo>
                      <a:pt x="30" y="50"/>
                    </a:lnTo>
                    <a:lnTo>
                      <a:pt x="46" y="42"/>
                    </a:lnTo>
                    <a:lnTo>
                      <a:pt x="66" y="36"/>
                    </a:lnTo>
                    <a:lnTo>
                      <a:pt x="112" y="24"/>
                    </a:lnTo>
                    <a:lnTo>
                      <a:pt x="168" y="14"/>
                    </a:lnTo>
                    <a:lnTo>
                      <a:pt x="232" y="8"/>
                    </a:lnTo>
                    <a:lnTo>
                      <a:pt x="304" y="2"/>
                    </a:lnTo>
                    <a:lnTo>
                      <a:pt x="380" y="0"/>
                    </a:lnTo>
                    <a:lnTo>
                      <a:pt x="380" y="0"/>
                    </a:lnTo>
                    <a:lnTo>
                      <a:pt x="456" y="2"/>
                    </a:lnTo>
                    <a:lnTo>
                      <a:pt x="528" y="8"/>
                    </a:lnTo>
                    <a:lnTo>
                      <a:pt x="592" y="14"/>
                    </a:lnTo>
                    <a:lnTo>
                      <a:pt x="648" y="24"/>
                    </a:lnTo>
                    <a:lnTo>
                      <a:pt x="694" y="36"/>
                    </a:lnTo>
                    <a:lnTo>
                      <a:pt x="714" y="42"/>
                    </a:lnTo>
                    <a:lnTo>
                      <a:pt x="730" y="50"/>
                    </a:lnTo>
                    <a:lnTo>
                      <a:pt x="742" y="56"/>
                    </a:lnTo>
                    <a:lnTo>
                      <a:pt x="752" y="64"/>
                    </a:lnTo>
                    <a:lnTo>
                      <a:pt x="758" y="72"/>
                    </a:lnTo>
                    <a:lnTo>
                      <a:pt x="760" y="80"/>
                    </a:lnTo>
                    <a:lnTo>
                      <a:pt x="760" y="8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4D4D4D">
                      <a:shade val="30000"/>
                      <a:satMod val="115000"/>
                    </a:srgbClr>
                  </a:gs>
                  <a:gs pos="50000">
                    <a:srgbClr val="4D4D4D">
                      <a:shade val="67500"/>
                      <a:satMod val="115000"/>
                    </a:srgbClr>
                  </a:gs>
                  <a:gs pos="100000">
                    <a:srgbClr val="4D4D4D">
                      <a:shade val="100000"/>
                      <a:satMod val="115000"/>
                    </a:srgb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>
                  <a:solidFill>
                    <a:sysClr val="windowText" lastClr="000000"/>
                  </a:solidFill>
                  <a:latin typeface="+mn-lt"/>
                  <a:cs typeface="+mn-cs"/>
                </a:endParaRPr>
              </a:p>
            </p:txBody>
          </p:sp>
          <p:sp>
            <p:nvSpPr>
              <p:cNvPr id="174" name="Freeform 15"/>
              <p:cNvSpPr>
                <a:spLocks/>
              </p:cNvSpPr>
              <p:nvPr/>
            </p:nvSpPr>
            <p:spPr bwMode="auto">
              <a:xfrm>
                <a:off x="6073818" y="2448443"/>
                <a:ext cx="507364" cy="249324"/>
              </a:xfrm>
              <a:custGeom>
                <a:avLst/>
                <a:gdLst/>
                <a:ahLst/>
                <a:cxnLst>
                  <a:cxn ang="0">
                    <a:pos x="4" y="158"/>
                  </a:cxn>
                  <a:cxn ang="0">
                    <a:pos x="0" y="50"/>
                  </a:cxn>
                  <a:cxn ang="0">
                    <a:pos x="0" y="50"/>
                  </a:cxn>
                  <a:cxn ang="0">
                    <a:pos x="2" y="46"/>
                  </a:cxn>
                  <a:cxn ang="0">
                    <a:pos x="12" y="36"/>
                  </a:cxn>
                  <a:cxn ang="0">
                    <a:pos x="18" y="30"/>
                  </a:cxn>
                  <a:cxn ang="0">
                    <a:pos x="28" y="22"/>
                  </a:cxn>
                  <a:cxn ang="0">
                    <a:pos x="40" y="16"/>
                  </a:cxn>
                  <a:cxn ang="0">
                    <a:pos x="56" y="10"/>
                  </a:cxn>
                  <a:cxn ang="0">
                    <a:pos x="74" y="6"/>
                  </a:cxn>
                  <a:cxn ang="0">
                    <a:pos x="96" y="2"/>
                  </a:cxn>
                  <a:cxn ang="0">
                    <a:pos x="122" y="0"/>
                  </a:cxn>
                  <a:cxn ang="0">
                    <a:pos x="152" y="2"/>
                  </a:cxn>
                  <a:cxn ang="0">
                    <a:pos x="186" y="4"/>
                  </a:cxn>
                  <a:cxn ang="0">
                    <a:pos x="224" y="12"/>
                  </a:cxn>
                  <a:cxn ang="0">
                    <a:pos x="268" y="22"/>
                  </a:cxn>
                  <a:cxn ang="0">
                    <a:pos x="316" y="38"/>
                  </a:cxn>
                  <a:cxn ang="0">
                    <a:pos x="302" y="154"/>
                  </a:cxn>
                  <a:cxn ang="0">
                    <a:pos x="302" y="154"/>
                  </a:cxn>
                  <a:cxn ang="0">
                    <a:pos x="268" y="150"/>
                  </a:cxn>
                  <a:cxn ang="0">
                    <a:pos x="232" y="148"/>
                  </a:cxn>
                  <a:cxn ang="0">
                    <a:pos x="188" y="144"/>
                  </a:cxn>
                  <a:cxn ang="0">
                    <a:pos x="138" y="144"/>
                  </a:cxn>
                  <a:cxn ang="0">
                    <a:pos x="88" y="144"/>
                  </a:cxn>
                  <a:cxn ang="0">
                    <a:pos x="44" y="150"/>
                  </a:cxn>
                  <a:cxn ang="0">
                    <a:pos x="22" y="154"/>
                  </a:cxn>
                  <a:cxn ang="0">
                    <a:pos x="4" y="158"/>
                  </a:cxn>
                  <a:cxn ang="0">
                    <a:pos x="4" y="158"/>
                  </a:cxn>
                </a:cxnLst>
                <a:rect l="0" t="0" r="r" b="b"/>
                <a:pathLst>
                  <a:path w="316" h="158">
                    <a:moveTo>
                      <a:pt x="4" y="158"/>
                    </a:moveTo>
                    <a:lnTo>
                      <a:pt x="0" y="50"/>
                    </a:lnTo>
                    <a:lnTo>
                      <a:pt x="0" y="50"/>
                    </a:lnTo>
                    <a:lnTo>
                      <a:pt x="2" y="46"/>
                    </a:lnTo>
                    <a:lnTo>
                      <a:pt x="12" y="36"/>
                    </a:lnTo>
                    <a:lnTo>
                      <a:pt x="18" y="30"/>
                    </a:lnTo>
                    <a:lnTo>
                      <a:pt x="28" y="22"/>
                    </a:lnTo>
                    <a:lnTo>
                      <a:pt x="40" y="16"/>
                    </a:lnTo>
                    <a:lnTo>
                      <a:pt x="56" y="10"/>
                    </a:lnTo>
                    <a:lnTo>
                      <a:pt x="74" y="6"/>
                    </a:lnTo>
                    <a:lnTo>
                      <a:pt x="96" y="2"/>
                    </a:lnTo>
                    <a:lnTo>
                      <a:pt x="122" y="0"/>
                    </a:lnTo>
                    <a:lnTo>
                      <a:pt x="152" y="2"/>
                    </a:lnTo>
                    <a:lnTo>
                      <a:pt x="186" y="4"/>
                    </a:lnTo>
                    <a:lnTo>
                      <a:pt x="224" y="12"/>
                    </a:lnTo>
                    <a:lnTo>
                      <a:pt x="268" y="22"/>
                    </a:lnTo>
                    <a:lnTo>
                      <a:pt x="316" y="38"/>
                    </a:lnTo>
                    <a:lnTo>
                      <a:pt x="302" y="154"/>
                    </a:lnTo>
                    <a:lnTo>
                      <a:pt x="302" y="154"/>
                    </a:lnTo>
                    <a:lnTo>
                      <a:pt x="268" y="150"/>
                    </a:lnTo>
                    <a:lnTo>
                      <a:pt x="232" y="148"/>
                    </a:lnTo>
                    <a:lnTo>
                      <a:pt x="188" y="144"/>
                    </a:lnTo>
                    <a:lnTo>
                      <a:pt x="138" y="144"/>
                    </a:lnTo>
                    <a:lnTo>
                      <a:pt x="88" y="144"/>
                    </a:lnTo>
                    <a:lnTo>
                      <a:pt x="44" y="150"/>
                    </a:lnTo>
                    <a:lnTo>
                      <a:pt x="22" y="154"/>
                    </a:lnTo>
                    <a:lnTo>
                      <a:pt x="4" y="158"/>
                    </a:lnTo>
                    <a:lnTo>
                      <a:pt x="4" y="158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FFFFFF"/>
                  </a:gs>
                  <a:gs pos="50000">
                    <a:srgbClr val="808080">
                      <a:shade val="67500"/>
                      <a:satMod val="115000"/>
                    </a:srgbClr>
                  </a:gs>
                  <a:gs pos="100000">
                    <a:srgbClr val="808080">
                      <a:shade val="100000"/>
                      <a:satMod val="115000"/>
                    </a:srgbClr>
                  </a:gs>
                </a:gsLst>
                <a:lin ang="10800000" scaled="1"/>
                <a:tileRect/>
              </a:gra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>
                  <a:solidFill>
                    <a:sysClr val="windowText" lastClr="000000"/>
                  </a:solidFill>
                  <a:latin typeface="+mn-lt"/>
                  <a:cs typeface="+mn-cs"/>
                </a:endParaRPr>
              </a:p>
            </p:txBody>
          </p:sp>
          <p:sp>
            <p:nvSpPr>
              <p:cNvPr id="175" name="Freeform 16"/>
              <p:cNvSpPr>
                <a:spLocks/>
              </p:cNvSpPr>
              <p:nvPr/>
            </p:nvSpPr>
            <p:spPr bwMode="auto">
              <a:xfrm>
                <a:off x="5721247" y="2912706"/>
                <a:ext cx="1238306" cy="386883"/>
              </a:xfrm>
              <a:custGeom>
                <a:avLst/>
                <a:gdLst/>
                <a:ahLst/>
                <a:cxnLst>
                  <a:cxn ang="0">
                    <a:pos x="0" y="238"/>
                  </a:cxn>
                  <a:cxn ang="0">
                    <a:pos x="10" y="46"/>
                  </a:cxn>
                  <a:cxn ang="0">
                    <a:pos x="10" y="46"/>
                  </a:cxn>
                  <a:cxn ang="0">
                    <a:pos x="28" y="42"/>
                  </a:cxn>
                  <a:cxn ang="0">
                    <a:pos x="82" y="30"/>
                  </a:cxn>
                  <a:cxn ang="0">
                    <a:pos x="162" y="16"/>
                  </a:cxn>
                  <a:cxn ang="0">
                    <a:pos x="210" y="10"/>
                  </a:cxn>
                  <a:cxn ang="0">
                    <a:pos x="264" y="4"/>
                  </a:cxn>
                  <a:cxn ang="0">
                    <a:pos x="322" y="2"/>
                  </a:cxn>
                  <a:cxn ang="0">
                    <a:pos x="384" y="0"/>
                  </a:cxn>
                  <a:cxn ang="0">
                    <a:pos x="448" y="2"/>
                  </a:cxn>
                  <a:cxn ang="0">
                    <a:pos x="512" y="6"/>
                  </a:cxn>
                  <a:cxn ang="0">
                    <a:pos x="578" y="14"/>
                  </a:cxn>
                  <a:cxn ang="0">
                    <a:pos x="646" y="28"/>
                  </a:cxn>
                  <a:cxn ang="0">
                    <a:pos x="678" y="36"/>
                  </a:cxn>
                  <a:cxn ang="0">
                    <a:pos x="712" y="46"/>
                  </a:cxn>
                  <a:cxn ang="0">
                    <a:pos x="744" y="56"/>
                  </a:cxn>
                  <a:cxn ang="0">
                    <a:pos x="778" y="68"/>
                  </a:cxn>
                  <a:cxn ang="0">
                    <a:pos x="760" y="238"/>
                  </a:cxn>
                  <a:cxn ang="0">
                    <a:pos x="760" y="238"/>
                  </a:cxn>
                  <a:cxn ang="0">
                    <a:pos x="746" y="230"/>
                  </a:cxn>
                  <a:cxn ang="0">
                    <a:pos x="706" y="212"/>
                  </a:cxn>
                  <a:cxn ang="0">
                    <a:pos x="676" y="202"/>
                  </a:cxn>
                  <a:cxn ang="0">
                    <a:pos x="640" y="190"/>
                  </a:cxn>
                  <a:cxn ang="0">
                    <a:pos x="600" y="180"/>
                  </a:cxn>
                  <a:cxn ang="0">
                    <a:pos x="552" y="172"/>
                  </a:cxn>
                  <a:cxn ang="0">
                    <a:pos x="500" y="164"/>
                  </a:cxn>
                  <a:cxn ang="0">
                    <a:pos x="442" y="160"/>
                  </a:cxn>
                  <a:cxn ang="0">
                    <a:pos x="380" y="158"/>
                  </a:cxn>
                  <a:cxn ang="0">
                    <a:pos x="314" y="162"/>
                  </a:cxn>
                  <a:cxn ang="0">
                    <a:pos x="278" y="166"/>
                  </a:cxn>
                  <a:cxn ang="0">
                    <a:pos x="242" y="172"/>
                  </a:cxn>
                  <a:cxn ang="0">
                    <a:pos x="204" y="178"/>
                  </a:cxn>
                  <a:cxn ang="0">
                    <a:pos x="166" y="186"/>
                  </a:cxn>
                  <a:cxn ang="0">
                    <a:pos x="126" y="196"/>
                  </a:cxn>
                  <a:cxn ang="0">
                    <a:pos x="84" y="208"/>
                  </a:cxn>
                  <a:cxn ang="0">
                    <a:pos x="44" y="222"/>
                  </a:cxn>
                  <a:cxn ang="0">
                    <a:pos x="0" y="238"/>
                  </a:cxn>
                  <a:cxn ang="0">
                    <a:pos x="0" y="238"/>
                  </a:cxn>
                </a:cxnLst>
                <a:rect l="0" t="0" r="r" b="b"/>
                <a:pathLst>
                  <a:path w="778" h="238">
                    <a:moveTo>
                      <a:pt x="0" y="238"/>
                    </a:moveTo>
                    <a:lnTo>
                      <a:pt x="10" y="46"/>
                    </a:lnTo>
                    <a:lnTo>
                      <a:pt x="10" y="46"/>
                    </a:lnTo>
                    <a:lnTo>
                      <a:pt x="28" y="42"/>
                    </a:lnTo>
                    <a:lnTo>
                      <a:pt x="82" y="30"/>
                    </a:lnTo>
                    <a:lnTo>
                      <a:pt x="162" y="16"/>
                    </a:lnTo>
                    <a:lnTo>
                      <a:pt x="210" y="10"/>
                    </a:lnTo>
                    <a:lnTo>
                      <a:pt x="264" y="4"/>
                    </a:lnTo>
                    <a:lnTo>
                      <a:pt x="322" y="2"/>
                    </a:lnTo>
                    <a:lnTo>
                      <a:pt x="384" y="0"/>
                    </a:lnTo>
                    <a:lnTo>
                      <a:pt x="448" y="2"/>
                    </a:lnTo>
                    <a:lnTo>
                      <a:pt x="512" y="6"/>
                    </a:lnTo>
                    <a:lnTo>
                      <a:pt x="578" y="14"/>
                    </a:lnTo>
                    <a:lnTo>
                      <a:pt x="646" y="28"/>
                    </a:lnTo>
                    <a:lnTo>
                      <a:pt x="678" y="36"/>
                    </a:lnTo>
                    <a:lnTo>
                      <a:pt x="712" y="46"/>
                    </a:lnTo>
                    <a:lnTo>
                      <a:pt x="744" y="56"/>
                    </a:lnTo>
                    <a:lnTo>
                      <a:pt x="778" y="68"/>
                    </a:lnTo>
                    <a:lnTo>
                      <a:pt x="760" y="238"/>
                    </a:lnTo>
                    <a:lnTo>
                      <a:pt x="760" y="238"/>
                    </a:lnTo>
                    <a:lnTo>
                      <a:pt x="746" y="230"/>
                    </a:lnTo>
                    <a:lnTo>
                      <a:pt x="706" y="212"/>
                    </a:lnTo>
                    <a:lnTo>
                      <a:pt x="676" y="202"/>
                    </a:lnTo>
                    <a:lnTo>
                      <a:pt x="640" y="190"/>
                    </a:lnTo>
                    <a:lnTo>
                      <a:pt x="600" y="180"/>
                    </a:lnTo>
                    <a:lnTo>
                      <a:pt x="552" y="172"/>
                    </a:lnTo>
                    <a:lnTo>
                      <a:pt x="500" y="164"/>
                    </a:lnTo>
                    <a:lnTo>
                      <a:pt x="442" y="160"/>
                    </a:lnTo>
                    <a:lnTo>
                      <a:pt x="380" y="158"/>
                    </a:lnTo>
                    <a:lnTo>
                      <a:pt x="314" y="162"/>
                    </a:lnTo>
                    <a:lnTo>
                      <a:pt x="278" y="166"/>
                    </a:lnTo>
                    <a:lnTo>
                      <a:pt x="242" y="172"/>
                    </a:lnTo>
                    <a:lnTo>
                      <a:pt x="204" y="178"/>
                    </a:lnTo>
                    <a:lnTo>
                      <a:pt x="166" y="186"/>
                    </a:lnTo>
                    <a:lnTo>
                      <a:pt x="126" y="196"/>
                    </a:lnTo>
                    <a:lnTo>
                      <a:pt x="84" y="208"/>
                    </a:lnTo>
                    <a:lnTo>
                      <a:pt x="44" y="222"/>
                    </a:lnTo>
                    <a:lnTo>
                      <a:pt x="0" y="238"/>
                    </a:lnTo>
                    <a:lnTo>
                      <a:pt x="0" y="238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FFFFFF"/>
                  </a:gs>
                  <a:gs pos="50000">
                    <a:srgbClr val="808080">
                      <a:shade val="67500"/>
                      <a:satMod val="115000"/>
                    </a:srgbClr>
                  </a:gs>
                  <a:gs pos="100000">
                    <a:srgbClr val="808080">
                      <a:shade val="100000"/>
                      <a:satMod val="115000"/>
                    </a:srgbClr>
                  </a:gs>
                </a:gsLst>
                <a:lin ang="10800000" scaled="1"/>
                <a:tileRect/>
              </a:gra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>
                  <a:solidFill>
                    <a:sysClr val="windowText" lastClr="000000"/>
                  </a:solidFill>
                  <a:latin typeface="+mn-lt"/>
                  <a:cs typeface="+mn-cs"/>
                </a:endParaRPr>
              </a:p>
            </p:txBody>
          </p:sp>
          <p:sp>
            <p:nvSpPr>
              <p:cNvPr id="176" name="Freeform 20"/>
              <p:cNvSpPr>
                <a:spLocks/>
              </p:cNvSpPr>
              <p:nvPr/>
            </p:nvSpPr>
            <p:spPr bwMode="auto">
              <a:xfrm>
                <a:off x="4672647" y="3238500"/>
                <a:ext cx="2581275" cy="2105025"/>
              </a:xfrm>
              <a:custGeom>
                <a:avLst/>
                <a:gdLst/>
                <a:ahLst/>
                <a:cxnLst>
                  <a:cxn ang="0">
                    <a:pos x="1328" y="92"/>
                  </a:cxn>
                  <a:cxn ang="0">
                    <a:pos x="1242" y="42"/>
                  </a:cxn>
                  <a:cxn ang="0">
                    <a:pos x="1130" y="8"/>
                  </a:cxn>
                  <a:cxn ang="0">
                    <a:pos x="1036" y="0"/>
                  </a:cxn>
                  <a:cxn ang="0">
                    <a:pos x="956" y="8"/>
                  </a:cxn>
                  <a:cxn ang="0">
                    <a:pos x="870" y="32"/>
                  </a:cxn>
                  <a:cxn ang="0">
                    <a:pos x="776" y="74"/>
                  </a:cxn>
                  <a:cxn ang="0">
                    <a:pos x="748" y="286"/>
                  </a:cxn>
                  <a:cxn ang="0">
                    <a:pos x="746" y="312"/>
                  </a:cxn>
                  <a:cxn ang="0">
                    <a:pos x="740" y="318"/>
                  </a:cxn>
                  <a:cxn ang="0">
                    <a:pos x="606" y="330"/>
                  </a:cxn>
                  <a:cxn ang="0">
                    <a:pos x="512" y="352"/>
                  </a:cxn>
                  <a:cxn ang="0">
                    <a:pos x="406" y="390"/>
                  </a:cxn>
                  <a:cxn ang="0">
                    <a:pos x="296" y="454"/>
                  </a:cxn>
                  <a:cxn ang="0">
                    <a:pos x="194" y="544"/>
                  </a:cxn>
                  <a:cxn ang="0">
                    <a:pos x="106" y="668"/>
                  </a:cxn>
                  <a:cxn ang="0">
                    <a:pos x="38" y="834"/>
                  </a:cxn>
                  <a:cxn ang="0">
                    <a:pos x="12" y="968"/>
                  </a:cxn>
                  <a:cxn ang="0">
                    <a:pos x="2" y="1082"/>
                  </a:cxn>
                  <a:cxn ang="0">
                    <a:pos x="2" y="1210"/>
                  </a:cxn>
                  <a:cxn ang="0">
                    <a:pos x="68" y="1298"/>
                  </a:cxn>
                  <a:cxn ang="0">
                    <a:pos x="318" y="1292"/>
                  </a:cxn>
                  <a:cxn ang="0">
                    <a:pos x="470" y="1302"/>
                  </a:cxn>
                  <a:cxn ang="0">
                    <a:pos x="618" y="1326"/>
                  </a:cxn>
                  <a:cxn ang="0">
                    <a:pos x="616" y="1182"/>
                  </a:cxn>
                  <a:cxn ang="0">
                    <a:pos x="624" y="976"/>
                  </a:cxn>
                  <a:cxn ang="0">
                    <a:pos x="638" y="890"/>
                  </a:cxn>
                  <a:cxn ang="0">
                    <a:pos x="650" y="870"/>
                  </a:cxn>
                  <a:cxn ang="0">
                    <a:pos x="658" y="870"/>
                  </a:cxn>
                  <a:cxn ang="0">
                    <a:pos x="732" y="918"/>
                  </a:cxn>
                  <a:cxn ang="0">
                    <a:pos x="848" y="984"/>
                  </a:cxn>
                  <a:cxn ang="0">
                    <a:pos x="928" y="1014"/>
                  </a:cxn>
                  <a:cxn ang="0">
                    <a:pos x="1022" y="1034"/>
                  </a:cxn>
                  <a:cxn ang="0">
                    <a:pos x="1132" y="1038"/>
                  </a:cxn>
                  <a:cxn ang="0">
                    <a:pos x="1256" y="1024"/>
                  </a:cxn>
                  <a:cxn ang="0">
                    <a:pos x="1398" y="984"/>
                  </a:cxn>
                  <a:cxn ang="0">
                    <a:pos x="1556" y="914"/>
                  </a:cxn>
                  <a:cxn ang="0">
                    <a:pos x="1578" y="900"/>
                  </a:cxn>
                  <a:cxn ang="0">
                    <a:pos x="1616" y="844"/>
                  </a:cxn>
                  <a:cxn ang="0">
                    <a:pos x="1626" y="772"/>
                  </a:cxn>
                  <a:cxn ang="0">
                    <a:pos x="1610" y="696"/>
                  </a:cxn>
                  <a:cxn ang="0">
                    <a:pos x="1570" y="626"/>
                  </a:cxn>
                  <a:cxn ang="0">
                    <a:pos x="1512" y="576"/>
                  </a:cxn>
                  <a:cxn ang="0">
                    <a:pos x="1476" y="544"/>
                  </a:cxn>
                  <a:cxn ang="0">
                    <a:pos x="1422" y="482"/>
                  </a:cxn>
                  <a:cxn ang="0">
                    <a:pos x="1368" y="386"/>
                  </a:cxn>
                  <a:cxn ang="0">
                    <a:pos x="1334" y="260"/>
                  </a:cxn>
                  <a:cxn ang="0">
                    <a:pos x="1330" y="184"/>
                  </a:cxn>
                  <a:cxn ang="0">
                    <a:pos x="1340" y="102"/>
                  </a:cxn>
                </a:cxnLst>
                <a:rect l="0" t="0" r="r" b="b"/>
                <a:pathLst>
                  <a:path w="1626" h="1326">
                    <a:moveTo>
                      <a:pt x="1340" y="102"/>
                    </a:moveTo>
                    <a:lnTo>
                      <a:pt x="1340" y="102"/>
                    </a:lnTo>
                    <a:lnTo>
                      <a:pt x="1328" y="92"/>
                    </a:lnTo>
                    <a:lnTo>
                      <a:pt x="1296" y="70"/>
                    </a:lnTo>
                    <a:lnTo>
                      <a:pt x="1272" y="56"/>
                    </a:lnTo>
                    <a:lnTo>
                      <a:pt x="1242" y="42"/>
                    </a:lnTo>
                    <a:lnTo>
                      <a:pt x="1210" y="30"/>
                    </a:lnTo>
                    <a:lnTo>
                      <a:pt x="1172" y="18"/>
                    </a:lnTo>
                    <a:lnTo>
                      <a:pt x="1130" y="8"/>
                    </a:lnTo>
                    <a:lnTo>
                      <a:pt x="1086" y="2"/>
                    </a:lnTo>
                    <a:lnTo>
                      <a:pt x="1062" y="0"/>
                    </a:lnTo>
                    <a:lnTo>
                      <a:pt x="1036" y="0"/>
                    </a:lnTo>
                    <a:lnTo>
                      <a:pt x="1010" y="2"/>
                    </a:lnTo>
                    <a:lnTo>
                      <a:pt x="984" y="4"/>
                    </a:lnTo>
                    <a:lnTo>
                      <a:pt x="956" y="8"/>
                    </a:lnTo>
                    <a:lnTo>
                      <a:pt x="928" y="14"/>
                    </a:lnTo>
                    <a:lnTo>
                      <a:pt x="898" y="22"/>
                    </a:lnTo>
                    <a:lnTo>
                      <a:pt x="870" y="32"/>
                    </a:lnTo>
                    <a:lnTo>
                      <a:pt x="838" y="44"/>
                    </a:lnTo>
                    <a:lnTo>
                      <a:pt x="808" y="58"/>
                    </a:lnTo>
                    <a:lnTo>
                      <a:pt x="776" y="74"/>
                    </a:lnTo>
                    <a:lnTo>
                      <a:pt x="744" y="92"/>
                    </a:lnTo>
                    <a:lnTo>
                      <a:pt x="748" y="286"/>
                    </a:lnTo>
                    <a:lnTo>
                      <a:pt x="748" y="286"/>
                    </a:lnTo>
                    <a:lnTo>
                      <a:pt x="748" y="290"/>
                    </a:lnTo>
                    <a:lnTo>
                      <a:pt x="748" y="300"/>
                    </a:lnTo>
                    <a:lnTo>
                      <a:pt x="746" y="312"/>
                    </a:lnTo>
                    <a:lnTo>
                      <a:pt x="744" y="316"/>
                    </a:lnTo>
                    <a:lnTo>
                      <a:pt x="740" y="318"/>
                    </a:lnTo>
                    <a:lnTo>
                      <a:pt x="740" y="318"/>
                    </a:lnTo>
                    <a:lnTo>
                      <a:pt x="700" y="320"/>
                    </a:lnTo>
                    <a:lnTo>
                      <a:pt x="658" y="324"/>
                    </a:lnTo>
                    <a:lnTo>
                      <a:pt x="606" y="330"/>
                    </a:lnTo>
                    <a:lnTo>
                      <a:pt x="576" y="336"/>
                    </a:lnTo>
                    <a:lnTo>
                      <a:pt x="544" y="344"/>
                    </a:lnTo>
                    <a:lnTo>
                      <a:pt x="512" y="352"/>
                    </a:lnTo>
                    <a:lnTo>
                      <a:pt x="476" y="362"/>
                    </a:lnTo>
                    <a:lnTo>
                      <a:pt x="442" y="376"/>
                    </a:lnTo>
                    <a:lnTo>
                      <a:pt x="406" y="390"/>
                    </a:lnTo>
                    <a:lnTo>
                      <a:pt x="370" y="408"/>
                    </a:lnTo>
                    <a:lnTo>
                      <a:pt x="332" y="430"/>
                    </a:lnTo>
                    <a:lnTo>
                      <a:pt x="296" y="454"/>
                    </a:lnTo>
                    <a:lnTo>
                      <a:pt x="262" y="480"/>
                    </a:lnTo>
                    <a:lnTo>
                      <a:pt x="228" y="510"/>
                    </a:lnTo>
                    <a:lnTo>
                      <a:pt x="194" y="544"/>
                    </a:lnTo>
                    <a:lnTo>
                      <a:pt x="162" y="582"/>
                    </a:lnTo>
                    <a:lnTo>
                      <a:pt x="132" y="624"/>
                    </a:lnTo>
                    <a:lnTo>
                      <a:pt x="106" y="668"/>
                    </a:lnTo>
                    <a:lnTo>
                      <a:pt x="80" y="718"/>
                    </a:lnTo>
                    <a:lnTo>
                      <a:pt x="58" y="774"/>
                    </a:lnTo>
                    <a:lnTo>
                      <a:pt x="38" y="834"/>
                    </a:lnTo>
                    <a:lnTo>
                      <a:pt x="24" y="898"/>
                    </a:lnTo>
                    <a:lnTo>
                      <a:pt x="16" y="932"/>
                    </a:lnTo>
                    <a:lnTo>
                      <a:pt x="12" y="968"/>
                    </a:lnTo>
                    <a:lnTo>
                      <a:pt x="6" y="1004"/>
                    </a:lnTo>
                    <a:lnTo>
                      <a:pt x="4" y="1042"/>
                    </a:lnTo>
                    <a:lnTo>
                      <a:pt x="2" y="1082"/>
                    </a:lnTo>
                    <a:lnTo>
                      <a:pt x="0" y="1124"/>
                    </a:lnTo>
                    <a:lnTo>
                      <a:pt x="0" y="1166"/>
                    </a:lnTo>
                    <a:lnTo>
                      <a:pt x="2" y="1210"/>
                    </a:lnTo>
                    <a:lnTo>
                      <a:pt x="8" y="1302"/>
                    </a:lnTo>
                    <a:lnTo>
                      <a:pt x="8" y="1302"/>
                    </a:lnTo>
                    <a:lnTo>
                      <a:pt x="68" y="1298"/>
                    </a:lnTo>
                    <a:lnTo>
                      <a:pt x="136" y="1294"/>
                    </a:lnTo>
                    <a:lnTo>
                      <a:pt x="222" y="1292"/>
                    </a:lnTo>
                    <a:lnTo>
                      <a:pt x="318" y="1292"/>
                    </a:lnTo>
                    <a:lnTo>
                      <a:pt x="368" y="1294"/>
                    </a:lnTo>
                    <a:lnTo>
                      <a:pt x="420" y="1296"/>
                    </a:lnTo>
                    <a:lnTo>
                      <a:pt x="470" y="1302"/>
                    </a:lnTo>
                    <a:lnTo>
                      <a:pt x="522" y="1308"/>
                    </a:lnTo>
                    <a:lnTo>
                      <a:pt x="570" y="1316"/>
                    </a:lnTo>
                    <a:lnTo>
                      <a:pt x="618" y="1326"/>
                    </a:lnTo>
                    <a:lnTo>
                      <a:pt x="618" y="1326"/>
                    </a:lnTo>
                    <a:lnTo>
                      <a:pt x="616" y="1254"/>
                    </a:lnTo>
                    <a:lnTo>
                      <a:pt x="616" y="1182"/>
                    </a:lnTo>
                    <a:lnTo>
                      <a:pt x="616" y="1098"/>
                    </a:lnTo>
                    <a:lnTo>
                      <a:pt x="620" y="1016"/>
                    </a:lnTo>
                    <a:lnTo>
                      <a:pt x="624" y="976"/>
                    </a:lnTo>
                    <a:lnTo>
                      <a:pt x="626" y="942"/>
                    </a:lnTo>
                    <a:lnTo>
                      <a:pt x="632" y="912"/>
                    </a:lnTo>
                    <a:lnTo>
                      <a:pt x="638" y="890"/>
                    </a:lnTo>
                    <a:lnTo>
                      <a:pt x="642" y="882"/>
                    </a:lnTo>
                    <a:lnTo>
                      <a:pt x="644" y="874"/>
                    </a:lnTo>
                    <a:lnTo>
                      <a:pt x="650" y="870"/>
                    </a:lnTo>
                    <a:lnTo>
                      <a:pt x="654" y="870"/>
                    </a:lnTo>
                    <a:lnTo>
                      <a:pt x="654" y="870"/>
                    </a:lnTo>
                    <a:lnTo>
                      <a:pt x="658" y="870"/>
                    </a:lnTo>
                    <a:lnTo>
                      <a:pt x="666" y="872"/>
                    </a:lnTo>
                    <a:lnTo>
                      <a:pt x="682" y="882"/>
                    </a:lnTo>
                    <a:lnTo>
                      <a:pt x="732" y="918"/>
                    </a:lnTo>
                    <a:lnTo>
                      <a:pt x="764" y="940"/>
                    </a:lnTo>
                    <a:lnTo>
                      <a:pt x="804" y="962"/>
                    </a:lnTo>
                    <a:lnTo>
                      <a:pt x="848" y="984"/>
                    </a:lnTo>
                    <a:lnTo>
                      <a:pt x="874" y="996"/>
                    </a:lnTo>
                    <a:lnTo>
                      <a:pt x="900" y="1006"/>
                    </a:lnTo>
                    <a:lnTo>
                      <a:pt x="928" y="1014"/>
                    </a:lnTo>
                    <a:lnTo>
                      <a:pt x="958" y="1022"/>
                    </a:lnTo>
                    <a:lnTo>
                      <a:pt x="990" y="1028"/>
                    </a:lnTo>
                    <a:lnTo>
                      <a:pt x="1022" y="1034"/>
                    </a:lnTo>
                    <a:lnTo>
                      <a:pt x="1056" y="1038"/>
                    </a:lnTo>
                    <a:lnTo>
                      <a:pt x="1094" y="1038"/>
                    </a:lnTo>
                    <a:lnTo>
                      <a:pt x="1132" y="1038"/>
                    </a:lnTo>
                    <a:lnTo>
                      <a:pt x="1172" y="1036"/>
                    </a:lnTo>
                    <a:lnTo>
                      <a:pt x="1212" y="1032"/>
                    </a:lnTo>
                    <a:lnTo>
                      <a:pt x="1256" y="1024"/>
                    </a:lnTo>
                    <a:lnTo>
                      <a:pt x="1302" y="1014"/>
                    </a:lnTo>
                    <a:lnTo>
                      <a:pt x="1348" y="1000"/>
                    </a:lnTo>
                    <a:lnTo>
                      <a:pt x="1398" y="984"/>
                    </a:lnTo>
                    <a:lnTo>
                      <a:pt x="1448" y="964"/>
                    </a:lnTo>
                    <a:lnTo>
                      <a:pt x="1502" y="942"/>
                    </a:lnTo>
                    <a:lnTo>
                      <a:pt x="1556" y="914"/>
                    </a:lnTo>
                    <a:lnTo>
                      <a:pt x="1556" y="914"/>
                    </a:lnTo>
                    <a:lnTo>
                      <a:pt x="1568" y="908"/>
                    </a:lnTo>
                    <a:lnTo>
                      <a:pt x="1578" y="900"/>
                    </a:lnTo>
                    <a:lnTo>
                      <a:pt x="1594" y="884"/>
                    </a:lnTo>
                    <a:lnTo>
                      <a:pt x="1608" y="866"/>
                    </a:lnTo>
                    <a:lnTo>
                      <a:pt x="1616" y="844"/>
                    </a:lnTo>
                    <a:lnTo>
                      <a:pt x="1624" y="822"/>
                    </a:lnTo>
                    <a:lnTo>
                      <a:pt x="1626" y="798"/>
                    </a:lnTo>
                    <a:lnTo>
                      <a:pt x="1626" y="772"/>
                    </a:lnTo>
                    <a:lnTo>
                      <a:pt x="1624" y="748"/>
                    </a:lnTo>
                    <a:lnTo>
                      <a:pt x="1618" y="722"/>
                    </a:lnTo>
                    <a:lnTo>
                      <a:pt x="1610" y="696"/>
                    </a:lnTo>
                    <a:lnTo>
                      <a:pt x="1598" y="672"/>
                    </a:lnTo>
                    <a:lnTo>
                      <a:pt x="1586" y="648"/>
                    </a:lnTo>
                    <a:lnTo>
                      <a:pt x="1570" y="626"/>
                    </a:lnTo>
                    <a:lnTo>
                      <a:pt x="1552" y="608"/>
                    </a:lnTo>
                    <a:lnTo>
                      <a:pt x="1532" y="590"/>
                    </a:lnTo>
                    <a:lnTo>
                      <a:pt x="1512" y="576"/>
                    </a:lnTo>
                    <a:lnTo>
                      <a:pt x="1512" y="576"/>
                    </a:lnTo>
                    <a:lnTo>
                      <a:pt x="1502" y="568"/>
                    </a:lnTo>
                    <a:lnTo>
                      <a:pt x="1476" y="544"/>
                    </a:lnTo>
                    <a:lnTo>
                      <a:pt x="1460" y="528"/>
                    </a:lnTo>
                    <a:lnTo>
                      <a:pt x="1442" y="506"/>
                    </a:lnTo>
                    <a:lnTo>
                      <a:pt x="1422" y="482"/>
                    </a:lnTo>
                    <a:lnTo>
                      <a:pt x="1404" y="454"/>
                    </a:lnTo>
                    <a:lnTo>
                      <a:pt x="1386" y="422"/>
                    </a:lnTo>
                    <a:lnTo>
                      <a:pt x="1368" y="386"/>
                    </a:lnTo>
                    <a:lnTo>
                      <a:pt x="1354" y="348"/>
                    </a:lnTo>
                    <a:lnTo>
                      <a:pt x="1342" y="306"/>
                    </a:lnTo>
                    <a:lnTo>
                      <a:pt x="1334" y="260"/>
                    </a:lnTo>
                    <a:lnTo>
                      <a:pt x="1332" y="236"/>
                    </a:lnTo>
                    <a:lnTo>
                      <a:pt x="1330" y="210"/>
                    </a:lnTo>
                    <a:lnTo>
                      <a:pt x="1330" y="184"/>
                    </a:lnTo>
                    <a:lnTo>
                      <a:pt x="1332" y="158"/>
                    </a:lnTo>
                    <a:lnTo>
                      <a:pt x="1336" y="130"/>
                    </a:lnTo>
                    <a:lnTo>
                      <a:pt x="1340" y="102"/>
                    </a:lnTo>
                    <a:lnTo>
                      <a:pt x="1340" y="102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FFFFFF"/>
                  </a:gs>
                  <a:gs pos="50000">
                    <a:srgbClr val="E6E6E6">
                      <a:lumMod val="75000"/>
                    </a:srgbClr>
                  </a:gs>
                  <a:gs pos="100000">
                    <a:srgbClr val="808080">
                      <a:shade val="100000"/>
                      <a:satMod val="115000"/>
                    </a:srgb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>
                  <a:solidFill>
                    <a:sysClr val="windowText" lastClr="000000"/>
                  </a:solidFill>
                  <a:latin typeface="+mn-lt"/>
                  <a:cs typeface="+mn-cs"/>
                </a:endParaRPr>
              </a:p>
            </p:txBody>
          </p:sp>
          <p:sp>
            <p:nvSpPr>
              <p:cNvPr id="177" name="Freeform 21"/>
              <p:cNvSpPr>
                <a:spLocks/>
              </p:cNvSpPr>
              <p:nvPr/>
            </p:nvSpPr>
            <p:spPr bwMode="auto">
              <a:xfrm>
                <a:off x="4645980" y="3873495"/>
                <a:ext cx="689518" cy="1414974"/>
              </a:xfrm>
              <a:custGeom>
                <a:avLst/>
                <a:gdLst/>
                <a:ahLst/>
                <a:cxnLst>
                  <a:cxn ang="0">
                    <a:pos x="402" y="0"/>
                  </a:cxn>
                  <a:cxn ang="0">
                    <a:pos x="402" y="0"/>
                  </a:cxn>
                  <a:cxn ang="0">
                    <a:pos x="384" y="6"/>
                  </a:cxn>
                  <a:cxn ang="0">
                    <a:pos x="364" y="14"/>
                  </a:cxn>
                  <a:cxn ang="0">
                    <a:pos x="338" y="28"/>
                  </a:cxn>
                  <a:cxn ang="0">
                    <a:pos x="306" y="48"/>
                  </a:cxn>
                  <a:cxn ang="0">
                    <a:pos x="270" y="74"/>
                  </a:cxn>
                  <a:cxn ang="0">
                    <a:pos x="252" y="90"/>
                  </a:cxn>
                  <a:cxn ang="0">
                    <a:pos x="234" y="108"/>
                  </a:cxn>
                  <a:cxn ang="0">
                    <a:pos x="214" y="130"/>
                  </a:cxn>
                  <a:cxn ang="0">
                    <a:pos x="194" y="152"/>
                  </a:cxn>
                  <a:cxn ang="0">
                    <a:pos x="176" y="176"/>
                  </a:cxn>
                  <a:cxn ang="0">
                    <a:pos x="156" y="202"/>
                  </a:cxn>
                  <a:cxn ang="0">
                    <a:pos x="138" y="232"/>
                  </a:cxn>
                  <a:cxn ang="0">
                    <a:pos x="120" y="264"/>
                  </a:cxn>
                  <a:cxn ang="0">
                    <a:pos x="102" y="300"/>
                  </a:cxn>
                  <a:cxn ang="0">
                    <a:pos x="86" y="336"/>
                  </a:cxn>
                  <a:cxn ang="0">
                    <a:pos x="70" y="378"/>
                  </a:cxn>
                  <a:cxn ang="0">
                    <a:pos x="56" y="420"/>
                  </a:cxn>
                  <a:cxn ang="0">
                    <a:pos x="42" y="468"/>
                  </a:cxn>
                  <a:cxn ang="0">
                    <a:pos x="32" y="516"/>
                  </a:cxn>
                  <a:cxn ang="0">
                    <a:pos x="22" y="570"/>
                  </a:cxn>
                  <a:cxn ang="0">
                    <a:pos x="12" y="626"/>
                  </a:cxn>
                  <a:cxn ang="0">
                    <a:pos x="6" y="686"/>
                  </a:cxn>
                  <a:cxn ang="0">
                    <a:pos x="2" y="750"/>
                  </a:cxn>
                  <a:cxn ang="0">
                    <a:pos x="0" y="818"/>
                  </a:cxn>
                  <a:cxn ang="0">
                    <a:pos x="0" y="890"/>
                  </a:cxn>
                  <a:cxn ang="0">
                    <a:pos x="0" y="890"/>
                  </a:cxn>
                  <a:cxn ang="0">
                    <a:pos x="80" y="878"/>
                  </a:cxn>
                  <a:cxn ang="0">
                    <a:pos x="126" y="874"/>
                  </a:cxn>
                  <a:cxn ang="0">
                    <a:pos x="158" y="874"/>
                  </a:cxn>
                  <a:cxn ang="0">
                    <a:pos x="194" y="876"/>
                  </a:cxn>
                  <a:cxn ang="0">
                    <a:pos x="194" y="876"/>
                  </a:cxn>
                  <a:cxn ang="0">
                    <a:pos x="196" y="842"/>
                  </a:cxn>
                  <a:cxn ang="0">
                    <a:pos x="198" y="752"/>
                  </a:cxn>
                  <a:cxn ang="0">
                    <a:pos x="208" y="622"/>
                  </a:cxn>
                  <a:cxn ang="0">
                    <a:pos x="214" y="548"/>
                  </a:cxn>
                  <a:cxn ang="0">
                    <a:pos x="222" y="472"/>
                  </a:cxn>
                  <a:cxn ang="0">
                    <a:pos x="234" y="394"/>
                  </a:cxn>
                  <a:cxn ang="0">
                    <a:pos x="248" y="316"/>
                  </a:cxn>
                  <a:cxn ang="0">
                    <a:pos x="264" y="242"/>
                  </a:cxn>
                  <a:cxn ang="0">
                    <a:pos x="274" y="208"/>
                  </a:cxn>
                  <a:cxn ang="0">
                    <a:pos x="284" y="174"/>
                  </a:cxn>
                  <a:cxn ang="0">
                    <a:pos x="296" y="144"/>
                  </a:cxn>
                  <a:cxn ang="0">
                    <a:pos x="308" y="114"/>
                  </a:cxn>
                  <a:cxn ang="0">
                    <a:pos x="322" y="88"/>
                  </a:cxn>
                  <a:cxn ang="0">
                    <a:pos x="336" y="64"/>
                  </a:cxn>
                  <a:cxn ang="0">
                    <a:pos x="350" y="42"/>
                  </a:cxn>
                  <a:cxn ang="0">
                    <a:pos x="366" y="24"/>
                  </a:cxn>
                  <a:cxn ang="0">
                    <a:pos x="384" y="10"/>
                  </a:cxn>
                  <a:cxn ang="0">
                    <a:pos x="402" y="0"/>
                  </a:cxn>
                  <a:cxn ang="0">
                    <a:pos x="402" y="0"/>
                  </a:cxn>
                </a:cxnLst>
                <a:rect l="0" t="0" r="r" b="b"/>
                <a:pathLst>
                  <a:path w="402" h="890">
                    <a:moveTo>
                      <a:pt x="402" y="0"/>
                    </a:moveTo>
                    <a:lnTo>
                      <a:pt x="402" y="0"/>
                    </a:lnTo>
                    <a:lnTo>
                      <a:pt x="384" y="6"/>
                    </a:lnTo>
                    <a:lnTo>
                      <a:pt x="364" y="14"/>
                    </a:lnTo>
                    <a:lnTo>
                      <a:pt x="338" y="28"/>
                    </a:lnTo>
                    <a:lnTo>
                      <a:pt x="306" y="48"/>
                    </a:lnTo>
                    <a:lnTo>
                      <a:pt x="270" y="74"/>
                    </a:lnTo>
                    <a:lnTo>
                      <a:pt x="252" y="90"/>
                    </a:lnTo>
                    <a:lnTo>
                      <a:pt x="234" y="108"/>
                    </a:lnTo>
                    <a:lnTo>
                      <a:pt x="214" y="130"/>
                    </a:lnTo>
                    <a:lnTo>
                      <a:pt x="194" y="152"/>
                    </a:lnTo>
                    <a:lnTo>
                      <a:pt x="176" y="176"/>
                    </a:lnTo>
                    <a:lnTo>
                      <a:pt x="156" y="202"/>
                    </a:lnTo>
                    <a:lnTo>
                      <a:pt x="138" y="232"/>
                    </a:lnTo>
                    <a:lnTo>
                      <a:pt x="120" y="264"/>
                    </a:lnTo>
                    <a:lnTo>
                      <a:pt x="102" y="300"/>
                    </a:lnTo>
                    <a:lnTo>
                      <a:pt x="86" y="336"/>
                    </a:lnTo>
                    <a:lnTo>
                      <a:pt x="70" y="378"/>
                    </a:lnTo>
                    <a:lnTo>
                      <a:pt x="56" y="420"/>
                    </a:lnTo>
                    <a:lnTo>
                      <a:pt x="42" y="468"/>
                    </a:lnTo>
                    <a:lnTo>
                      <a:pt x="32" y="516"/>
                    </a:lnTo>
                    <a:lnTo>
                      <a:pt x="22" y="570"/>
                    </a:lnTo>
                    <a:lnTo>
                      <a:pt x="12" y="626"/>
                    </a:lnTo>
                    <a:lnTo>
                      <a:pt x="6" y="686"/>
                    </a:lnTo>
                    <a:lnTo>
                      <a:pt x="2" y="750"/>
                    </a:lnTo>
                    <a:lnTo>
                      <a:pt x="0" y="818"/>
                    </a:lnTo>
                    <a:lnTo>
                      <a:pt x="0" y="890"/>
                    </a:lnTo>
                    <a:lnTo>
                      <a:pt x="0" y="890"/>
                    </a:lnTo>
                    <a:lnTo>
                      <a:pt x="80" y="878"/>
                    </a:lnTo>
                    <a:lnTo>
                      <a:pt x="126" y="874"/>
                    </a:lnTo>
                    <a:lnTo>
                      <a:pt x="158" y="874"/>
                    </a:lnTo>
                    <a:lnTo>
                      <a:pt x="194" y="876"/>
                    </a:lnTo>
                    <a:lnTo>
                      <a:pt x="194" y="876"/>
                    </a:lnTo>
                    <a:lnTo>
                      <a:pt x="196" y="842"/>
                    </a:lnTo>
                    <a:lnTo>
                      <a:pt x="198" y="752"/>
                    </a:lnTo>
                    <a:lnTo>
                      <a:pt x="208" y="622"/>
                    </a:lnTo>
                    <a:lnTo>
                      <a:pt x="214" y="548"/>
                    </a:lnTo>
                    <a:lnTo>
                      <a:pt x="222" y="472"/>
                    </a:lnTo>
                    <a:lnTo>
                      <a:pt x="234" y="394"/>
                    </a:lnTo>
                    <a:lnTo>
                      <a:pt x="248" y="316"/>
                    </a:lnTo>
                    <a:lnTo>
                      <a:pt x="264" y="242"/>
                    </a:lnTo>
                    <a:lnTo>
                      <a:pt x="274" y="208"/>
                    </a:lnTo>
                    <a:lnTo>
                      <a:pt x="284" y="174"/>
                    </a:lnTo>
                    <a:lnTo>
                      <a:pt x="296" y="144"/>
                    </a:lnTo>
                    <a:lnTo>
                      <a:pt x="308" y="114"/>
                    </a:lnTo>
                    <a:lnTo>
                      <a:pt x="322" y="88"/>
                    </a:lnTo>
                    <a:lnTo>
                      <a:pt x="336" y="64"/>
                    </a:lnTo>
                    <a:lnTo>
                      <a:pt x="350" y="42"/>
                    </a:lnTo>
                    <a:lnTo>
                      <a:pt x="366" y="24"/>
                    </a:lnTo>
                    <a:lnTo>
                      <a:pt x="384" y="10"/>
                    </a:lnTo>
                    <a:lnTo>
                      <a:pt x="402" y="0"/>
                    </a:lnTo>
                    <a:lnTo>
                      <a:pt x="402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D7D8D9">
                      <a:lumMod val="25000"/>
                      <a:alpha val="0"/>
                    </a:srgbClr>
                  </a:gs>
                  <a:gs pos="50000">
                    <a:srgbClr val="E6E6E6">
                      <a:lumMod val="50000"/>
                      <a:alpha val="35000"/>
                    </a:srgbClr>
                  </a:gs>
                  <a:gs pos="100000">
                    <a:srgbClr val="FFFFFF">
                      <a:alpha val="0"/>
                    </a:srgbClr>
                  </a:gs>
                </a:gsLst>
                <a:lin ang="5400000" scaled="1"/>
                <a:tileRect/>
              </a:gra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>
                  <a:solidFill>
                    <a:sysClr val="windowText" lastClr="000000"/>
                  </a:solidFill>
                  <a:latin typeface="+mn-lt"/>
                  <a:cs typeface="+mn-cs"/>
                </a:endParaRPr>
              </a:p>
            </p:txBody>
          </p:sp>
          <p:sp>
            <p:nvSpPr>
              <p:cNvPr id="178" name="Freeform 22"/>
              <p:cNvSpPr>
                <a:spLocks/>
              </p:cNvSpPr>
              <p:nvPr/>
            </p:nvSpPr>
            <p:spPr bwMode="auto">
              <a:xfrm>
                <a:off x="5569272" y="4079009"/>
                <a:ext cx="318785" cy="1214184"/>
              </a:xfrm>
              <a:custGeom>
                <a:avLst/>
                <a:gdLst/>
                <a:ahLst/>
                <a:cxnLst>
                  <a:cxn ang="0">
                    <a:pos x="66" y="764"/>
                  </a:cxn>
                  <a:cxn ang="0">
                    <a:pos x="66" y="764"/>
                  </a:cxn>
                  <a:cxn ang="0">
                    <a:pos x="46" y="760"/>
                  </a:cxn>
                  <a:cxn ang="0">
                    <a:pos x="8" y="754"/>
                  </a:cxn>
                  <a:cxn ang="0">
                    <a:pos x="8" y="754"/>
                  </a:cxn>
                  <a:cxn ang="0">
                    <a:pos x="6" y="752"/>
                  </a:cxn>
                  <a:cxn ang="0">
                    <a:pos x="4" y="746"/>
                  </a:cxn>
                  <a:cxn ang="0">
                    <a:pos x="2" y="724"/>
                  </a:cxn>
                  <a:cxn ang="0">
                    <a:pos x="0" y="690"/>
                  </a:cxn>
                  <a:cxn ang="0">
                    <a:pos x="0" y="644"/>
                  </a:cxn>
                  <a:cxn ang="0">
                    <a:pos x="2" y="592"/>
                  </a:cxn>
                  <a:cxn ang="0">
                    <a:pos x="6" y="532"/>
                  </a:cxn>
                  <a:cxn ang="0">
                    <a:pos x="12" y="468"/>
                  </a:cxn>
                  <a:cxn ang="0">
                    <a:pos x="20" y="402"/>
                  </a:cxn>
                  <a:cxn ang="0">
                    <a:pos x="30" y="334"/>
                  </a:cxn>
                  <a:cxn ang="0">
                    <a:pos x="44" y="268"/>
                  </a:cxn>
                  <a:cxn ang="0">
                    <a:pos x="60" y="204"/>
                  </a:cxn>
                  <a:cxn ang="0">
                    <a:pos x="68" y="174"/>
                  </a:cxn>
                  <a:cxn ang="0">
                    <a:pos x="80" y="146"/>
                  </a:cxn>
                  <a:cxn ang="0">
                    <a:pos x="90" y="120"/>
                  </a:cxn>
                  <a:cxn ang="0">
                    <a:pos x="102" y="94"/>
                  </a:cxn>
                  <a:cxn ang="0">
                    <a:pos x="114" y="72"/>
                  </a:cxn>
                  <a:cxn ang="0">
                    <a:pos x="128" y="52"/>
                  </a:cxn>
                  <a:cxn ang="0">
                    <a:pos x="144" y="34"/>
                  </a:cxn>
                  <a:cxn ang="0">
                    <a:pos x="158" y="20"/>
                  </a:cxn>
                  <a:cxn ang="0">
                    <a:pos x="176" y="8"/>
                  </a:cxn>
                  <a:cxn ang="0">
                    <a:pos x="194" y="0"/>
                  </a:cxn>
                  <a:cxn ang="0">
                    <a:pos x="194" y="0"/>
                  </a:cxn>
                  <a:cxn ang="0">
                    <a:pos x="196" y="20"/>
                  </a:cxn>
                  <a:cxn ang="0">
                    <a:pos x="198" y="62"/>
                  </a:cxn>
                  <a:cxn ang="0">
                    <a:pos x="200" y="88"/>
                  </a:cxn>
                  <a:cxn ang="0">
                    <a:pos x="198" y="110"/>
                  </a:cxn>
                  <a:cxn ang="0">
                    <a:pos x="198" y="130"/>
                  </a:cxn>
                  <a:cxn ang="0">
                    <a:pos x="194" y="144"/>
                  </a:cxn>
                  <a:cxn ang="0">
                    <a:pos x="194" y="144"/>
                  </a:cxn>
                  <a:cxn ang="0">
                    <a:pos x="188" y="146"/>
                  </a:cxn>
                  <a:cxn ang="0">
                    <a:pos x="182" y="148"/>
                  </a:cxn>
                  <a:cxn ang="0">
                    <a:pos x="172" y="152"/>
                  </a:cxn>
                  <a:cxn ang="0">
                    <a:pos x="162" y="160"/>
                  </a:cxn>
                  <a:cxn ang="0">
                    <a:pos x="152" y="172"/>
                  </a:cxn>
                  <a:cxn ang="0">
                    <a:pos x="140" y="190"/>
                  </a:cxn>
                  <a:cxn ang="0">
                    <a:pos x="128" y="216"/>
                  </a:cxn>
                  <a:cxn ang="0">
                    <a:pos x="116" y="248"/>
                  </a:cxn>
                  <a:cxn ang="0">
                    <a:pos x="104" y="288"/>
                  </a:cxn>
                  <a:cxn ang="0">
                    <a:pos x="94" y="338"/>
                  </a:cxn>
                  <a:cxn ang="0">
                    <a:pos x="84" y="398"/>
                  </a:cxn>
                  <a:cxn ang="0">
                    <a:pos x="76" y="470"/>
                  </a:cxn>
                  <a:cxn ang="0">
                    <a:pos x="70" y="554"/>
                  </a:cxn>
                  <a:cxn ang="0">
                    <a:pos x="68" y="652"/>
                  </a:cxn>
                  <a:cxn ang="0">
                    <a:pos x="66" y="764"/>
                  </a:cxn>
                  <a:cxn ang="0">
                    <a:pos x="66" y="764"/>
                  </a:cxn>
                </a:cxnLst>
                <a:rect l="0" t="0" r="r" b="b"/>
                <a:pathLst>
                  <a:path w="200" h="764">
                    <a:moveTo>
                      <a:pt x="66" y="764"/>
                    </a:moveTo>
                    <a:lnTo>
                      <a:pt x="66" y="764"/>
                    </a:lnTo>
                    <a:lnTo>
                      <a:pt x="46" y="760"/>
                    </a:lnTo>
                    <a:lnTo>
                      <a:pt x="8" y="754"/>
                    </a:lnTo>
                    <a:lnTo>
                      <a:pt x="8" y="754"/>
                    </a:lnTo>
                    <a:lnTo>
                      <a:pt x="6" y="752"/>
                    </a:lnTo>
                    <a:lnTo>
                      <a:pt x="4" y="746"/>
                    </a:lnTo>
                    <a:lnTo>
                      <a:pt x="2" y="724"/>
                    </a:lnTo>
                    <a:lnTo>
                      <a:pt x="0" y="690"/>
                    </a:lnTo>
                    <a:lnTo>
                      <a:pt x="0" y="644"/>
                    </a:lnTo>
                    <a:lnTo>
                      <a:pt x="2" y="592"/>
                    </a:lnTo>
                    <a:lnTo>
                      <a:pt x="6" y="532"/>
                    </a:lnTo>
                    <a:lnTo>
                      <a:pt x="12" y="468"/>
                    </a:lnTo>
                    <a:lnTo>
                      <a:pt x="20" y="402"/>
                    </a:lnTo>
                    <a:lnTo>
                      <a:pt x="30" y="334"/>
                    </a:lnTo>
                    <a:lnTo>
                      <a:pt x="44" y="268"/>
                    </a:lnTo>
                    <a:lnTo>
                      <a:pt x="60" y="204"/>
                    </a:lnTo>
                    <a:lnTo>
                      <a:pt x="68" y="174"/>
                    </a:lnTo>
                    <a:lnTo>
                      <a:pt x="80" y="146"/>
                    </a:lnTo>
                    <a:lnTo>
                      <a:pt x="90" y="120"/>
                    </a:lnTo>
                    <a:lnTo>
                      <a:pt x="102" y="94"/>
                    </a:lnTo>
                    <a:lnTo>
                      <a:pt x="114" y="72"/>
                    </a:lnTo>
                    <a:lnTo>
                      <a:pt x="128" y="52"/>
                    </a:lnTo>
                    <a:lnTo>
                      <a:pt x="144" y="34"/>
                    </a:lnTo>
                    <a:lnTo>
                      <a:pt x="158" y="20"/>
                    </a:lnTo>
                    <a:lnTo>
                      <a:pt x="176" y="8"/>
                    </a:lnTo>
                    <a:lnTo>
                      <a:pt x="194" y="0"/>
                    </a:lnTo>
                    <a:lnTo>
                      <a:pt x="194" y="0"/>
                    </a:lnTo>
                    <a:lnTo>
                      <a:pt x="196" y="20"/>
                    </a:lnTo>
                    <a:lnTo>
                      <a:pt x="198" y="62"/>
                    </a:lnTo>
                    <a:lnTo>
                      <a:pt x="200" y="88"/>
                    </a:lnTo>
                    <a:lnTo>
                      <a:pt x="198" y="110"/>
                    </a:lnTo>
                    <a:lnTo>
                      <a:pt x="198" y="130"/>
                    </a:lnTo>
                    <a:lnTo>
                      <a:pt x="194" y="144"/>
                    </a:lnTo>
                    <a:lnTo>
                      <a:pt x="194" y="144"/>
                    </a:lnTo>
                    <a:lnTo>
                      <a:pt x="188" y="146"/>
                    </a:lnTo>
                    <a:lnTo>
                      <a:pt x="182" y="148"/>
                    </a:lnTo>
                    <a:lnTo>
                      <a:pt x="172" y="152"/>
                    </a:lnTo>
                    <a:lnTo>
                      <a:pt x="162" y="160"/>
                    </a:lnTo>
                    <a:lnTo>
                      <a:pt x="152" y="172"/>
                    </a:lnTo>
                    <a:lnTo>
                      <a:pt x="140" y="190"/>
                    </a:lnTo>
                    <a:lnTo>
                      <a:pt x="128" y="216"/>
                    </a:lnTo>
                    <a:lnTo>
                      <a:pt x="116" y="248"/>
                    </a:lnTo>
                    <a:lnTo>
                      <a:pt x="104" y="288"/>
                    </a:lnTo>
                    <a:lnTo>
                      <a:pt x="94" y="338"/>
                    </a:lnTo>
                    <a:lnTo>
                      <a:pt x="84" y="398"/>
                    </a:lnTo>
                    <a:lnTo>
                      <a:pt x="76" y="470"/>
                    </a:lnTo>
                    <a:lnTo>
                      <a:pt x="70" y="554"/>
                    </a:lnTo>
                    <a:lnTo>
                      <a:pt x="68" y="652"/>
                    </a:lnTo>
                    <a:lnTo>
                      <a:pt x="66" y="764"/>
                    </a:lnTo>
                    <a:lnTo>
                      <a:pt x="66" y="764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D7D8D9">
                      <a:lumMod val="25000"/>
                      <a:alpha val="0"/>
                    </a:srgbClr>
                  </a:gs>
                  <a:gs pos="50000">
                    <a:srgbClr val="E6E6E6">
                      <a:lumMod val="50000"/>
                      <a:alpha val="22000"/>
                    </a:srgbClr>
                  </a:gs>
                  <a:gs pos="100000">
                    <a:srgbClr val="FFFFFF">
                      <a:alpha val="0"/>
                    </a:srgbClr>
                  </a:gs>
                </a:gsLst>
                <a:lin ang="5400000" scaled="1"/>
                <a:tileRect/>
              </a:gra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>
                  <a:solidFill>
                    <a:sysClr val="windowText" lastClr="000000"/>
                  </a:solidFill>
                  <a:latin typeface="+mn-lt"/>
                  <a:cs typeface="+mn-cs"/>
                </a:endParaRPr>
              </a:p>
            </p:txBody>
          </p:sp>
          <p:sp>
            <p:nvSpPr>
              <p:cNvPr id="179" name="Freeform 23"/>
              <p:cNvSpPr>
                <a:spLocks/>
              </p:cNvSpPr>
              <p:nvPr/>
            </p:nvSpPr>
            <p:spPr bwMode="auto">
              <a:xfrm>
                <a:off x="5884862" y="3596640"/>
                <a:ext cx="1287780" cy="1432560"/>
              </a:xfrm>
              <a:custGeom>
                <a:avLst/>
                <a:gdLst/>
                <a:ahLst/>
                <a:cxnLst>
                  <a:cxn ang="0">
                    <a:pos x="218" y="150"/>
                  </a:cxn>
                  <a:cxn ang="0">
                    <a:pos x="218" y="150"/>
                  </a:cxn>
                  <a:cxn ang="0">
                    <a:pos x="216" y="180"/>
                  </a:cxn>
                  <a:cxn ang="0">
                    <a:pos x="208" y="208"/>
                  </a:cxn>
                  <a:cxn ang="0">
                    <a:pos x="198" y="234"/>
                  </a:cxn>
                  <a:cxn ang="0">
                    <a:pos x="186" y="256"/>
                  </a:cxn>
                  <a:cxn ang="0">
                    <a:pos x="170" y="274"/>
                  </a:cxn>
                  <a:cxn ang="0">
                    <a:pos x="160" y="280"/>
                  </a:cxn>
                  <a:cxn ang="0">
                    <a:pos x="152" y="288"/>
                  </a:cxn>
                  <a:cxn ang="0">
                    <a:pos x="142" y="292"/>
                  </a:cxn>
                  <a:cxn ang="0">
                    <a:pos x="130" y="296"/>
                  </a:cxn>
                  <a:cxn ang="0">
                    <a:pos x="120" y="298"/>
                  </a:cxn>
                  <a:cxn ang="0">
                    <a:pos x="108" y="298"/>
                  </a:cxn>
                  <a:cxn ang="0">
                    <a:pos x="108" y="298"/>
                  </a:cxn>
                  <a:cxn ang="0">
                    <a:pos x="98" y="298"/>
                  </a:cxn>
                  <a:cxn ang="0">
                    <a:pos x="88" y="296"/>
                  </a:cxn>
                  <a:cxn ang="0">
                    <a:pos x="76" y="292"/>
                  </a:cxn>
                  <a:cxn ang="0">
                    <a:pos x="66" y="288"/>
                  </a:cxn>
                  <a:cxn ang="0">
                    <a:pos x="58" y="280"/>
                  </a:cxn>
                  <a:cxn ang="0">
                    <a:pos x="48" y="274"/>
                  </a:cxn>
                  <a:cxn ang="0">
                    <a:pos x="32" y="256"/>
                  </a:cxn>
                  <a:cxn ang="0">
                    <a:pos x="18" y="234"/>
                  </a:cxn>
                  <a:cxn ang="0">
                    <a:pos x="8" y="208"/>
                  </a:cxn>
                  <a:cxn ang="0">
                    <a:pos x="2" y="180"/>
                  </a:cxn>
                  <a:cxn ang="0">
                    <a:pos x="0" y="150"/>
                  </a:cxn>
                  <a:cxn ang="0">
                    <a:pos x="0" y="150"/>
                  </a:cxn>
                  <a:cxn ang="0">
                    <a:pos x="2" y="120"/>
                  </a:cxn>
                  <a:cxn ang="0">
                    <a:pos x="8" y="92"/>
                  </a:cxn>
                  <a:cxn ang="0">
                    <a:pos x="18" y="66"/>
                  </a:cxn>
                  <a:cxn ang="0">
                    <a:pos x="32" y="44"/>
                  </a:cxn>
                  <a:cxn ang="0">
                    <a:pos x="48" y="26"/>
                  </a:cxn>
                  <a:cxn ang="0">
                    <a:pos x="58" y="18"/>
                  </a:cxn>
                  <a:cxn ang="0">
                    <a:pos x="66" y="12"/>
                  </a:cxn>
                  <a:cxn ang="0">
                    <a:pos x="76" y="8"/>
                  </a:cxn>
                  <a:cxn ang="0">
                    <a:pos x="88" y="4"/>
                  </a:cxn>
                  <a:cxn ang="0">
                    <a:pos x="98" y="2"/>
                  </a:cxn>
                  <a:cxn ang="0">
                    <a:pos x="108" y="0"/>
                  </a:cxn>
                  <a:cxn ang="0">
                    <a:pos x="108" y="0"/>
                  </a:cxn>
                  <a:cxn ang="0">
                    <a:pos x="120" y="2"/>
                  </a:cxn>
                  <a:cxn ang="0">
                    <a:pos x="130" y="4"/>
                  </a:cxn>
                  <a:cxn ang="0">
                    <a:pos x="142" y="8"/>
                  </a:cxn>
                  <a:cxn ang="0">
                    <a:pos x="152" y="12"/>
                  </a:cxn>
                  <a:cxn ang="0">
                    <a:pos x="160" y="18"/>
                  </a:cxn>
                  <a:cxn ang="0">
                    <a:pos x="170" y="26"/>
                  </a:cxn>
                  <a:cxn ang="0">
                    <a:pos x="186" y="44"/>
                  </a:cxn>
                  <a:cxn ang="0">
                    <a:pos x="198" y="66"/>
                  </a:cxn>
                  <a:cxn ang="0">
                    <a:pos x="208" y="92"/>
                  </a:cxn>
                  <a:cxn ang="0">
                    <a:pos x="216" y="120"/>
                  </a:cxn>
                  <a:cxn ang="0">
                    <a:pos x="218" y="150"/>
                  </a:cxn>
                  <a:cxn ang="0">
                    <a:pos x="218" y="150"/>
                  </a:cxn>
                </a:cxnLst>
                <a:rect l="0" t="0" r="r" b="b"/>
                <a:pathLst>
                  <a:path w="218" h="298">
                    <a:moveTo>
                      <a:pt x="218" y="150"/>
                    </a:moveTo>
                    <a:lnTo>
                      <a:pt x="218" y="150"/>
                    </a:lnTo>
                    <a:lnTo>
                      <a:pt x="216" y="180"/>
                    </a:lnTo>
                    <a:lnTo>
                      <a:pt x="208" y="208"/>
                    </a:lnTo>
                    <a:lnTo>
                      <a:pt x="198" y="234"/>
                    </a:lnTo>
                    <a:lnTo>
                      <a:pt x="186" y="256"/>
                    </a:lnTo>
                    <a:lnTo>
                      <a:pt x="170" y="274"/>
                    </a:lnTo>
                    <a:lnTo>
                      <a:pt x="160" y="280"/>
                    </a:lnTo>
                    <a:lnTo>
                      <a:pt x="152" y="288"/>
                    </a:lnTo>
                    <a:lnTo>
                      <a:pt x="142" y="292"/>
                    </a:lnTo>
                    <a:lnTo>
                      <a:pt x="130" y="296"/>
                    </a:lnTo>
                    <a:lnTo>
                      <a:pt x="120" y="298"/>
                    </a:lnTo>
                    <a:lnTo>
                      <a:pt x="108" y="298"/>
                    </a:lnTo>
                    <a:lnTo>
                      <a:pt x="108" y="298"/>
                    </a:lnTo>
                    <a:lnTo>
                      <a:pt x="98" y="298"/>
                    </a:lnTo>
                    <a:lnTo>
                      <a:pt x="88" y="296"/>
                    </a:lnTo>
                    <a:lnTo>
                      <a:pt x="76" y="292"/>
                    </a:lnTo>
                    <a:lnTo>
                      <a:pt x="66" y="288"/>
                    </a:lnTo>
                    <a:lnTo>
                      <a:pt x="58" y="280"/>
                    </a:lnTo>
                    <a:lnTo>
                      <a:pt x="48" y="274"/>
                    </a:lnTo>
                    <a:lnTo>
                      <a:pt x="32" y="256"/>
                    </a:lnTo>
                    <a:lnTo>
                      <a:pt x="18" y="234"/>
                    </a:lnTo>
                    <a:lnTo>
                      <a:pt x="8" y="208"/>
                    </a:lnTo>
                    <a:lnTo>
                      <a:pt x="2" y="180"/>
                    </a:lnTo>
                    <a:lnTo>
                      <a:pt x="0" y="150"/>
                    </a:lnTo>
                    <a:lnTo>
                      <a:pt x="0" y="150"/>
                    </a:lnTo>
                    <a:lnTo>
                      <a:pt x="2" y="120"/>
                    </a:lnTo>
                    <a:lnTo>
                      <a:pt x="8" y="92"/>
                    </a:lnTo>
                    <a:lnTo>
                      <a:pt x="18" y="66"/>
                    </a:lnTo>
                    <a:lnTo>
                      <a:pt x="32" y="44"/>
                    </a:lnTo>
                    <a:lnTo>
                      <a:pt x="48" y="26"/>
                    </a:lnTo>
                    <a:lnTo>
                      <a:pt x="58" y="18"/>
                    </a:lnTo>
                    <a:lnTo>
                      <a:pt x="66" y="12"/>
                    </a:lnTo>
                    <a:lnTo>
                      <a:pt x="76" y="8"/>
                    </a:lnTo>
                    <a:lnTo>
                      <a:pt x="88" y="4"/>
                    </a:lnTo>
                    <a:lnTo>
                      <a:pt x="98" y="2"/>
                    </a:lnTo>
                    <a:lnTo>
                      <a:pt x="108" y="0"/>
                    </a:lnTo>
                    <a:lnTo>
                      <a:pt x="108" y="0"/>
                    </a:lnTo>
                    <a:lnTo>
                      <a:pt x="120" y="2"/>
                    </a:lnTo>
                    <a:lnTo>
                      <a:pt x="130" y="4"/>
                    </a:lnTo>
                    <a:lnTo>
                      <a:pt x="142" y="8"/>
                    </a:lnTo>
                    <a:lnTo>
                      <a:pt x="152" y="12"/>
                    </a:lnTo>
                    <a:lnTo>
                      <a:pt x="160" y="18"/>
                    </a:lnTo>
                    <a:lnTo>
                      <a:pt x="170" y="26"/>
                    </a:lnTo>
                    <a:lnTo>
                      <a:pt x="186" y="44"/>
                    </a:lnTo>
                    <a:lnTo>
                      <a:pt x="198" y="66"/>
                    </a:lnTo>
                    <a:lnTo>
                      <a:pt x="208" y="92"/>
                    </a:lnTo>
                    <a:lnTo>
                      <a:pt x="216" y="120"/>
                    </a:lnTo>
                    <a:lnTo>
                      <a:pt x="218" y="150"/>
                    </a:lnTo>
                    <a:lnTo>
                      <a:pt x="218" y="15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FFFFFF"/>
                  </a:gs>
                  <a:gs pos="50000">
                    <a:srgbClr val="FFFFFF">
                      <a:alpha val="0"/>
                    </a:srgbClr>
                  </a:gs>
                  <a:gs pos="100000">
                    <a:srgbClr val="FFFFFF">
                      <a:alpha val="0"/>
                    </a:srgb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>
                  <a:solidFill>
                    <a:sysClr val="windowText" lastClr="000000"/>
                  </a:solidFill>
                  <a:latin typeface="+mn-lt"/>
                  <a:cs typeface="+mn-cs"/>
                </a:endParaRPr>
              </a:p>
            </p:txBody>
          </p:sp>
          <p:sp>
            <p:nvSpPr>
              <p:cNvPr id="180" name="Freeform 24"/>
              <p:cNvSpPr>
                <a:spLocks/>
              </p:cNvSpPr>
              <p:nvPr/>
            </p:nvSpPr>
            <p:spPr bwMode="auto">
              <a:xfrm rot="880063">
                <a:off x="5847913" y="3233332"/>
                <a:ext cx="380180" cy="496068"/>
              </a:xfrm>
              <a:custGeom>
                <a:avLst/>
                <a:gdLst/>
                <a:ahLst/>
                <a:cxnLst>
                  <a:cxn ang="0">
                    <a:pos x="4" y="40"/>
                  </a:cxn>
                  <a:cxn ang="0">
                    <a:pos x="0" y="266"/>
                  </a:cxn>
                  <a:cxn ang="0">
                    <a:pos x="0" y="266"/>
                  </a:cxn>
                  <a:cxn ang="0">
                    <a:pos x="30" y="250"/>
                  </a:cxn>
                  <a:cxn ang="0">
                    <a:pos x="100" y="214"/>
                  </a:cxn>
                  <a:cxn ang="0">
                    <a:pos x="140" y="196"/>
                  </a:cxn>
                  <a:cxn ang="0">
                    <a:pos x="176" y="178"/>
                  </a:cxn>
                  <a:cxn ang="0">
                    <a:pos x="206" y="166"/>
                  </a:cxn>
                  <a:cxn ang="0">
                    <a:pos x="218" y="164"/>
                  </a:cxn>
                  <a:cxn ang="0">
                    <a:pos x="226" y="162"/>
                  </a:cxn>
                  <a:cxn ang="0">
                    <a:pos x="226" y="162"/>
                  </a:cxn>
                  <a:cxn ang="0">
                    <a:pos x="230" y="162"/>
                  </a:cxn>
                  <a:cxn ang="0">
                    <a:pos x="234" y="158"/>
                  </a:cxn>
                  <a:cxn ang="0">
                    <a:pos x="238" y="152"/>
                  </a:cxn>
                  <a:cxn ang="0">
                    <a:pos x="240" y="146"/>
                  </a:cxn>
                  <a:cxn ang="0">
                    <a:pos x="240" y="128"/>
                  </a:cxn>
                  <a:cxn ang="0">
                    <a:pos x="240" y="108"/>
                  </a:cxn>
                  <a:cxn ang="0">
                    <a:pos x="234" y="70"/>
                  </a:cxn>
                  <a:cxn ang="0">
                    <a:pos x="230" y="54"/>
                  </a:cxn>
                  <a:cxn ang="0">
                    <a:pos x="230" y="54"/>
                  </a:cxn>
                  <a:cxn ang="0">
                    <a:pos x="228" y="50"/>
                  </a:cxn>
                  <a:cxn ang="0">
                    <a:pos x="226" y="38"/>
                  </a:cxn>
                  <a:cxn ang="0">
                    <a:pos x="222" y="30"/>
                  </a:cxn>
                  <a:cxn ang="0">
                    <a:pos x="216" y="24"/>
                  </a:cxn>
                  <a:cxn ang="0">
                    <a:pos x="210" y="16"/>
                  </a:cxn>
                  <a:cxn ang="0">
                    <a:pos x="200" y="10"/>
                  </a:cxn>
                  <a:cxn ang="0">
                    <a:pos x="188" y="4"/>
                  </a:cxn>
                  <a:cxn ang="0">
                    <a:pos x="172" y="2"/>
                  </a:cxn>
                  <a:cxn ang="0">
                    <a:pos x="154" y="0"/>
                  </a:cxn>
                  <a:cxn ang="0">
                    <a:pos x="132" y="0"/>
                  </a:cxn>
                  <a:cxn ang="0">
                    <a:pos x="106" y="4"/>
                  </a:cxn>
                  <a:cxn ang="0">
                    <a:pos x="78" y="12"/>
                  </a:cxn>
                  <a:cxn ang="0">
                    <a:pos x="42" y="24"/>
                  </a:cxn>
                  <a:cxn ang="0">
                    <a:pos x="4" y="40"/>
                  </a:cxn>
                  <a:cxn ang="0">
                    <a:pos x="4" y="40"/>
                  </a:cxn>
                </a:cxnLst>
                <a:rect l="0" t="0" r="r" b="b"/>
                <a:pathLst>
                  <a:path w="240" h="266">
                    <a:moveTo>
                      <a:pt x="4" y="40"/>
                    </a:moveTo>
                    <a:lnTo>
                      <a:pt x="0" y="266"/>
                    </a:lnTo>
                    <a:lnTo>
                      <a:pt x="0" y="266"/>
                    </a:lnTo>
                    <a:lnTo>
                      <a:pt x="30" y="250"/>
                    </a:lnTo>
                    <a:lnTo>
                      <a:pt x="100" y="214"/>
                    </a:lnTo>
                    <a:lnTo>
                      <a:pt x="140" y="196"/>
                    </a:lnTo>
                    <a:lnTo>
                      <a:pt x="176" y="178"/>
                    </a:lnTo>
                    <a:lnTo>
                      <a:pt x="206" y="166"/>
                    </a:lnTo>
                    <a:lnTo>
                      <a:pt x="218" y="164"/>
                    </a:lnTo>
                    <a:lnTo>
                      <a:pt x="226" y="162"/>
                    </a:lnTo>
                    <a:lnTo>
                      <a:pt x="226" y="162"/>
                    </a:lnTo>
                    <a:lnTo>
                      <a:pt x="230" y="162"/>
                    </a:lnTo>
                    <a:lnTo>
                      <a:pt x="234" y="158"/>
                    </a:lnTo>
                    <a:lnTo>
                      <a:pt x="238" y="152"/>
                    </a:lnTo>
                    <a:lnTo>
                      <a:pt x="240" y="146"/>
                    </a:lnTo>
                    <a:lnTo>
                      <a:pt x="240" y="128"/>
                    </a:lnTo>
                    <a:lnTo>
                      <a:pt x="240" y="108"/>
                    </a:lnTo>
                    <a:lnTo>
                      <a:pt x="234" y="70"/>
                    </a:lnTo>
                    <a:lnTo>
                      <a:pt x="230" y="54"/>
                    </a:lnTo>
                    <a:lnTo>
                      <a:pt x="230" y="54"/>
                    </a:lnTo>
                    <a:lnTo>
                      <a:pt x="228" y="50"/>
                    </a:lnTo>
                    <a:lnTo>
                      <a:pt x="226" y="38"/>
                    </a:lnTo>
                    <a:lnTo>
                      <a:pt x="222" y="30"/>
                    </a:lnTo>
                    <a:lnTo>
                      <a:pt x="216" y="24"/>
                    </a:lnTo>
                    <a:lnTo>
                      <a:pt x="210" y="16"/>
                    </a:lnTo>
                    <a:lnTo>
                      <a:pt x="200" y="10"/>
                    </a:lnTo>
                    <a:lnTo>
                      <a:pt x="188" y="4"/>
                    </a:lnTo>
                    <a:lnTo>
                      <a:pt x="172" y="2"/>
                    </a:lnTo>
                    <a:lnTo>
                      <a:pt x="154" y="0"/>
                    </a:lnTo>
                    <a:lnTo>
                      <a:pt x="132" y="0"/>
                    </a:lnTo>
                    <a:lnTo>
                      <a:pt x="106" y="4"/>
                    </a:lnTo>
                    <a:lnTo>
                      <a:pt x="78" y="12"/>
                    </a:lnTo>
                    <a:lnTo>
                      <a:pt x="42" y="24"/>
                    </a:lnTo>
                    <a:lnTo>
                      <a:pt x="4" y="40"/>
                    </a:lnTo>
                    <a:lnTo>
                      <a:pt x="4" y="4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D7D8D9">
                      <a:lumMod val="25000"/>
                      <a:alpha val="1000"/>
                    </a:srgbClr>
                  </a:gs>
                  <a:gs pos="50000">
                    <a:srgbClr val="E6E6E6">
                      <a:lumMod val="50000"/>
                      <a:alpha val="35000"/>
                    </a:srgbClr>
                  </a:gs>
                  <a:gs pos="100000">
                    <a:srgbClr val="FFFFFF">
                      <a:alpha val="0"/>
                    </a:srgbClr>
                  </a:gs>
                </a:gsLst>
                <a:lin ang="0" scaled="1"/>
                <a:tileRect/>
              </a:gra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>
                  <a:solidFill>
                    <a:sysClr val="windowText" lastClr="000000"/>
                  </a:solidFill>
                  <a:latin typeface="+mn-lt"/>
                  <a:cs typeface="+mn-cs"/>
                </a:endParaRPr>
              </a:p>
            </p:txBody>
          </p:sp>
          <p:sp>
            <p:nvSpPr>
              <p:cNvPr id="181" name="Freeform 25"/>
              <p:cNvSpPr>
                <a:spLocks/>
              </p:cNvSpPr>
              <p:nvPr/>
            </p:nvSpPr>
            <p:spPr bwMode="auto">
              <a:xfrm>
                <a:off x="6596466" y="3271128"/>
                <a:ext cx="224329" cy="363783"/>
              </a:xfrm>
              <a:custGeom>
                <a:avLst/>
                <a:gdLst/>
                <a:ahLst/>
                <a:cxnLst>
                  <a:cxn ang="0">
                    <a:pos x="104" y="218"/>
                  </a:cxn>
                  <a:cxn ang="0">
                    <a:pos x="104" y="218"/>
                  </a:cxn>
                  <a:cxn ang="0">
                    <a:pos x="98" y="210"/>
                  </a:cxn>
                  <a:cxn ang="0">
                    <a:pos x="90" y="202"/>
                  </a:cxn>
                  <a:cxn ang="0">
                    <a:pos x="80" y="192"/>
                  </a:cxn>
                  <a:cxn ang="0">
                    <a:pos x="68" y="184"/>
                  </a:cxn>
                  <a:cxn ang="0">
                    <a:pos x="54" y="178"/>
                  </a:cxn>
                  <a:cxn ang="0">
                    <a:pos x="40" y="174"/>
                  </a:cxn>
                  <a:cxn ang="0">
                    <a:pos x="32" y="176"/>
                  </a:cxn>
                  <a:cxn ang="0">
                    <a:pos x="24" y="176"/>
                  </a:cxn>
                  <a:cxn ang="0">
                    <a:pos x="24" y="176"/>
                  </a:cxn>
                  <a:cxn ang="0">
                    <a:pos x="16" y="178"/>
                  </a:cxn>
                  <a:cxn ang="0">
                    <a:pos x="10" y="174"/>
                  </a:cxn>
                  <a:cxn ang="0">
                    <a:pos x="6" y="166"/>
                  </a:cxn>
                  <a:cxn ang="0">
                    <a:pos x="2" y="156"/>
                  </a:cxn>
                  <a:cxn ang="0">
                    <a:pos x="0" y="142"/>
                  </a:cxn>
                  <a:cxn ang="0">
                    <a:pos x="0" y="128"/>
                  </a:cxn>
                  <a:cxn ang="0">
                    <a:pos x="2" y="94"/>
                  </a:cxn>
                  <a:cxn ang="0">
                    <a:pos x="4" y="60"/>
                  </a:cxn>
                  <a:cxn ang="0">
                    <a:pos x="10" y="30"/>
                  </a:cxn>
                  <a:cxn ang="0">
                    <a:pos x="14" y="0"/>
                  </a:cxn>
                  <a:cxn ang="0">
                    <a:pos x="118" y="60"/>
                  </a:cxn>
                  <a:cxn ang="0">
                    <a:pos x="118" y="60"/>
                  </a:cxn>
                  <a:cxn ang="0">
                    <a:pos x="112" y="82"/>
                  </a:cxn>
                  <a:cxn ang="0">
                    <a:pos x="100" y="134"/>
                  </a:cxn>
                  <a:cxn ang="0">
                    <a:pos x="96" y="162"/>
                  </a:cxn>
                  <a:cxn ang="0">
                    <a:pos x="96" y="188"/>
                  </a:cxn>
                  <a:cxn ang="0">
                    <a:pos x="96" y="198"/>
                  </a:cxn>
                  <a:cxn ang="0">
                    <a:pos x="98" y="206"/>
                  </a:cxn>
                  <a:cxn ang="0">
                    <a:pos x="100" y="214"/>
                  </a:cxn>
                  <a:cxn ang="0">
                    <a:pos x="104" y="218"/>
                  </a:cxn>
                  <a:cxn ang="0">
                    <a:pos x="104" y="218"/>
                  </a:cxn>
                </a:cxnLst>
                <a:rect l="0" t="0" r="r" b="b"/>
                <a:pathLst>
                  <a:path w="118" h="218">
                    <a:moveTo>
                      <a:pt x="104" y="218"/>
                    </a:moveTo>
                    <a:lnTo>
                      <a:pt x="104" y="218"/>
                    </a:lnTo>
                    <a:lnTo>
                      <a:pt x="98" y="210"/>
                    </a:lnTo>
                    <a:lnTo>
                      <a:pt x="90" y="202"/>
                    </a:lnTo>
                    <a:lnTo>
                      <a:pt x="80" y="192"/>
                    </a:lnTo>
                    <a:lnTo>
                      <a:pt x="68" y="184"/>
                    </a:lnTo>
                    <a:lnTo>
                      <a:pt x="54" y="178"/>
                    </a:lnTo>
                    <a:lnTo>
                      <a:pt x="40" y="174"/>
                    </a:lnTo>
                    <a:lnTo>
                      <a:pt x="32" y="176"/>
                    </a:lnTo>
                    <a:lnTo>
                      <a:pt x="24" y="176"/>
                    </a:lnTo>
                    <a:lnTo>
                      <a:pt x="24" y="176"/>
                    </a:lnTo>
                    <a:lnTo>
                      <a:pt x="16" y="178"/>
                    </a:lnTo>
                    <a:lnTo>
                      <a:pt x="10" y="174"/>
                    </a:lnTo>
                    <a:lnTo>
                      <a:pt x="6" y="166"/>
                    </a:lnTo>
                    <a:lnTo>
                      <a:pt x="2" y="156"/>
                    </a:lnTo>
                    <a:lnTo>
                      <a:pt x="0" y="142"/>
                    </a:lnTo>
                    <a:lnTo>
                      <a:pt x="0" y="128"/>
                    </a:lnTo>
                    <a:lnTo>
                      <a:pt x="2" y="94"/>
                    </a:lnTo>
                    <a:lnTo>
                      <a:pt x="4" y="60"/>
                    </a:lnTo>
                    <a:lnTo>
                      <a:pt x="10" y="30"/>
                    </a:lnTo>
                    <a:lnTo>
                      <a:pt x="14" y="0"/>
                    </a:lnTo>
                    <a:lnTo>
                      <a:pt x="118" y="60"/>
                    </a:lnTo>
                    <a:lnTo>
                      <a:pt x="118" y="60"/>
                    </a:lnTo>
                    <a:lnTo>
                      <a:pt x="112" y="82"/>
                    </a:lnTo>
                    <a:lnTo>
                      <a:pt x="100" y="134"/>
                    </a:lnTo>
                    <a:lnTo>
                      <a:pt x="96" y="162"/>
                    </a:lnTo>
                    <a:lnTo>
                      <a:pt x="96" y="188"/>
                    </a:lnTo>
                    <a:lnTo>
                      <a:pt x="96" y="198"/>
                    </a:lnTo>
                    <a:lnTo>
                      <a:pt x="98" y="206"/>
                    </a:lnTo>
                    <a:lnTo>
                      <a:pt x="100" y="214"/>
                    </a:lnTo>
                    <a:lnTo>
                      <a:pt x="104" y="218"/>
                    </a:lnTo>
                    <a:lnTo>
                      <a:pt x="104" y="218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D7D8D9">
                      <a:lumMod val="25000"/>
                    </a:srgbClr>
                  </a:gs>
                  <a:gs pos="50000">
                    <a:srgbClr val="E6E6E6">
                      <a:lumMod val="50000"/>
                    </a:srgbClr>
                  </a:gs>
                  <a:gs pos="100000">
                    <a:srgbClr val="FFFFFF">
                      <a:alpha val="0"/>
                    </a:srgbClr>
                  </a:gs>
                </a:gsLst>
                <a:lin ang="5400000" scaled="1"/>
                <a:tileRect/>
              </a:gra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>
                  <a:solidFill>
                    <a:sysClr val="windowText" lastClr="000000"/>
                  </a:solidFill>
                  <a:latin typeface="+mn-lt"/>
                  <a:cs typeface="+mn-cs"/>
                </a:endParaRPr>
              </a:p>
            </p:txBody>
          </p:sp>
          <p:sp>
            <p:nvSpPr>
              <p:cNvPr id="182" name="Freeform 41"/>
              <p:cNvSpPr>
                <a:spLocks/>
              </p:cNvSpPr>
              <p:nvPr/>
            </p:nvSpPr>
            <p:spPr bwMode="auto">
              <a:xfrm>
                <a:off x="5721247" y="2972886"/>
                <a:ext cx="515961" cy="257924"/>
              </a:xfrm>
              <a:custGeom>
                <a:avLst/>
                <a:gdLst/>
                <a:ahLst/>
                <a:cxnLst>
                  <a:cxn ang="0">
                    <a:pos x="332" y="64"/>
                  </a:cxn>
                  <a:cxn ang="0">
                    <a:pos x="332" y="64"/>
                  </a:cxn>
                  <a:cxn ang="0">
                    <a:pos x="328" y="52"/>
                  </a:cxn>
                  <a:cxn ang="0">
                    <a:pos x="326" y="40"/>
                  </a:cxn>
                  <a:cxn ang="0">
                    <a:pos x="326" y="40"/>
                  </a:cxn>
                  <a:cxn ang="0">
                    <a:pos x="328" y="38"/>
                  </a:cxn>
                  <a:cxn ang="0">
                    <a:pos x="328" y="38"/>
                  </a:cxn>
                  <a:cxn ang="0">
                    <a:pos x="322" y="32"/>
                  </a:cxn>
                  <a:cxn ang="0">
                    <a:pos x="316" y="26"/>
                  </a:cxn>
                  <a:cxn ang="0">
                    <a:pos x="300" y="16"/>
                  </a:cxn>
                  <a:cxn ang="0">
                    <a:pos x="280" y="8"/>
                  </a:cxn>
                  <a:cxn ang="0">
                    <a:pos x="256" y="4"/>
                  </a:cxn>
                  <a:cxn ang="0">
                    <a:pos x="230" y="0"/>
                  </a:cxn>
                  <a:cxn ang="0">
                    <a:pos x="200" y="0"/>
                  </a:cxn>
                  <a:cxn ang="0">
                    <a:pos x="170" y="2"/>
                  </a:cxn>
                  <a:cxn ang="0">
                    <a:pos x="136" y="6"/>
                  </a:cxn>
                  <a:cxn ang="0">
                    <a:pos x="136" y="6"/>
                  </a:cxn>
                  <a:cxn ang="0">
                    <a:pos x="96" y="16"/>
                  </a:cxn>
                  <a:cxn ang="0">
                    <a:pos x="60" y="28"/>
                  </a:cxn>
                  <a:cxn ang="0">
                    <a:pos x="30" y="42"/>
                  </a:cxn>
                  <a:cxn ang="0">
                    <a:pos x="4" y="58"/>
                  </a:cxn>
                  <a:cxn ang="0">
                    <a:pos x="0" y="152"/>
                  </a:cxn>
                  <a:cxn ang="0">
                    <a:pos x="0" y="152"/>
                  </a:cxn>
                  <a:cxn ang="0">
                    <a:pos x="12" y="156"/>
                  </a:cxn>
                  <a:cxn ang="0">
                    <a:pos x="24" y="160"/>
                  </a:cxn>
                  <a:cxn ang="0">
                    <a:pos x="56" y="166"/>
                  </a:cxn>
                  <a:cxn ang="0">
                    <a:pos x="92" y="168"/>
                  </a:cxn>
                  <a:cxn ang="0">
                    <a:pos x="132" y="166"/>
                  </a:cxn>
                  <a:cxn ang="0">
                    <a:pos x="132" y="166"/>
                  </a:cxn>
                  <a:cxn ang="0">
                    <a:pos x="178" y="154"/>
                  </a:cxn>
                  <a:cxn ang="0">
                    <a:pos x="226" y="146"/>
                  </a:cxn>
                  <a:cxn ang="0">
                    <a:pos x="226" y="146"/>
                  </a:cxn>
                  <a:cxn ang="0">
                    <a:pos x="246" y="138"/>
                  </a:cxn>
                  <a:cxn ang="0">
                    <a:pos x="266" y="128"/>
                  </a:cxn>
                  <a:cxn ang="0">
                    <a:pos x="284" y="118"/>
                  </a:cxn>
                  <a:cxn ang="0">
                    <a:pos x="298" y="108"/>
                  </a:cxn>
                  <a:cxn ang="0">
                    <a:pos x="312" y="98"/>
                  </a:cxn>
                  <a:cxn ang="0">
                    <a:pos x="322" y="86"/>
                  </a:cxn>
                  <a:cxn ang="0">
                    <a:pos x="328" y="76"/>
                  </a:cxn>
                  <a:cxn ang="0">
                    <a:pos x="332" y="64"/>
                  </a:cxn>
                  <a:cxn ang="0">
                    <a:pos x="332" y="64"/>
                  </a:cxn>
                </a:cxnLst>
                <a:rect l="0" t="0" r="r" b="b"/>
                <a:pathLst>
                  <a:path w="332" h="168">
                    <a:moveTo>
                      <a:pt x="332" y="64"/>
                    </a:moveTo>
                    <a:lnTo>
                      <a:pt x="332" y="64"/>
                    </a:lnTo>
                    <a:lnTo>
                      <a:pt x="328" y="52"/>
                    </a:lnTo>
                    <a:lnTo>
                      <a:pt x="326" y="40"/>
                    </a:lnTo>
                    <a:lnTo>
                      <a:pt x="326" y="40"/>
                    </a:lnTo>
                    <a:lnTo>
                      <a:pt x="328" y="38"/>
                    </a:lnTo>
                    <a:lnTo>
                      <a:pt x="328" y="38"/>
                    </a:lnTo>
                    <a:lnTo>
                      <a:pt x="322" y="32"/>
                    </a:lnTo>
                    <a:lnTo>
                      <a:pt x="316" y="26"/>
                    </a:lnTo>
                    <a:lnTo>
                      <a:pt x="300" y="16"/>
                    </a:lnTo>
                    <a:lnTo>
                      <a:pt x="280" y="8"/>
                    </a:lnTo>
                    <a:lnTo>
                      <a:pt x="256" y="4"/>
                    </a:lnTo>
                    <a:lnTo>
                      <a:pt x="230" y="0"/>
                    </a:lnTo>
                    <a:lnTo>
                      <a:pt x="200" y="0"/>
                    </a:lnTo>
                    <a:lnTo>
                      <a:pt x="170" y="2"/>
                    </a:lnTo>
                    <a:lnTo>
                      <a:pt x="136" y="6"/>
                    </a:lnTo>
                    <a:lnTo>
                      <a:pt x="136" y="6"/>
                    </a:lnTo>
                    <a:lnTo>
                      <a:pt x="96" y="16"/>
                    </a:lnTo>
                    <a:lnTo>
                      <a:pt x="60" y="28"/>
                    </a:lnTo>
                    <a:lnTo>
                      <a:pt x="30" y="42"/>
                    </a:lnTo>
                    <a:lnTo>
                      <a:pt x="4" y="58"/>
                    </a:lnTo>
                    <a:lnTo>
                      <a:pt x="0" y="152"/>
                    </a:lnTo>
                    <a:lnTo>
                      <a:pt x="0" y="152"/>
                    </a:lnTo>
                    <a:lnTo>
                      <a:pt x="12" y="156"/>
                    </a:lnTo>
                    <a:lnTo>
                      <a:pt x="24" y="160"/>
                    </a:lnTo>
                    <a:lnTo>
                      <a:pt x="56" y="166"/>
                    </a:lnTo>
                    <a:lnTo>
                      <a:pt x="92" y="168"/>
                    </a:lnTo>
                    <a:lnTo>
                      <a:pt x="132" y="166"/>
                    </a:lnTo>
                    <a:lnTo>
                      <a:pt x="132" y="166"/>
                    </a:lnTo>
                    <a:lnTo>
                      <a:pt x="178" y="154"/>
                    </a:lnTo>
                    <a:lnTo>
                      <a:pt x="226" y="146"/>
                    </a:lnTo>
                    <a:lnTo>
                      <a:pt x="226" y="146"/>
                    </a:lnTo>
                    <a:lnTo>
                      <a:pt x="246" y="138"/>
                    </a:lnTo>
                    <a:lnTo>
                      <a:pt x="266" y="128"/>
                    </a:lnTo>
                    <a:lnTo>
                      <a:pt x="284" y="118"/>
                    </a:lnTo>
                    <a:lnTo>
                      <a:pt x="298" y="108"/>
                    </a:lnTo>
                    <a:lnTo>
                      <a:pt x="312" y="98"/>
                    </a:lnTo>
                    <a:lnTo>
                      <a:pt x="322" y="86"/>
                    </a:lnTo>
                    <a:lnTo>
                      <a:pt x="328" y="76"/>
                    </a:lnTo>
                    <a:lnTo>
                      <a:pt x="332" y="64"/>
                    </a:lnTo>
                    <a:lnTo>
                      <a:pt x="332" y="64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FFFFFF"/>
                  </a:gs>
                  <a:gs pos="50000">
                    <a:srgbClr val="808080">
                      <a:shade val="67500"/>
                      <a:satMod val="115000"/>
                    </a:srgbClr>
                  </a:gs>
                  <a:gs pos="100000">
                    <a:srgbClr val="808080">
                      <a:shade val="100000"/>
                      <a:satMod val="115000"/>
                    </a:srgbClr>
                  </a:gs>
                </a:gsLst>
                <a:lin ang="0" scaled="1"/>
                <a:tileRect/>
              </a:gra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>
                  <a:solidFill>
                    <a:sysClr val="windowText" lastClr="000000"/>
                  </a:solidFill>
                  <a:latin typeface="+mn-lt"/>
                  <a:cs typeface="+mn-cs"/>
                </a:endParaRPr>
              </a:p>
            </p:txBody>
          </p:sp>
          <p:sp>
            <p:nvSpPr>
              <p:cNvPr id="183" name="Freeform 42"/>
              <p:cNvSpPr>
                <a:spLocks/>
              </p:cNvSpPr>
              <p:nvPr/>
            </p:nvSpPr>
            <p:spPr bwMode="auto">
              <a:xfrm>
                <a:off x="6245805" y="2938496"/>
                <a:ext cx="584755" cy="249329"/>
              </a:xfrm>
              <a:custGeom>
                <a:avLst/>
                <a:gdLst/>
                <a:ahLst/>
                <a:cxnLst>
                  <a:cxn ang="0">
                    <a:pos x="366" y="100"/>
                  </a:cxn>
                  <a:cxn ang="0">
                    <a:pos x="366" y="100"/>
                  </a:cxn>
                  <a:cxn ang="0">
                    <a:pos x="366" y="92"/>
                  </a:cxn>
                  <a:cxn ang="0">
                    <a:pos x="364" y="84"/>
                  </a:cxn>
                  <a:cxn ang="0">
                    <a:pos x="362" y="76"/>
                  </a:cxn>
                  <a:cxn ang="0">
                    <a:pos x="356" y="68"/>
                  </a:cxn>
                  <a:cxn ang="0">
                    <a:pos x="348" y="60"/>
                  </a:cxn>
                  <a:cxn ang="0">
                    <a:pos x="340" y="54"/>
                  </a:cxn>
                  <a:cxn ang="0">
                    <a:pos x="318" y="38"/>
                  </a:cxn>
                  <a:cxn ang="0">
                    <a:pos x="292" y="26"/>
                  </a:cxn>
                  <a:cxn ang="0">
                    <a:pos x="262" y="16"/>
                  </a:cxn>
                  <a:cxn ang="0">
                    <a:pos x="228" y="8"/>
                  </a:cxn>
                  <a:cxn ang="0">
                    <a:pos x="192" y="2"/>
                  </a:cxn>
                  <a:cxn ang="0">
                    <a:pos x="192" y="2"/>
                  </a:cxn>
                  <a:cxn ang="0">
                    <a:pos x="154" y="0"/>
                  </a:cxn>
                  <a:cxn ang="0">
                    <a:pos x="120" y="0"/>
                  </a:cxn>
                  <a:cxn ang="0">
                    <a:pos x="88" y="4"/>
                  </a:cxn>
                  <a:cxn ang="0">
                    <a:pos x="60" y="10"/>
                  </a:cxn>
                  <a:cxn ang="0">
                    <a:pos x="38" y="18"/>
                  </a:cxn>
                  <a:cxn ang="0">
                    <a:pos x="18" y="30"/>
                  </a:cxn>
                  <a:cxn ang="0">
                    <a:pos x="12" y="36"/>
                  </a:cxn>
                  <a:cxn ang="0">
                    <a:pos x="6" y="42"/>
                  </a:cxn>
                  <a:cxn ang="0">
                    <a:pos x="2" y="50"/>
                  </a:cxn>
                  <a:cxn ang="0">
                    <a:pos x="0" y="58"/>
                  </a:cxn>
                  <a:cxn ang="0">
                    <a:pos x="0" y="58"/>
                  </a:cxn>
                  <a:cxn ang="0">
                    <a:pos x="2" y="64"/>
                  </a:cxn>
                  <a:cxn ang="0">
                    <a:pos x="4" y="70"/>
                  </a:cxn>
                  <a:cxn ang="0">
                    <a:pos x="4" y="70"/>
                  </a:cxn>
                  <a:cxn ang="0">
                    <a:pos x="6" y="78"/>
                  </a:cxn>
                  <a:cxn ang="0">
                    <a:pos x="4" y="84"/>
                  </a:cxn>
                  <a:cxn ang="0">
                    <a:pos x="4" y="84"/>
                  </a:cxn>
                  <a:cxn ang="0">
                    <a:pos x="12" y="96"/>
                  </a:cxn>
                  <a:cxn ang="0">
                    <a:pos x="24" y="106"/>
                  </a:cxn>
                  <a:cxn ang="0">
                    <a:pos x="38" y="116"/>
                  </a:cxn>
                  <a:cxn ang="0">
                    <a:pos x="54" y="126"/>
                  </a:cxn>
                  <a:cxn ang="0">
                    <a:pos x="74" y="134"/>
                  </a:cxn>
                  <a:cxn ang="0">
                    <a:pos x="94" y="142"/>
                  </a:cxn>
                  <a:cxn ang="0">
                    <a:pos x="118" y="148"/>
                  </a:cxn>
                  <a:cxn ang="0">
                    <a:pos x="142" y="154"/>
                  </a:cxn>
                  <a:cxn ang="0">
                    <a:pos x="142" y="154"/>
                  </a:cxn>
                  <a:cxn ang="0">
                    <a:pos x="174" y="156"/>
                  </a:cxn>
                  <a:cxn ang="0">
                    <a:pos x="204" y="160"/>
                  </a:cxn>
                  <a:cxn ang="0">
                    <a:pos x="204" y="160"/>
                  </a:cxn>
                  <a:cxn ang="0">
                    <a:pos x="236" y="160"/>
                  </a:cxn>
                  <a:cxn ang="0">
                    <a:pos x="266" y="158"/>
                  </a:cxn>
                  <a:cxn ang="0">
                    <a:pos x="294" y="154"/>
                  </a:cxn>
                  <a:cxn ang="0">
                    <a:pos x="318" y="146"/>
                  </a:cxn>
                  <a:cxn ang="0">
                    <a:pos x="336" y="138"/>
                  </a:cxn>
                  <a:cxn ang="0">
                    <a:pos x="352" y="126"/>
                  </a:cxn>
                  <a:cxn ang="0">
                    <a:pos x="358" y="120"/>
                  </a:cxn>
                  <a:cxn ang="0">
                    <a:pos x="362" y="114"/>
                  </a:cxn>
                  <a:cxn ang="0">
                    <a:pos x="366" y="108"/>
                  </a:cxn>
                  <a:cxn ang="0">
                    <a:pos x="366" y="100"/>
                  </a:cxn>
                  <a:cxn ang="0">
                    <a:pos x="366" y="100"/>
                  </a:cxn>
                </a:cxnLst>
                <a:rect l="0" t="0" r="r" b="b"/>
                <a:pathLst>
                  <a:path w="366" h="160">
                    <a:moveTo>
                      <a:pt x="366" y="100"/>
                    </a:moveTo>
                    <a:lnTo>
                      <a:pt x="366" y="100"/>
                    </a:lnTo>
                    <a:lnTo>
                      <a:pt x="366" y="92"/>
                    </a:lnTo>
                    <a:lnTo>
                      <a:pt x="364" y="84"/>
                    </a:lnTo>
                    <a:lnTo>
                      <a:pt x="362" y="76"/>
                    </a:lnTo>
                    <a:lnTo>
                      <a:pt x="356" y="68"/>
                    </a:lnTo>
                    <a:lnTo>
                      <a:pt x="348" y="60"/>
                    </a:lnTo>
                    <a:lnTo>
                      <a:pt x="340" y="54"/>
                    </a:lnTo>
                    <a:lnTo>
                      <a:pt x="318" y="38"/>
                    </a:lnTo>
                    <a:lnTo>
                      <a:pt x="292" y="26"/>
                    </a:lnTo>
                    <a:lnTo>
                      <a:pt x="262" y="16"/>
                    </a:lnTo>
                    <a:lnTo>
                      <a:pt x="228" y="8"/>
                    </a:lnTo>
                    <a:lnTo>
                      <a:pt x="192" y="2"/>
                    </a:lnTo>
                    <a:lnTo>
                      <a:pt x="192" y="2"/>
                    </a:lnTo>
                    <a:lnTo>
                      <a:pt x="154" y="0"/>
                    </a:lnTo>
                    <a:lnTo>
                      <a:pt x="120" y="0"/>
                    </a:lnTo>
                    <a:lnTo>
                      <a:pt x="88" y="4"/>
                    </a:lnTo>
                    <a:lnTo>
                      <a:pt x="60" y="10"/>
                    </a:lnTo>
                    <a:lnTo>
                      <a:pt x="38" y="18"/>
                    </a:lnTo>
                    <a:lnTo>
                      <a:pt x="18" y="30"/>
                    </a:lnTo>
                    <a:lnTo>
                      <a:pt x="12" y="36"/>
                    </a:lnTo>
                    <a:lnTo>
                      <a:pt x="6" y="42"/>
                    </a:lnTo>
                    <a:lnTo>
                      <a:pt x="2" y="50"/>
                    </a:lnTo>
                    <a:lnTo>
                      <a:pt x="0" y="58"/>
                    </a:lnTo>
                    <a:lnTo>
                      <a:pt x="0" y="58"/>
                    </a:lnTo>
                    <a:lnTo>
                      <a:pt x="2" y="64"/>
                    </a:lnTo>
                    <a:lnTo>
                      <a:pt x="4" y="70"/>
                    </a:lnTo>
                    <a:lnTo>
                      <a:pt x="4" y="70"/>
                    </a:lnTo>
                    <a:lnTo>
                      <a:pt x="6" y="78"/>
                    </a:lnTo>
                    <a:lnTo>
                      <a:pt x="4" y="84"/>
                    </a:lnTo>
                    <a:lnTo>
                      <a:pt x="4" y="84"/>
                    </a:lnTo>
                    <a:lnTo>
                      <a:pt x="12" y="96"/>
                    </a:lnTo>
                    <a:lnTo>
                      <a:pt x="24" y="106"/>
                    </a:lnTo>
                    <a:lnTo>
                      <a:pt x="38" y="116"/>
                    </a:lnTo>
                    <a:lnTo>
                      <a:pt x="54" y="126"/>
                    </a:lnTo>
                    <a:lnTo>
                      <a:pt x="74" y="134"/>
                    </a:lnTo>
                    <a:lnTo>
                      <a:pt x="94" y="142"/>
                    </a:lnTo>
                    <a:lnTo>
                      <a:pt x="118" y="148"/>
                    </a:lnTo>
                    <a:lnTo>
                      <a:pt x="142" y="154"/>
                    </a:lnTo>
                    <a:lnTo>
                      <a:pt x="142" y="154"/>
                    </a:lnTo>
                    <a:lnTo>
                      <a:pt x="174" y="156"/>
                    </a:lnTo>
                    <a:lnTo>
                      <a:pt x="204" y="160"/>
                    </a:lnTo>
                    <a:lnTo>
                      <a:pt x="204" y="160"/>
                    </a:lnTo>
                    <a:lnTo>
                      <a:pt x="236" y="160"/>
                    </a:lnTo>
                    <a:lnTo>
                      <a:pt x="266" y="158"/>
                    </a:lnTo>
                    <a:lnTo>
                      <a:pt x="294" y="154"/>
                    </a:lnTo>
                    <a:lnTo>
                      <a:pt x="318" y="146"/>
                    </a:lnTo>
                    <a:lnTo>
                      <a:pt x="336" y="138"/>
                    </a:lnTo>
                    <a:lnTo>
                      <a:pt x="352" y="126"/>
                    </a:lnTo>
                    <a:lnTo>
                      <a:pt x="358" y="120"/>
                    </a:lnTo>
                    <a:lnTo>
                      <a:pt x="362" y="114"/>
                    </a:lnTo>
                    <a:lnTo>
                      <a:pt x="366" y="108"/>
                    </a:lnTo>
                    <a:lnTo>
                      <a:pt x="366" y="100"/>
                    </a:lnTo>
                    <a:lnTo>
                      <a:pt x="366" y="10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FFFFFF"/>
                  </a:gs>
                  <a:gs pos="50000">
                    <a:srgbClr val="808080">
                      <a:shade val="67500"/>
                      <a:satMod val="115000"/>
                    </a:srgbClr>
                  </a:gs>
                  <a:gs pos="100000">
                    <a:srgbClr val="808080">
                      <a:shade val="100000"/>
                      <a:satMod val="115000"/>
                    </a:srgbClr>
                  </a:gs>
                </a:gsLst>
                <a:lin ang="0" scaled="1"/>
                <a:tileRect/>
              </a:gra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>
                  <a:solidFill>
                    <a:sysClr val="windowText" lastClr="000000"/>
                  </a:solidFill>
                  <a:latin typeface="+mn-lt"/>
                  <a:cs typeface="+mn-cs"/>
                </a:endParaRPr>
              </a:p>
            </p:txBody>
          </p:sp>
          <p:sp>
            <p:nvSpPr>
              <p:cNvPr id="184" name="Freeform 44"/>
              <p:cNvSpPr>
                <a:spLocks/>
              </p:cNvSpPr>
              <p:nvPr/>
            </p:nvSpPr>
            <p:spPr bwMode="auto">
              <a:xfrm>
                <a:off x="6821964" y="3050266"/>
                <a:ext cx="128987" cy="197739"/>
              </a:xfrm>
              <a:custGeom>
                <a:avLst/>
                <a:gdLst/>
                <a:ahLst/>
                <a:cxnLst>
                  <a:cxn ang="0">
                    <a:pos x="2" y="38"/>
                  </a:cxn>
                  <a:cxn ang="0">
                    <a:pos x="2" y="38"/>
                  </a:cxn>
                  <a:cxn ang="0">
                    <a:pos x="0" y="50"/>
                  </a:cxn>
                  <a:cxn ang="0">
                    <a:pos x="2" y="60"/>
                  </a:cxn>
                  <a:cxn ang="0">
                    <a:pos x="6" y="72"/>
                  </a:cxn>
                  <a:cxn ang="0">
                    <a:pos x="14" y="82"/>
                  </a:cxn>
                  <a:cxn ang="0">
                    <a:pos x="24" y="94"/>
                  </a:cxn>
                  <a:cxn ang="0">
                    <a:pos x="36" y="104"/>
                  </a:cxn>
                  <a:cxn ang="0">
                    <a:pos x="50" y="116"/>
                  </a:cxn>
                  <a:cxn ang="0">
                    <a:pos x="66" y="126"/>
                  </a:cxn>
                  <a:cxn ang="0">
                    <a:pos x="80" y="0"/>
                  </a:cxn>
                  <a:cxn ang="0">
                    <a:pos x="80" y="0"/>
                  </a:cxn>
                  <a:cxn ang="0">
                    <a:pos x="52" y="4"/>
                  </a:cxn>
                  <a:cxn ang="0">
                    <a:pos x="38" y="8"/>
                  </a:cxn>
                  <a:cxn ang="0">
                    <a:pos x="28" y="12"/>
                  </a:cxn>
                  <a:cxn ang="0">
                    <a:pos x="18" y="16"/>
                  </a:cxn>
                  <a:cxn ang="0">
                    <a:pos x="12" y="24"/>
                  </a:cxn>
                  <a:cxn ang="0">
                    <a:pos x="6" y="30"/>
                  </a:cxn>
                  <a:cxn ang="0">
                    <a:pos x="2" y="38"/>
                  </a:cxn>
                  <a:cxn ang="0">
                    <a:pos x="2" y="38"/>
                  </a:cxn>
                </a:cxnLst>
                <a:rect l="0" t="0" r="r" b="b"/>
                <a:pathLst>
                  <a:path w="80" h="126">
                    <a:moveTo>
                      <a:pt x="2" y="38"/>
                    </a:moveTo>
                    <a:lnTo>
                      <a:pt x="2" y="38"/>
                    </a:lnTo>
                    <a:lnTo>
                      <a:pt x="0" y="50"/>
                    </a:lnTo>
                    <a:lnTo>
                      <a:pt x="2" y="60"/>
                    </a:lnTo>
                    <a:lnTo>
                      <a:pt x="6" y="72"/>
                    </a:lnTo>
                    <a:lnTo>
                      <a:pt x="14" y="82"/>
                    </a:lnTo>
                    <a:lnTo>
                      <a:pt x="24" y="94"/>
                    </a:lnTo>
                    <a:lnTo>
                      <a:pt x="36" y="104"/>
                    </a:lnTo>
                    <a:lnTo>
                      <a:pt x="50" y="116"/>
                    </a:lnTo>
                    <a:lnTo>
                      <a:pt x="66" y="126"/>
                    </a:lnTo>
                    <a:lnTo>
                      <a:pt x="80" y="0"/>
                    </a:lnTo>
                    <a:lnTo>
                      <a:pt x="80" y="0"/>
                    </a:lnTo>
                    <a:lnTo>
                      <a:pt x="52" y="4"/>
                    </a:lnTo>
                    <a:lnTo>
                      <a:pt x="38" y="8"/>
                    </a:lnTo>
                    <a:lnTo>
                      <a:pt x="28" y="12"/>
                    </a:lnTo>
                    <a:lnTo>
                      <a:pt x="18" y="16"/>
                    </a:lnTo>
                    <a:lnTo>
                      <a:pt x="12" y="24"/>
                    </a:lnTo>
                    <a:lnTo>
                      <a:pt x="6" y="30"/>
                    </a:lnTo>
                    <a:lnTo>
                      <a:pt x="2" y="38"/>
                    </a:lnTo>
                    <a:lnTo>
                      <a:pt x="2" y="38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FFFFFF"/>
                  </a:gs>
                  <a:gs pos="50000">
                    <a:srgbClr val="808080">
                      <a:shade val="67500"/>
                      <a:satMod val="115000"/>
                    </a:srgbClr>
                  </a:gs>
                  <a:gs pos="100000">
                    <a:srgbClr val="808080">
                      <a:shade val="100000"/>
                      <a:satMod val="115000"/>
                    </a:srgbClr>
                  </a:gs>
                </a:gsLst>
                <a:lin ang="0" scaled="1"/>
                <a:tileRect/>
              </a:gra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>
                  <a:solidFill>
                    <a:sysClr val="windowText" lastClr="000000"/>
                  </a:solidFill>
                  <a:latin typeface="+mn-lt"/>
                  <a:cs typeface="+mn-cs"/>
                </a:endParaRPr>
              </a:p>
            </p:txBody>
          </p:sp>
          <p:sp>
            <p:nvSpPr>
              <p:cNvPr id="185" name="Freeform 12"/>
              <p:cNvSpPr>
                <a:spLocks/>
              </p:cNvSpPr>
              <p:nvPr/>
            </p:nvSpPr>
            <p:spPr bwMode="auto">
              <a:xfrm>
                <a:off x="4669472" y="5204461"/>
                <a:ext cx="990600" cy="218440"/>
              </a:xfrm>
              <a:custGeom>
                <a:avLst/>
                <a:gdLst/>
                <a:ahLst/>
                <a:cxnLst>
                  <a:cxn ang="0">
                    <a:pos x="624" y="42"/>
                  </a:cxn>
                  <a:cxn ang="0">
                    <a:pos x="624" y="42"/>
                  </a:cxn>
                  <a:cxn ang="0">
                    <a:pos x="622" y="46"/>
                  </a:cxn>
                  <a:cxn ang="0">
                    <a:pos x="618" y="50"/>
                  </a:cxn>
                  <a:cxn ang="0">
                    <a:pos x="610" y="56"/>
                  </a:cxn>
                  <a:cxn ang="0">
                    <a:pos x="600" y="60"/>
                  </a:cxn>
                  <a:cxn ang="0">
                    <a:pos x="570" y="66"/>
                  </a:cxn>
                  <a:cxn ang="0">
                    <a:pos x="532" y="72"/>
                  </a:cxn>
                  <a:cxn ang="0">
                    <a:pos x="486" y="78"/>
                  </a:cxn>
                  <a:cxn ang="0">
                    <a:pos x="434" y="82"/>
                  </a:cxn>
                  <a:cxn ang="0">
                    <a:pos x="376" y="84"/>
                  </a:cxn>
                  <a:cxn ang="0">
                    <a:pos x="312" y="86"/>
                  </a:cxn>
                  <a:cxn ang="0">
                    <a:pos x="312" y="86"/>
                  </a:cxn>
                  <a:cxn ang="0">
                    <a:pos x="250" y="84"/>
                  </a:cxn>
                  <a:cxn ang="0">
                    <a:pos x="190" y="82"/>
                  </a:cxn>
                  <a:cxn ang="0">
                    <a:pos x="138" y="78"/>
                  </a:cxn>
                  <a:cxn ang="0">
                    <a:pos x="92" y="72"/>
                  </a:cxn>
                  <a:cxn ang="0">
                    <a:pos x="54" y="66"/>
                  </a:cxn>
                  <a:cxn ang="0">
                    <a:pos x="26" y="60"/>
                  </a:cxn>
                  <a:cxn ang="0">
                    <a:pos x="14" y="56"/>
                  </a:cxn>
                  <a:cxn ang="0">
                    <a:pos x="8" y="50"/>
                  </a:cxn>
                  <a:cxn ang="0">
                    <a:pos x="2" y="46"/>
                  </a:cxn>
                  <a:cxn ang="0">
                    <a:pos x="0" y="42"/>
                  </a:cxn>
                  <a:cxn ang="0">
                    <a:pos x="0" y="42"/>
                  </a:cxn>
                  <a:cxn ang="0">
                    <a:pos x="2" y="38"/>
                  </a:cxn>
                  <a:cxn ang="0">
                    <a:pos x="8" y="34"/>
                  </a:cxn>
                  <a:cxn ang="0">
                    <a:pos x="14" y="30"/>
                  </a:cxn>
                  <a:cxn ang="0">
                    <a:pos x="26" y="26"/>
                  </a:cxn>
                  <a:cxn ang="0">
                    <a:pos x="54" y="18"/>
                  </a:cxn>
                  <a:cxn ang="0">
                    <a:pos x="92" y="12"/>
                  </a:cxn>
                  <a:cxn ang="0">
                    <a:pos x="138" y="6"/>
                  </a:cxn>
                  <a:cxn ang="0">
                    <a:pos x="190" y="2"/>
                  </a:cxn>
                  <a:cxn ang="0">
                    <a:pos x="250" y="0"/>
                  </a:cxn>
                  <a:cxn ang="0">
                    <a:pos x="312" y="0"/>
                  </a:cxn>
                  <a:cxn ang="0">
                    <a:pos x="312" y="0"/>
                  </a:cxn>
                  <a:cxn ang="0">
                    <a:pos x="376" y="0"/>
                  </a:cxn>
                  <a:cxn ang="0">
                    <a:pos x="434" y="2"/>
                  </a:cxn>
                  <a:cxn ang="0">
                    <a:pos x="486" y="6"/>
                  </a:cxn>
                  <a:cxn ang="0">
                    <a:pos x="532" y="12"/>
                  </a:cxn>
                  <a:cxn ang="0">
                    <a:pos x="570" y="18"/>
                  </a:cxn>
                  <a:cxn ang="0">
                    <a:pos x="600" y="26"/>
                  </a:cxn>
                  <a:cxn ang="0">
                    <a:pos x="610" y="30"/>
                  </a:cxn>
                  <a:cxn ang="0">
                    <a:pos x="618" y="34"/>
                  </a:cxn>
                  <a:cxn ang="0">
                    <a:pos x="622" y="38"/>
                  </a:cxn>
                  <a:cxn ang="0">
                    <a:pos x="624" y="42"/>
                  </a:cxn>
                  <a:cxn ang="0">
                    <a:pos x="624" y="42"/>
                  </a:cxn>
                </a:cxnLst>
                <a:rect l="0" t="0" r="r" b="b"/>
                <a:pathLst>
                  <a:path w="624" h="86">
                    <a:moveTo>
                      <a:pt x="624" y="42"/>
                    </a:moveTo>
                    <a:lnTo>
                      <a:pt x="624" y="42"/>
                    </a:lnTo>
                    <a:lnTo>
                      <a:pt x="622" y="46"/>
                    </a:lnTo>
                    <a:lnTo>
                      <a:pt x="618" y="50"/>
                    </a:lnTo>
                    <a:lnTo>
                      <a:pt x="610" y="56"/>
                    </a:lnTo>
                    <a:lnTo>
                      <a:pt x="600" y="60"/>
                    </a:lnTo>
                    <a:lnTo>
                      <a:pt x="570" y="66"/>
                    </a:lnTo>
                    <a:lnTo>
                      <a:pt x="532" y="72"/>
                    </a:lnTo>
                    <a:lnTo>
                      <a:pt x="486" y="78"/>
                    </a:lnTo>
                    <a:lnTo>
                      <a:pt x="434" y="82"/>
                    </a:lnTo>
                    <a:lnTo>
                      <a:pt x="376" y="84"/>
                    </a:lnTo>
                    <a:lnTo>
                      <a:pt x="312" y="86"/>
                    </a:lnTo>
                    <a:lnTo>
                      <a:pt x="312" y="86"/>
                    </a:lnTo>
                    <a:lnTo>
                      <a:pt x="250" y="84"/>
                    </a:lnTo>
                    <a:lnTo>
                      <a:pt x="190" y="82"/>
                    </a:lnTo>
                    <a:lnTo>
                      <a:pt x="138" y="78"/>
                    </a:lnTo>
                    <a:lnTo>
                      <a:pt x="92" y="72"/>
                    </a:lnTo>
                    <a:lnTo>
                      <a:pt x="54" y="66"/>
                    </a:lnTo>
                    <a:lnTo>
                      <a:pt x="26" y="60"/>
                    </a:lnTo>
                    <a:lnTo>
                      <a:pt x="14" y="56"/>
                    </a:lnTo>
                    <a:lnTo>
                      <a:pt x="8" y="50"/>
                    </a:lnTo>
                    <a:lnTo>
                      <a:pt x="2" y="46"/>
                    </a:lnTo>
                    <a:lnTo>
                      <a:pt x="0" y="42"/>
                    </a:lnTo>
                    <a:lnTo>
                      <a:pt x="0" y="42"/>
                    </a:lnTo>
                    <a:lnTo>
                      <a:pt x="2" y="38"/>
                    </a:lnTo>
                    <a:lnTo>
                      <a:pt x="8" y="34"/>
                    </a:lnTo>
                    <a:lnTo>
                      <a:pt x="14" y="30"/>
                    </a:lnTo>
                    <a:lnTo>
                      <a:pt x="26" y="26"/>
                    </a:lnTo>
                    <a:lnTo>
                      <a:pt x="54" y="18"/>
                    </a:lnTo>
                    <a:lnTo>
                      <a:pt x="92" y="12"/>
                    </a:lnTo>
                    <a:lnTo>
                      <a:pt x="138" y="6"/>
                    </a:lnTo>
                    <a:lnTo>
                      <a:pt x="190" y="2"/>
                    </a:lnTo>
                    <a:lnTo>
                      <a:pt x="250" y="0"/>
                    </a:lnTo>
                    <a:lnTo>
                      <a:pt x="312" y="0"/>
                    </a:lnTo>
                    <a:lnTo>
                      <a:pt x="312" y="0"/>
                    </a:lnTo>
                    <a:lnTo>
                      <a:pt x="376" y="0"/>
                    </a:lnTo>
                    <a:lnTo>
                      <a:pt x="434" y="2"/>
                    </a:lnTo>
                    <a:lnTo>
                      <a:pt x="486" y="6"/>
                    </a:lnTo>
                    <a:lnTo>
                      <a:pt x="532" y="12"/>
                    </a:lnTo>
                    <a:lnTo>
                      <a:pt x="570" y="18"/>
                    </a:lnTo>
                    <a:lnTo>
                      <a:pt x="600" y="26"/>
                    </a:lnTo>
                    <a:lnTo>
                      <a:pt x="610" y="30"/>
                    </a:lnTo>
                    <a:lnTo>
                      <a:pt x="618" y="34"/>
                    </a:lnTo>
                    <a:lnTo>
                      <a:pt x="622" y="38"/>
                    </a:lnTo>
                    <a:lnTo>
                      <a:pt x="624" y="42"/>
                    </a:lnTo>
                    <a:lnTo>
                      <a:pt x="624" y="42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E6E6E6">
                      <a:lumMod val="50000"/>
                    </a:srgbClr>
                  </a:gs>
                  <a:gs pos="50000">
                    <a:srgbClr val="D7D8D9">
                      <a:lumMod val="25000"/>
                    </a:srgbClr>
                  </a:gs>
                  <a:gs pos="100000">
                    <a:srgbClr val="E6E6E6">
                      <a:lumMod val="90000"/>
                    </a:srgb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>
                  <a:solidFill>
                    <a:sysClr val="windowText" lastClr="000000"/>
                  </a:solidFill>
                  <a:latin typeface="+mn-lt"/>
                  <a:cs typeface="+mn-cs"/>
                </a:endParaRPr>
              </a:p>
            </p:txBody>
          </p:sp>
          <p:sp>
            <p:nvSpPr>
              <p:cNvPr id="186" name="Freeform 12"/>
              <p:cNvSpPr>
                <a:spLocks/>
              </p:cNvSpPr>
              <p:nvPr/>
            </p:nvSpPr>
            <p:spPr bwMode="auto">
              <a:xfrm>
                <a:off x="4732320" y="5259812"/>
                <a:ext cx="885735" cy="128965"/>
              </a:xfrm>
              <a:custGeom>
                <a:avLst/>
                <a:gdLst>
                  <a:gd name="T0" fmla="*/ 883920 w 624"/>
                  <a:gd name="T1" fmla="*/ 63263 h 86"/>
                  <a:gd name="T2" fmla="*/ 883920 w 624"/>
                  <a:gd name="T3" fmla="*/ 63263 h 86"/>
                  <a:gd name="T4" fmla="*/ 881087 w 624"/>
                  <a:gd name="T5" fmla="*/ 69288 h 86"/>
                  <a:gd name="T6" fmla="*/ 875421 w 624"/>
                  <a:gd name="T7" fmla="*/ 75313 h 86"/>
                  <a:gd name="T8" fmla="*/ 864088 w 624"/>
                  <a:gd name="T9" fmla="*/ 84351 h 86"/>
                  <a:gd name="T10" fmla="*/ 849923 w 624"/>
                  <a:gd name="T11" fmla="*/ 90376 h 86"/>
                  <a:gd name="T12" fmla="*/ 807427 w 624"/>
                  <a:gd name="T13" fmla="*/ 99414 h 86"/>
                  <a:gd name="T14" fmla="*/ 753599 w 624"/>
                  <a:gd name="T15" fmla="*/ 108451 h 86"/>
                  <a:gd name="T16" fmla="*/ 688438 w 624"/>
                  <a:gd name="T17" fmla="*/ 117489 h 86"/>
                  <a:gd name="T18" fmla="*/ 614778 w 624"/>
                  <a:gd name="T19" fmla="*/ 123514 h 86"/>
                  <a:gd name="T20" fmla="*/ 532618 w 624"/>
                  <a:gd name="T21" fmla="*/ 126526 h 86"/>
                  <a:gd name="T22" fmla="*/ 441960 w 624"/>
                  <a:gd name="T23" fmla="*/ 129539 h 86"/>
                  <a:gd name="T24" fmla="*/ 441960 w 624"/>
                  <a:gd name="T25" fmla="*/ 129539 h 86"/>
                  <a:gd name="T26" fmla="*/ 354135 w 624"/>
                  <a:gd name="T27" fmla="*/ 126526 h 86"/>
                  <a:gd name="T28" fmla="*/ 269142 w 624"/>
                  <a:gd name="T29" fmla="*/ 123514 h 86"/>
                  <a:gd name="T30" fmla="*/ 195482 w 624"/>
                  <a:gd name="T31" fmla="*/ 117489 h 86"/>
                  <a:gd name="T32" fmla="*/ 130322 w 624"/>
                  <a:gd name="T33" fmla="*/ 108451 h 86"/>
                  <a:gd name="T34" fmla="*/ 76493 w 624"/>
                  <a:gd name="T35" fmla="*/ 99414 h 86"/>
                  <a:gd name="T36" fmla="*/ 36830 w 624"/>
                  <a:gd name="T37" fmla="*/ 90376 h 86"/>
                  <a:gd name="T38" fmla="*/ 19832 w 624"/>
                  <a:gd name="T39" fmla="*/ 84351 h 86"/>
                  <a:gd name="T40" fmla="*/ 11332 w 624"/>
                  <a:gd name="T41" fmla="*/ 75313 h 86"/>
                  <a:gd name="T42" fmla="*/ 2833 w 624"/>
                  <a:gd name="T43" fmla="*/ 69288 h 86"/>
                  <a:gd name="T44" fmla="*/ 0 w 624"/>
                  <a:gd name="T45" fmla="*/ 63263 h 86"/>
                  <a:gd name="T46" fmla="*/ 0 w 624"/>
                  <a:gd name="T47" fmla="*/ 63263 h 86"/>
                  <a:gd name="T48" fmla="*/ 2833 w 624"/>
                  <a:gd name="T49" fmla="*/ 57238 h 86"/>
                  <a:gd name="T50" fmla="*/ 11332 w 624"/>
                  <a:gd name="T51" fmla="*/ 51213 h 86"/>
                  <a:gd name="T52" fmla="*/ 19832 w 624"/>
                  <a:gd name="T53" fmla="*/ 45188 h 86"/>
                  <a:gd name="T54" fmla="*/ 36830 w 624"/>
                  <a:gd name="T55" fmla="*/ 39163 h 86"/>
                  <a:gd name="T56" fmla="*/ 76493 w 624"/>
                  <a:gd name="T57" fmla="*/ 27113 h 86"/>
                  <a:gd name="T58" fmla="*/ 130322 w 624"/>
                  <a:gd name="T59" fmla="*/ 18075 h 86"/>
                  <a:gd name="T60" fmla="*/ 195482 w 624"/>
                  <a:gd name="T61" fmla="*/ 9038 h 86"/>
                  <a:gd name="T62" fmla="*/ 269142 w 624"/>
                  <a:gd name="T63" fmla="*/ 3013 h 86"/>
                  <a:gd name="T64" fmla="*/ 354135 w 624"/>
                  <a:gd name="T65" fmla="*/ 0 h 86"/>
                  <a:gd name="T66" fmla="*/ 441960 w 624"/>
                  <a:gd name="T67" fmla="*/ 0 h 86"/>
                  <a:gd name="T68" fmla="*/ 441960 w 624"/>
                  <a:gd name="T69" fmla="*/ 0 h 86"/>
                  <a:gd name="T70" fmla="*/ 532618 w 624"/>
                  <a:gd name="T71" fmla="*/ 0 h 86"/>
                  <a:gd name="T72" fmla="*/ 614778 w 624"/>
                  <a:gd name="T73" fmla="*/ 3013 h 86"/>
                  <a:gd name="T74" fmla="*/ 688438 w 624"/>
                  <a:gd name="T75" fmla="*/ 9038 h 86"/>
                  <a:gd name="T76" fmla="*/ 753599 w 624"/>
                  <a:gd name="T77" fmla="*/ 18075 h 86"/>
                  <a:gd name="T78" fmla="*/ 807427 w 624"/>
                  <a:gd name="T79" fmla="*/ 27113 h 86"/>
                  <a:gd name="T80" fmla="*/ 849923 w 624"/>
                  <a:gd name="T81" fmla="*/ 39163 h 86"/>
                  <a:gd name="T82" fmla="*/ 864088 w 624"/>
                  <a:gd name="T83" fmla="*/ 45188 h 86"/>
                  <a:gd name="T84" fmla="*/ 875421 w 624"/>
                  <a:gd name="T85" fmla="*/ 51213 h 86"/>
                  <a:gd name="T86" fmla="*/ 881087 w 624"/>
                  <a:gd name="T87" fmla="*/ 57238 h 86"/>
                  <a:gd name="T88" fmla="*/ 883920 w 624"/>
                  <a:gd name="T89" fmla="*/ 63263 h 86"/>
                  <a:gd name="T90" fmla="*/ 883920 w 624"/>
                  <a:gd name="T91" fmla="*/ 63263 h 8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w 624"/>
                  <a:gd name="T139" fmla="*/ 0 h 86"/>
                  <a:gd name="T140" fmla="*/ 624 w 624"/>
                  <a:gd name="T141" fmla="*/ 86 h 86"/>
                </a:gdLst>
                <a:ahLst/>
                <a:cxnLst>
                  <a:cxn ang="T92">
                    <a:pos x="T0" y="T1"/>
                  </a:cxn>
                  <a:cxn ang="T93">
                    <a:pos x="T2" y="T3"/>
                  </a:cxn>
                  <a:cxn ang="T94">
                    <a:pos x="T4" y="T5"/>
                  </a:cxn>
                  <a:cxn ang="T95">
                    <a:pos x="T6" y="T7"/>
                  </a:cxn>
                  <a:cxn ang="T96">
                    <a:pos x="T8" y="T9"/>
                  </a:cxn>
                  <a:cxn ang="T97">
                    <a:pos x="T10" y="T11"/>
                  </a:cxn>
                  <a:cxn ang="T98">
                    <a:pos x="T12" y="T13"/>
                  </a:cxn>
                  <a:cxn ang="T99">
                    <a:pos x="T14" y="T15"/>
                  </a:cxn>
                  <a:cxn ang="T100">
                    <a:pos x="T16" y="T17"/>
                  </a:cxn>
                  <a:cxn ang="T101">
                    <a:pos x="T18" y="T19"/>
                  </a:cxn>
                  <a:cxn ang="T102">
                    <a:pos x="T20" y="T21"/>
                  </a:cxn>
                  <a:cxn ang="T103">
                    <a:pos x="T22" y="T23"/>
                  </a:cxn>
                  <a:cxn ang="T104">
                    <a:pos x="T24" y="T25"/>
                  </a:cxn>
                  <a:cxn ang="T105">
                    <a:pos x="T26" y="T27"/>
                  </a:cxn>
                  <a:cxn ang="T106">
                    <a:pos x="T28" y="T29"/>
                  </a:cxn>
                  <a:cxn ang="T107">
                    <a:pos x="T30" y="T31"/>
                  </a:cxn>
                  <a:cxn ang="T108">
                    <a:pos x="T32" y="T33"/>
                  </a:cxn>
                  <a:cxn ang="T109">
                    <a:pos x="T34" y="T35"/>
                  </a:cxn>
                  <a:cxn ang="T110">
                    <a:pos x="T36" y="T37"/>
                  </a:cxn>
                  <a:cxn ang="T111">
                    <a:pos x="T38" y="T39"/>
                  </a:cxn>
                  <a:cxn ang="T112">
                    <a:pos x="T40" y="T41"/>
                  </a:cxn>
                  <a:cxn ang="T113">
                    <a:pos x="T42" y="T43"/>
                  </a:cxn>
                  <a:cxn ang="T114">
                    <a:pos x="T44" y="T45"/>
                  </a:cxn>
                  <a:cxn ang="T115">
                    <a:pos x="T46" y="T47"/>
                  </a:cxn>
                  <a:cxn ang="T116">
                    <a:pos x="T48" y="T49"/>
                  </a:cxn>
                  <a:cxn ang="T117">
                    <a:pos x="T50" y="T51"/>
                  </a:cxn>
                  <a:cxn ang="T118">
                    <a:pos x="T52" y="T53"/>
                  </a:cxn>
                  <a:cxn ang="T119">
                    <a:pos x="T54" y="T55"/>
                  </a:cxn>
                  <a:cxn ang="T120">
                    <a:pos x="T56" y="T57"/>
                  </a:cxn>
                  <a:cxn ang="T121">
                    <a:pos x="T58" y="T59"/>
                  </a:cxn>
                  <a:cxn ang="T122">
                    <a:pos x="T60" y="T61"/>
                  </a:cxn>
                  <a:cxn ang="T123">
                    <a:pos x="T62" y="T63"/>
                  </a:cxn>
                  <a:cxn ang="T124">
                    <a:pos x="T64" y="T65"/>
                  </a:cxn>
                  <a:cxn ang="T125">
                    <a:pos x="T66" y="T67"/>
                  </a:cxn>
                  <a:cxn ang="T126">
                    <a:pos x="T68" y="T69"/>
                  </a:cxn>
                  <a:cxn ang="T127">
                    <a:pos x="T70" y="T71"/>
                  </a:cxn>
                  <a:cxn ang="T128">
                    <a:pos x="T72" y="T73"/>
                  </a:cxn>
                  <a:cxn ang="T129">
                    <a:pos x="T74" y="T75"/>
                  </a:cxn>
                  <a:cxn ang="T130">
                    <a:pos x="T76" y="T77"/>
                  </a:cxn>
                  <a:cxn ang="T131">
                    <a:pos x="T78" y="T79"/>
                  </a:cxn>
                  <a:cxn ang="T132">
                    <a:pos x="T80" y="T81"/>
                  </a:cxn>
                  <a:cxn ang="T133">
                    <a:pos x="T82" y="T83"/>
                  </a:cxn>
                  <a:cxn ang="T134">
                    <a:pos x="T84" y="T85"/>
                  </a:cxn>
                  <a:cxn ang="T135">
                    <a:pos x="T86" y="T87"/>
                  </a:cxn>
                  <a:cxn ang="T136">
                    <a:pos x="T88" y="T89"/>
                  </a:cxn>
                  <a:cxn ang="T137">
                    <a:pos x="T90" y="T91"/>
                  </a:cxn>
                </a:cxnLst>
                <a:rect l="T138" t="T139" r="T140" b="T141"/>
                <a:pathLst>
                  <a:path w="624" h="86">
                    <a:moveTo>
                      <a:pt x="624" y="42"/>
                    </a:moveTo>
                    <a:lnTo>
                      <a:pt x="624" y="42"/>
                    </a:lnTo>
                    <a:lnTo>
                      <a:pt x="622" y="46"/>
                    </a:lnTo>
                    <a:lnTo>
                      <a:pt x="618" y="50"/>
                    </a:lnTo>
                    <a:lnTo>
                      <a:pt x="610" y="56"/>
                    </a:lnTo>
                    <a:lnTo>
                      <a:pt x="600" y="60"/>
                    </a:lnTo>
                    <a:lnTo>
                      <a:pt x="570" y="66"/>
                    </a:lnTo>
                    <a:lnTo>
                      <a:pt x="532" y="72"/>
                    </a:lnTo>
                    <a:lnTo>
                      <a:pt x="486" y="78"/>
                    </a:lnTo>
                    <a:lnTo>
                      <a:pt x="434" y="82"/>
                    </a:lnTo>
                    <a:lnTo>
                      <a:pt x="376" y="84"/>
                    </a:lnTo>
                    <a:lnTo>
                      <a:pt x="312" y="86"/>
                    </a:lnTo>
                    <a:lnTo>
                      <a:pt x="250" y="84"/>
                    </a:lnTo>
                    <a:lnTo>
                      <a:pt x="190" y="82"/>
                    </a:lnTo>
                    <a:lnTo>
                      <a:pt x="138" y="78"/>
                    </a:lnTo>
                    <a:lnTo>
                      <a:pt x="92" y="72"/>
                    </a:lnTo>
                    <a:lnTo>
                      <a:pt x="54" y="66"/>
                    </a:lnTo>
                    <a:lnTo>
                      <a:pt x="26" y="60"/>
                    </a:lnTo>
                    <a:lnTo>
                      <a:pt x="14" y="56"/>
                    </a:lnTo>
                    <a:lnTo>
                      <a:pt x="8" y="50"/>
                    </a:lnTo>
                    <a:lnTo>
                      <a:pt x="2" y="46"/>
                    </a:lnTo>
                    <a:lnTo>
                      <a:pt x="0" y="42"/>
                    </a:lnTo>
                    <a:lnTo>
                      <a:pt x="2" y="38"/>
                    </a:lnTo>
                    <a:lnTo>
                      <a:pt x="8" y="34"/>
                    </a:lnTo>
                    <a:lnTo>
                      <a:pt x="14" y="30"/>
                    </a:lnTo>
                    <a:lnTo>
                      <a:pt x="26" y="26"/>
                    </a:lnTo>
                    <a:lnTo>
                      <a:pt x="54" y="18"/>
                    </a:lnTo>
                    <a:lnTo>
                      <a:pt x="92" y="12"/>
                    </a:lnTo>
                    <a:lnTo>
                      <a:pt x="138" y="6"/>
                    </a:lnTo>
                    <a:lnTo>
                      <a:pt x="190" y="2"/>
                    </a:lnTo>
                    <a:lnTo>
                      <a:pt x="250" y="0"/>
                    </a:lnTo>
                    <a:lnTo>
                      <a:pt x="312" y="0"/>
                    </a:lnTo>
                    <a:lnTo>
                      <a:pt x="376" y="0"/>
                    </a:lnTo>
                    <a:lnTo>
                      <a:pt x="434" y="2"/>
                    </a:lnTo>
                    <a:lnTo>
                      <a:pt x="486" y="6"/>
                    </a:lnTo>
                    <a:lnTo>
                      <a:pt x="532" y="12"/>
                    </a:lnTo>
                    <a:lnTo>
                      <a:pt x="570" y="18"/>
                    </a:lnTo>
                    <a:lnTo>
                      <a:pt x="600" y="26"/>
                    </a:lnTo>
                    <a:lnTo>
                      <a:pt x="610" y="30"/>
                    </a:lnTo>
                    <a:lnTo>
                      <a:pt x="618" y="34"/>
                    </a:lnTo>
                    <a:lnTo>
                      <a:pt x="622" y="38"/>
                    </a:lnTo>
                    <a:lnTo>
                      <a:pt x="624" y="42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>
                  <a:solidFill>
                    <a:sysClr val="windowText" lastClr="000000"/>
                  </a:solidFill>
                  <a:latin typeface="+mn-lt"/>
                  <a:cs typeface="+mn-cs"/>
                </a:endParaRPr>
              </a:p>
            </p:txBody>
          </p:sp>
        </p:grpSp>
        <p:sp>
          <p:nvSpPr>
            <p:cNvPr id="161" name="Freeform 57"/>
            <p:cNvSpPr>
              <a:spLocks/>
            </p:cNvSpPr>
            <p:nvPr/>
          </p:nvSpPr>
          <p:spPr bwMode="auto">
            <a:xfrm flipH="1">
              <a:off x="3322767" y="5655480"/>
              <a:ext cx="22864" cy="19046"/>
            </a:xfrm>
            <a:custGeom>
              <a:avLst/>
              <a:gdLst/>
              <a:ahLst/>
              <a:cxnLst>
                <a:cxn ang="0">
                  <a:pos x="42" y="26"/>
                </a:cxn>
                <a:cxn ang="0">
                  <a:pos x="42" y="26"/>
                </a:cxn>
                <a:cxn ang="0">
                  <a:pos x="56" y="16"/>
                </a:cxn>
                <a:cxn ang="0">
                  <a:pos x="74" y="10"/>
                </a:cxn>
                <a:cxn ang="0">
                  <a:pos x="92" y="4"/>
                </a:cxn>
                <a:cxn ang="0">
                  <a:pos x="112" y="0"/>
                </a:cxn>
                <a:cxn ang="0">
                  <a:pos x="112" y="0"/>
                </a:cxn>
                <a:cxn ang="0">
                  <a:pos x="128" y="2"/>
                </a:cxn>
                <a:cxn ang="0">
                  <a:pos x="142" y="4"/>
                </a:cxn>
                <a:cxn ang="0">
                  <a:pos x="142" y="4"/>
                </a:cxn>
                <a:cxn ang="0">
                  <a:pos x="156" y="8"/>
                </a:cxn>
                <a:cxn ang="0">
                  <a:pos x="164" y="10"/>
                </a:cxn>
                <a:cxn ang="0">
                  <a:pos x="168" y="14"/>
                </a:cxn>
                <a:cxn ang="0">
                  <a:pos x="168" y="14"/>
                </a:cxn>
                <a:cxn ang="0">
                  <a:pos x="168" y="16"/>
                </a:cxn>
                <a:cxn ang="0">
                  <a:pos x="166" y="16"/>
                </a:cxn>
                <a:cxn ang="0">
                  <a:pos x="158" y="20"/>
                </a:cxn>
                <a:cxn ang="0">
                  <a:pos x="142" y="24"/>
                </a:cxn>
                <a:cxn ang="0">
                  <a:pos x="142" y="24"/>
                </a:cxn>
                <a:cxn ang="0">
                  <a:pos x="120" y="32"/>
                </a:cxn>
                <a:cxn ang="0">
                  <a:pos x="102" y="42"/>
                </a:cxn>
                <a:cxn ang="0">
                  <a:pos x="84" y="52"/>
                </a:cxn>
                <a:cxn ang="0">
                  <a:pos x="70" y="66"/>
                </a:cxn>
                <a:cxn ang="0">
                  <a:pos x="70" y="66"/>
                </a:cxn>
                <a:cxn ang="0">
                  <a:pos x="52" y="84"/>
                </a:cxn>
                <a:cxn ang="0">
                  <a:pos x="40" y="102"/>
                </a:cxn>
                <a:cxn ang="0">
                  <a:pos x="40" y="102"/>
                </a:cxn>
                <a:cxn ang="0">
                  <a:pos x="26" y="140"/>
                </a:cxn>
                <a:cxn ang="0">
                  <a:pos x="26" y="140"/>
                </a:cxn>
                <a:cxn ang="0">
                  <a:pos x="18" y="138"/>
                </a:cxn>
                <a:cxn ang="0">
                  <a:pos x="14" y="134"/>
                </a:cxn>
                <a:cxn ang="0">
                  <a:pos x="8" y="130"/>
                </a:cxn>
                <a:cxn ang="0">
                  <a:pos x="6" y="122"/>
                </a:cxn>
                <a:cxn ang="0">
                  <a:pos x="2" y="108"/>
                </a:cxn>
                <a:cxn ang="0">
                  <a:pos x="0" y="94"/>
                </a:cxn>
                <a:cxn ang="0">
                  <a:pos x="0" y="94"/>
                </a:cxn>
                <a:cxn ang="0">
                  <a:pos x="2" y="86"/>
                </a:cxn>
                <a:cxn ang="0">
                  <a:pos x="4" y="76"/>
                </a:cxn>
                <a:cxn ang="0">
                  <a:pos x="14" y="58"/>
                </a:cxn>
                <a:cxn ang="0">
                  <a:pos x="28" y="42"/>
                </a:cxn>
                <a:cxn ang="0">
                  <a:pos x="42" y="26"/>
                </a:cxn>
                <a:cxn ang="0">
                  <a:pos x="42" y="26"/>
                </a:cxn>
              </a:cxnLst>
              <a:rect l="0" t="0" r="r" b="b"/>
              <a:pathLst>
                <a:path w="168" h="140">
                  <a:moveTo>
                    <a:pt x="42" y="26"/>
                  </a:moveTo>
                  <a:lnTo>
                    <a:pt x="42" y="26"/>
                  </a:lnTo>
                  <a:lnTo>
                    <a:pt x="56" y="16"/>
                  </a:lnTo>
                  <a:lnTo>
                    <a:pt x="74" y="10"/>
                  </a:lnTo>
                  <a:lnTo>
                    <a:pt x="92" y="4"/>
                  </a:lnTo>
                  <a:lnTo>
                    <a:pt x="112" y="0"/>
                  </a:lnTo>
                  <a:lnTo>
                    <a:pt x="112" y="0"/>
                  </a:lnTo>
                  <a:lnTo>
                    <a:pt x="128" y="2"/>
                  </a:lnTo>
                  <a:lnTo>
                    <a:pt x="142" y="4"/>
                  </a:lnTo>
                  <a:lnTo>
                    <a:pt x="142" y="4"/>
                  </a:lnTo>
                  <a:lnTo>
                    <a:pt x="156" y="8"/>
                  </a:lnTo>
                  <a:lnTo>
                    <a:pt x="164" y="10"/>
                  </a:lnTo>
                  <a:lnTo>
                    <a:pt x="168" y="14"/>
                  </a:lnTo>
                  <a:lnTo>
                    <a:pt x="168" y="14"/>
                  </a:lnTo>
                  <a:lnTo>
                    <a:pt x="168" y="16"/>
                  </a:lnTo>
                  <a:lnTo>
                    <a:pt x="166" y="16"/>
                  </a:lnTo>
                  <a:lnTo>
                    <a:pt x="158" y="20"/>
                  </a:lnTo>
                  <a:lnTo>
                    <a:pt x="142" y="24"/>
                  </a:lnTo>
                  <a:lnTo>
                    <a:pt x="142" y="24"/>
                  </a:lnTo>
                  <a:lnTo>
                    <a:pt x="120" y="32"/>
                  </a:lnTo>
                  <a:lnTo>
                    <a:pt x="102" y="42"/>
                  </a:lnTo>
                  <a:lnTo>
                    <a:pt x="84" y="52"/>
                  </a:lnTo>
                  <a:lnTo>
                    <a:pt x="70" y="66"/>
                  </a:lnTo>
                  <a:lnTo>
                    <a:pt x="70" y="66"/>
                  </a:lnTo>
                  <a:lnTo>
                    <a:pt x="52" y="84"/>
                  </a:lnTo>
                  <a:lnTo>
                    <a:pt x="40" y="102"/>
                  </a:lnTo>
                  <a:lnTo>
                    <a:pt x="40" y="102"/>
                  </a:lnTo>
                  <a:lnTo>
                    <a:pt x="26" y="140"/>
                  </a:lnTo>
                  <a:lnTo>
                    <a:pt x="26" y="140"/>
                  </a:lnTo>
                  <a:lnTo>
                    <a:pt x="18" y="138"/>
                  </a:lnTo>
                  <a:lnTo>
                    <a:pt x="14" y="134"/>
                  </a:lnTo>
                  <a:lnTo>
                    <a:pt x="8" y="130"/>
                  </a:lnTo>
                  <a:lnTo>
                    <a:pt x="6" y="122"/>
                  </a:lnTo>
                  <a:lnTo>
                    <a:pt x="2" y="108"/>
                  </a:lnTo>
                  <a:lnTo>
                    <a:pt x="0" y="94"/>
                  </a:lnTo>
                  <a:lnTo>
                    <a:pt x="0" y="94"/>
                  </a:lnTo>
                  <a:lnTo>
                    <a:pt x="2" y="86"/>
                  </a:lnTo>
                  <a:lnTo>
                    <a:pt x="4" y="76"/>
                  </a:lnTo>
                  <a:lnTo>
                    <a:pt x="14" y="58"/>
                  </a:lnTo>
                  <a:lnTo>
                    <a:pt x="28" y="42"/>
                  </a:lnTo>
                  <a:lnTo>
                    <a:pt x="42" y="26"/>
                  </a:lnTo>
                  <a:lnTo>
                    <a:pt x="42" y="26"/>
                  </a:lnTo>
                  <a:close/>
                </a:path>
              </a:pathLst>
            </a:custGeom>
            <a:gradFill flip="none" rotWithShape="1">
              <a:gsLst>
                <a:gs pos="45000">
                  <a:srgbClr val="FFFFFF">
                    <a:lumMod val="40000"/>
                    <a:lumOff val="60000"/>
                    <a:alpha val="0"/>
                  </a:srgbClr>
                </a:gs>
                <a:gs pos="100000">
                  <a:srgbClr val="FFFCF9">
                    <a:alpha val="75000"/>
                  </a:srgbClr>
                </a:gs>
              </a:gsLst>
              <a:lin ang="18900000" scaled="1"/>
              <a:tileRect/>
            </a:gradFill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marL="342900" indent="-342900" algn="ctr" fontAlgn="auto">
                <a:spcBef>
                  <a:spcPts val="0"/>
                </a:spcBef>
                <a:spcAft>
                  <a:spcPts val="0"/>
                </a:spcAft>
                <a:buFont typeface="+mj-lt"/>
                <a:buAutoNum type="arabicPeriod"/>
                <a:defRPr/>
              </a:pPr>
              <a:endParaRPr lang="da-DK" kern="0" dirty="0">
                <a:solidFill>
                  <a:sysClr val="window" lastClr="FFFFFF"/>
                </a:solidFill>
                <a:latin typeface="Calibri"/>
                <a:cs typeface="+mn-cs"/>
              </a:endParaRPr>
            </a:p>
          </p:txBody>
        </p:sp>
        <p:sp>
          <p:nvSpPr>
            <p:cNvPr id="162" name="Freeform 57"/>
            <p:cNvSpPr>
              <a:spLocks/>
            </p:cNvSpPr>
            <p:nvPr/>
          </p:nvSpPr>
          <p:spPr bwMode="auto">
            <a:xfrm flipH="1">
              <a:off x="3282071" y="5649933"/>
              <a:ext cx="22864" cy="19046"/>
            </a:xfrm>
            <a:custGeom>
              <a:avLst/>
              <a:gdLst/>
              <a:ahLst/>
              <a:cxnLst>
                <a:cxn ang="0">
                  <a:pos x="42" y="26"/>
                </a:cxn>
                <a:cxn ang="0">
                  <a:pos x="42" y="26"/>
                </a:cxn>
                <a:cxn ang="0">
                  <a:pos x="56" y="16"/>
                </a:cxn>
                <a:cxn ang="0">
                  <a:pos x="74" y="10"/>
                </a:cxn>
                <a:cxn ang="0">
                  <a:pos x="92" y="4"/>
                </a:cxn>
                <a:cxn ang="0">
                  <a:pos x="112" y="0"/>
                </a:cxn>
                <a:cxn ang="0">
                  <a:pos x="112" y="0"/>
                </a:cxn>
                <a:cxn ang="0">
                  <a:pos x="128" y="2"/>
                </a:cxn>
                <a:cxn ang="0">
                  <a:pos x="142" y="4"/>
                </a:cxn>
                <a:cxn ang="0">
                  <a:pos x="142" y="4"/>
                </a:cxn>
                <a:cxn ang="0">
                  <a:pos x="156" y="8"/>
                </a:cxn>
                <a:cxn ang="0">
                  <a:pos x="164" y="10"/>
                </a:cxn>
                <a:cxn ang="0">
                  <a:pos x="168" y="14"/>
                </a:cxn>
                <a:cxn ang="0">
                  <a:pos x="168" y="14"/>
                </a:cxn>
                <a:cxn ang="0">
                  <a:pos x="168" y="16"/>
                </a:cxn>
                <a:cxn ang="0">
                  <a:pos x="166" y="16"/>
                </a:cxn>
                <a:cxn ang="0">
                  <a:pos x="158" y="20"/>
                </a:cxn>
                <a:cxn ang="0">
                  <a:pos x="142" y="24"/>
                </a:cxn>
                <a:cxn ang="0">
                  <a:pos x="142" y="24"/>
                </a:cxn>
                <a:cxn ang="0">
                  <a:pos x="120" y="32"/>
                </a:cxn>
                <a:cxn ang="0">
                  <a:pos x="102" y="42"/>
                </a:cxn>
                <a:cxn ang="0">
                  <a:pos x="84" y="52"/>
                </a:cxn>
                <a:cxn ang="0">
                  <a:pos x="70" y="66"/>
                </a:cxn>
                <a:cxn ang="0">
                  <a:pos x="70" y="66"/>
                </a:cxn>
                <a:cxn ang="0">
                  <a:pos x="52" y="84"/>
                </a:cxn>
                <a:cxn ang="0">
                  <a:pos x="40" y="102"/>
                </a:cxn>
                <a:cxn ang="0">
                  <a:pos x="40" y="102"/>
                </a:cxn>
                <a:cxn ang="0">
                  <a:pos x="26" y="140"/>
                </a:cxn>
                <a:cxn ang="0">
                  <a:pos x="26" y="140"/>
                </a:cxn>
                <a:cxn ang="0">
                  <a:pos x="18" y="138"/>
                </a:cxn>
                <a:cxn ang="0">
                  <a:pos x="14" y="134"/>
                </a:cxn>
                <a:cxn ang="0">
                  <a:pos x="8" y="130"/>
                </a:cxn>
                <a:cxn ang="0">
                  <a:pos x="6" y="122"/>
                </a:cxn>
                <a:cxn ang="0">
                  <a:pos x="2" y="108"/>
                </a:cxn>
                <a:cxn ang="0">
                  <a:pos x="0" y="94"/>
                </a:cxn>
                <a:cxn ang="0">
                  <a:pos x="0" y="94"/>
                </a:cxn>
                <a:cxn ang="0">
                  <a:pos x="2" y="86"/>
                </a:cxn>
                <a:cxn ang="0">
                  <a:pos x="4" y="76"/>
                </a:cxn>
                <a:cxn ang="0">
                  <a:pos x="14" y="58"/>
                </a:cxn>
                <a:cxn ang="0">
                  <a:pos x="28" y="42"/>
                </a:cxn>
                <a:cxn ang="0">
                  <a:pos x="42" y="26"/>
                </a:cxn>
                <a:cxn ang="0">
                  <a:pos x="42" y="26"/>
                </a:cxn>
              </a:cxnLst>
              <a:rect l="0" t="0" r="r" b="b"/>
              <a:pathLst>
                <a:path w="168" h="140">
                  <a:moveTo>
                    <a:pt x="42" y="26"/>
                  </a:moveTo>
                  <a:lnTo>
                    <a:pt x="42" y="26"/>
                  </a:lnTo>
                  <a:lnTo>
                    <a:pt x="56" y="16"/>
                  </a:lnTo>
                  <a:lnTo>
                    <a:pt x="74" y="10"/>
                  </a:lnTo>
                  <a:lnTo>
                    <a:pt x="92" y="4"/>
                  </a:lnTo>
                  <a:lnTo>
                    <a:pt x="112" y="0"/>
                  </a:lnTo>
                  <a:lnTo>
                    <a:pt x="112" y="0"/>
                  </a:lnTo>
                  <a:lnTo>
                    <a:pt x="128" y="2"/>
                  </a:lnTo>
                  <a:lnTo>
                    <a:pt x="142" y="4"/>
                  </a:lnTo>
                  <a:lnTo>
                    <a:pt x="142" y="4"/>
                  </a:lnTo>
                  <a:lnTo>
                    <a:pt x="156" y="8"/>
                  </a:lnTo>
                  <a:lnTo>
                    <a:pt x="164" y="10"/>
                  </a:lnTo>
                  <a:lnTo>
                    <a:pt x="168" y="14"/>
                  </a:lnTo>
                  <a:lnTo>
                    <a:pt x="168" y="14"/>
                  </a:lnTo>
                  <a:lnTo>
                    <a:pt x="168" y="16"/>
                  </a:lnTo>
                  <a:lnTo>
                    <a:pt x="166" y="16"/>
                  </a:lnTo>
                  <a:lnTo>
                    <a:pt x="158" y="20"/>
                  </a:lnTo>
                  <a:lnTo>
                    <a:pt x="142" y="24"/>
                  </a:lnTo>
                  <a:lnTo>
                    <a:pt x="142" y="24"/>
                  </a:lnTo>
                  <a:lnTo>
                    <a:pt x="120" y="32"/>
                  </a:lnTo>
                  <a:lnTo>
                    <a:pt x="102" y="42"/>
                  </a:lnTo>
                  <a:lnTo>
                    <a:pt x="84" y="52"/>
                  </a:lnTo>
                  <a:lnTo>
                    <a:pt x="70" y="66"/>
                  </a:lnTo>
                  <a:lnTo>
                    <a:pt x="70" y="66"/>
                  </a:lnTo>
                  <a:lnTo>
                    <a:pt x="52" y="84"/>
                  </a:lnTo>
                  <a:lnTo>
                    <a:pt x="40" y="102"/>
                  </a:lnTo>
                  <a:lnTo>
                    <a:pt x="40" y="102"/>
                  </a:lnTo>
                  <a:lnTo>
                    <a:pt x="26" y="140"/>
                  </a:lnTo>
                  <a:lnTo>
                    <a:pt x="26" y="140"/>
                  </a:lnTo>
                  <a:lnTo>
                    <a:pt x="18" y="138"/>
                  </a:lnTo>
                  <a:lnTo>
                    <a:pt x="14" y="134"/>
                  </a:lnTo>
                  <a:lnTo>
                    <a:pt x="8" y="130"/>
                  </a:lnTo>
                  <a:lnTo>
                    <a:pt x="6" y="122"/>
                  </a:lnTo>
                  <a:lnTo>
                    <a:pt x="2" y="108"/>
                  </a:lnTo>
                  <a:lnTo>
                    <a:pt x="0" y="94"/>
                  </a:lnTo>
                  <a:lnTo>
                    <a:pt x="0" y="94"/>
                  </a:lnTo>
                  <a:lnTo>
                    <a:pt x="2" y="86"/>
                  </a:lnTo>
                  <a:lnTo>
                    <a:pt x="4" y="76"/>
                  </a:lnTo>
                  <a:lnTo>
                    <a:pt x="14" y="58"/>
                  </a:lnTo>
                  <a:lnTo>
                    <a:pt x="28" y="42"/>
                  </a:lnTo>
                  <a:lnTo>
                    <a:pt x="42" y="26"/>
                  </a:lnTo>
                  <a:lnTo>
                    <a:pt x="42" y="26"/>
                  </a:lnTo>
                  <a:close/>
                </a:path>
              </a:pathLst>
            </a:custGeom>
            <a:gradFill flip="none" rotWithShape="1">
              <a:gsLst>
                <a:gs pos="45000">
                  <a:srgbClr val="FFFFFF">
                    <a:lumMod val="40000"/>
                    <a:lumOff val="60000"/>
                    <a:alpha val="0"/>
                  </a:srgbClr>
                </a:gs>
                <a:gs pos="100000">
                  <a:srgbClr val="FFFCF9">
                    <a:alpha val="75000"/>
                  </a:srgbClr>
                </a:gs>
              </a:gsLst>
              <a:lin ang="18900000" scaled="1"/>
              <a:tileRect/>
            </a:gradFill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marL="342900" indent="-342900" algn="ctr" fontAlgn="auto">
                <a:spcBef>
                  <a:spcPts val="0"/>
                </a:spcBef>
                <a:spcAft>
                  <a:spcPts val="0"/>
                </a:spcAft>
                <a:buFont typeface="+mj-lt"/>
                <a:buAutoNum type="arabicPeriod"/>
                <a:defRPr/>
              </a:pPr>
              <a:endParaRPr lang="da-DK" kern="0" dirty="0">
                <a:solidFill>
                  <a:sysClr val="window" lastClr="FFFFFF"/>
                </a:solidFill>
                <a:latin typeface="Calibri"/>
                <a:cs typeface="+mn-cs"/>
              </a:endParaRPr>
            </a:p>
          </p:txBody>
        </p:sp>
        <p:sp>
          <p:nvSpPr>
            <p:cNvPr id="163" name="Cylinder 287"/>
            <p:cNvSpPr/>
            <p:nvPr/>
          </p:nvSpPr>
          <p:spPr bwMode="auto">
            <a:xfrm rot="10800000" flipH="1">
              <a:off x="3127045" y="5547371"/>
              <a:ext cx="107222" cy="277696"/>
            </a:xfrm>
            <a:prstGeom prst="can">
              <a:avLst/>
            </a:prstGeom>
            <a:gradFill flip="none" rotWithShape="1">
              <a:gsLst>
                <a:gs pos="0">
                  <a:srgbClr val="74F4FF"/>
                </a:gs>
                <a:gs pos="100000">
                  <a:srgbClr val="208ECD"/>
                </a:gs>
              </a:gsLst>
              <a:lin ang="16200000" scaled="1"/>
              <a:tileRect/>
            </a:gradFill>
            <a:ln w="9525" cap="flat" cmpd="sng" algn="ctr">
              <a:noFill/>
              <a:prstDash val="solid"/>
            </a:ln>
            <a:effectLst>
              <a:innerShdw blurRad="190500" dist="114300" dir="5640000">
                <a:srgbClr val="000000">
                  <a:alpha val="37000"/>
                </a:srgbClr>
              </a:innerShdw>
            </a:effectLst>
          </p:spPr>
          <p:txBody>
            <a:bodyPr anchor="ctr"/>
            <a:lstStyle/>
            <a:p>
              <a:pPr marL="342900" indent="-342900" algn="ctr" fontAlgn="auto">
                <a:spcBef>
                  <a:spcPts val="0"/>
                </a:spcBef>
                <a:spcAft>
                  <a:spcPts val="0"/>
                </a:spcAft>
                <a:buFont typeface="+mj-lt"/>
                <a:buAutoNum type="arabicPeriod"/>
                <a:defRPr/>
              </a:pPr>
              <a:endParaRPr lang="da-DK" kern="0" dirty="0">
                <a:solidFill>
                  <a:sysClr val="window" lastClr="FFFFFF"/>
                </a:solidFill>
                <a:latin typeface="Calibri"/>
                <a:cs typeface="+mn-cs"/>
              </a:endParaRPr>
            </a:p>
          </p:txBody>
        </p:sp>
        <p:grpSp>
          <p:nvGrpSpPr>
            <p:cNvPr id="164" name="Gruppe 91"/>
            <p:cNvGrpSpPr>
              <a:grpSpLocks/>
            </p:cNvGrpSpPr>
            <p:nvPr/>
          </p:nvGrpSpPr>
          <p:grpSpPr bwMode="auto">
            <a:xfrm flipH="1">
              <a:off x="2963892" y="5655077"/>
              <a:ext cx="490505" cy="251482"/>
              <a:chOff x="4141788" y="4983471"/>
              <a:chExt cx="2525695" cy="1295398"/>
            </a:xfrm>
          </p:grpSpPr>
          <p:sp>
            <p:nvSpPr>
              <p:cNvPr id="165" name="Freeform 58"/>
              <p:cNvSpPr>
                <a:spLocks/>
              </p:cNvSpPr>
              <p:nvPr/>
            </p:nvSpPr>
            <p:spPr bwMode="auto">
              <a:xfrm>
                <a:off x="4279889" y="4983471"/>
                <a:ext cx="2387594" cy="1295398"/>
              </a:xfrm>
              <a:custGeom>
                <a:avLst/>
                <a:gdLst/>
                <a:ahLst/>
                <a:cxnLst>
                  <a:cxn ang="0">
                    <a:pos x="938" y="2624"/>
                  </a:cxn>
                  <a:cxn ang="0">
                    <a:pos x="426" y="1362"/>
                  </a:cxn>
                  <a:cxn ang="0">
                    <a:pos x="134" y="796"/>
                  </a:cxn>
                  <a:cxn ang="0">
                    <a:pos x="2" y="490"/>
                  </a:cxn>
                  <a:cxn ang="0">
                    <a:pos x="108" y="404"/>
                  </a:cxn>
                  <a:cxn ang="0">
                    <a:pos x="262" y="510"/>
                  </a:cxn>
                  <a:cxn ang="0">
                    <a:pos x="400" y="788"/>
                  </a:cxn>
                  <a:cxn ang="0">
                    <a:pos x="574" y="1034"/>
                  </a:cxn>
                  <a:cxn ang="0">
                    <a:pos x="788" y="1312"/>
                  </a:cxn>
                  <a:cxn ang="0">
                    <a:pos x="1018" y="1390"/>
                  </a:cxn>
                  <a:cxn ang="0">
                    <a:pos x="1174" y="1188"/>
                  </a:cxn>
                  <a:cxn ang="0">
                    <a:pos x="1176" y="916"/>
                  </a:cxn>
                  <a:cxn ang="0">
                    <a:pos x="1290" y="462"/>
                  </a:cxn>
                  <a:cxn ang="0">
                    <a:pos x="1192" y="354"/>
                  </a:cxn>
                  <a:cxn ang="0">
                    <a:pos x="1146" y="166"/>
                  </a:cxn>
                  <a:cxn ang="0">
                    <a:pos x="1242" y="12"/>
                  </a:cxn>
                  <a:cxn ang="0">
                    <a:pos x="1396" y="20"/>
                  </a:cxn>
                  <a:cxn ang="0">
                    <a:pos x="1478" y="260"/>
                  </a:cxn>
                  <a:cxn ang="0">
                    <a:pos x="1522" y="484"/>
                  </a:cxn>
                  <a:cxn ang="0">
                    <a:pos x="1840" y="674"/>
                  </a:cxn>
                  <a:cxn ang="0">
                    <a:pos x="1958" y="860"/>
                  </a:cxn>
                  <a:cxn ang="0">
                    <a:pos x="2072" y="812"/>
                  </a:cxn>
                  <a:cxn ang="0">
                    <a:pos x="2266" y="422"/>
                  </a:cxn>
                  <a:cxn ang="0">
                    <a:pos x="2374" y="390"/>
                  </a:cxn>
                  <a:cxn ang="0">
                    <a:pos x="2546" y="646"/>
                  </a:cxn>
                  <a:cxn ang="0">
                    <a:pos x="2794" y="1176"/>
                  </a:cxn>
                  <a:cxn ang="0">
                    <a:pos x="2970" y="1282"/>
                  </a:cxn>
                  <a:cxn ang="0">
                    <a:pos x="3178" y="1132"/>
                  </a:cxn>
                  <a:cxn ang="0">
                    <a:pos x="3334" y="948"/>
                  </a:cxn>
                  <a:cxn ang="0">
                    <a:pos x="3362" y="594"/>
                  </a:cxn>
                  <a:cxn ang="0">
                    <a:pos x="3548" y="576"/>
                  </a:cxn>
                  <a:cxn ang="0">
                    <a:pos x="3564" y="760"/>
                  </a:cxn>
                  <a:cxn ang="0">
                    <a:pos x="3570" y="1086"/>
                  </a:cxn>
                  <a:cxn ang="0">
                    <a:pos x="3580" y="1326"/>
                  </a:cxn>
                  <a:cxn ang="0">
                    <a:pos x="3680" y="1670"/>
                  </a:cxn>
                  <a:cxn ang="0">
                    <a:pos x="3818" y="1678"/>
                  </a:cxn>
                  <a:cxn ang="0">
                    <a:pos x="3972" y="1288"/>
                  </a:cxn>
                  <a:cxn ang="0">
                    <a:pos x="4152" y="786"/>
                  </a:cxn>
                  <a:cxn ang="0">
                    <a:pos x="4272" y="476"/>
                  </a:cxn>
                  <a:cxn ang="0">
                    <a:pos x="4352" y="350"/>
                  </a:cxn>
                  <a:cxn ang="0">
                    <a:pos x="4446" y="414"/>
                  </a:cxn>
                  <a:cxn ang="0">
                    <a:pos x="4430" y="708"/>
                  </a:cxn>
                  <a:cxn ang="0">
                    <a:pos x="4386" y="846"/>
                  </a:cxn>
                  <a:cxn ang="0">
                    <a:pos x="4458" y="966"/>
                  </a:cxn>
                  <a:cxn ang="0">
                    <a:pos x="4584" y="906"/>
                  </a:cxn>
                  <a:cxn ang="0">
                    <a:pos x="4850" y="384"/>
                  </a:cxn>
                  <a:cxn ang="0">
                    <a:pos x="5006" y="256"/>
                  </a:cxn>
                  <a:cxn ang="0">
                    <a:pos x="5104" y="406"/>
                  </a:cxn>
                  <a:cxn ang="0">
                    <a:pos x="5176" y="732"/>
                  </a:cxn>
                  <a:cxn ang="0">
                    <a:pos x="5412" y="676"/>
                  </a:cxn>
                  <a:cxn ang="0">
                    <a:pos x="5728" y="394"/>
                  </a:cxn>
                  <a:cxn ang="0">
                    <a:pos x="5866" y="414"/>
                  </a:cxn>
                  <a:cxn ang="0">
                    <a:pos x="5778" y="646"/>
                  </a:cxn>
                  <a:cxn ang="0">
                    <a:pos x="5374" y="1184"/>
                  </a:cxn>
                  <a:cxn ang="0">
                    <a:pos x="4986" y="1952"/>
                  </a:cxn>
                  <a:cxn ang="0">
                    <a:pos x="4798" y="2604"/>
                  </a:cxn>
                  <a:cxn ang="0">
                    <a:pos x="3234" y="2760"/>
                  </a:cxn>
                  <a:cxn ang="0">
                    <a:pos x="1684" y="2748"/>
                  </a:cxn>
                </a:cxnLst>
                <a:rect l="0" t="0" r="r" b="b"/>
                <a:pathLst>
                  <a:path w="5888" h="2780">
                    <a:moveTo>
                      <a:pt x="1006" y="2640"/>
                    </a:moveTo>
                    <a:lnTo>
                      <a:pt x="1006" y="2640"/>
                    </a:lnTo>
                    <a:lnTo>
                      <a:pt x="996" y="2642"/>
                    </a:lnTo>
                    <a:lnTo>
                      <a:pt x="986" y="2644"/>
                    </a:lnTo>
                    <a:lnTo>
                      <a:pt x="972" y="2644"/>
                    </a:lnTo>
                    <a:lnTo>
                      <a:pt x="960" y="2642"/>
                    </a:lnTo>
                    <a:lnTo>
                      <a:pt x="948" y="2636"/>
                    </a:lnTo>
                    <a:lnTo>
                      <a:pt x="944" y="2634"/>
                    </a:lnTo>
                    <a:lnTo>
                      <a:pt x="940" y="2630"/>
                    </a:lnTo>
                    <a:lnTo>
                      <a:pt x="938" y="2624"/>
                    </a:lnTo>
                    <a:lnTo>
                      <a:pt x="936" y="2618"/>
                    </a:lnTo>
                    <a:lnTo>
                      <a:pt x="936" y="2618"/>
                    </a:lnTo>
                    <a:lnTo>
                      <a:pt x="926" y="2588"/>
                    </a:lnTo>
                    <a:lnTo>
                      <a:pt x="904" y="2526"/>
                    </a:lnTo>
                    <a:lnTo>
                      <a:pt x="820" y="2324"/>
                    </a:lnTo>
                    <a:lnTo>
                      <a:pt x="698" y="2032"/>
                    </a:lnTo>
                    <a:lnTo>
                      <a:pt x="548" y="1676"/>
                    </a:lnTo>
                    <a:lnTo>
                      <a:pt x="548" y="1676"/>
                    </a:lnTo>
                    <a:lnTo>
                      <a:pt x="512" y="1580"/>
                    </a:lnTo>
                    <a:lnTo>
                      <a:pt x="426" y="1362"/>
                    </a:lnTo>
                    <a:lnTo>
                      <a:pt x="376" y="1238"/>
                    </a:lnTo>
                    <a:lnTo>
                      <a:pt x="328" y="1122"/>
                    </a:lnTo>
                    <a:lnTo>
                      <a:pt x="286" y="1024"/>
                    </a:lnTo>
                    <a:lnTo>
                      <a:pt x="268" y="988"/>
                    </a:lnTo>
                    <a:lnTo>
                      <a:pt x="254" y="962"/>
                    </a:lnTo>
                    <a:lnTo>
                      <a:pt x="254" y="962"/>
                    </a:lnTo>
                    <a:lnTo>
                      <a:pt x="238" y="938"/>
                    </a:lnTo>
                    <a:lnTo>
                      <a:pt x="216" y="908"/>
                    </a:lnTo>
                    <a:lnTo>
                      <a:pt x="164" y="836"/>
                    </a:lnTo>
                    <a:lnTo>
                      <a:pt x="134" y="796"/>
                    </a:lnTo>
                    <a:lnTo>
                      <a:pt x="106" y="754"/>
                    </a:lnTo>
                    <a:lnTo>
                      <a:pt x="78" y="710"/>
                    </a:lnTo>
                    <a:lnTo>
                      <a:pt x="52" y="666"/>
                    </a:lnTo>
                    <a:lnTo>
                      <a:pt x="30" y="624"/>
                    </a:lnTo>
                    <a:lnTo>
                      <a:pt x="14" y="582"/>
                    </a:lnTo>
                    <a:lnTo>
                      <a:pt x="8" y="562"/>
                    </a:lnTo>
                    <a:lnTo>
                      <a:pt x="4" y="542"/>
                    </a:lnTo>
                    <a:lnTo>
                      <a:pt x="0" y="524"/>
                    </a:lnTo>
                    <a:lnTo>
                      <a:pt x="0" y="506"/>
                    </a:lnTo>
                    <a:lnTo>
                      <a:pt x="2" y="490"/>
                    </a:lnTo>
                    <a:lnTo>
                      <a:pt x="6" y="474"/>
                    </a:lnTo>
                    <a:lnTo>
                      <a:pt x="12" y="460"/>
                    </a:lnTo>
                    <a:lnTo>
                      <a:pt x="22" y="448"/>
                    </a:lnTo>
                    <a:lnTo>
                      <a:pt x="32" y="436"/>
                    </a:lnTo>
                    <a:lnTo>
                      <a:pt x="48" y="426"/>
                    </a:lnTo>
                    <a:lnTo>
                      <a:pt x="66" y="418"/>
                    </a:lnTo>
                    <a:lnTo>
                      <a:pt x="88" y="410"/>
                    </a:lnTo>
                    <a:lnTo>
                      <a:pt x="88" y="410"/>
                    </a:lnTo>
                    <a:lnTo>
                      <a:pt x="92" y="408"/>
                    </a:lnTo>
                    <a:lnTo>
                      <a:pt x="108" y="404"/>
                    </a:lnTo>
                    <a:lnTo>
                      <a:pt x="118" y="404"/>
                    </a:lnTo>
                    <a:lnTo>
                      <a:pt x="130" y="404"/>
                    </a:lnTo>
                    <a:lnTo>
                      <a:pt x="144" y="406"/>
                    </a:lnTo>
                    <a:lnTo>
                      <a:pt x="160" y="410"/>
                    </a:lnTo>
                    <a:lnTo>
                      <a:pt x="176" y="416"/>
                    </a:lnTo>
                    <a:lnTo>
                      <a:pt x="192" y="426"/>
                    </a:lnTo>
                    <a:lnTo>
                      <a:pt x="210" y="440"/>
                    </a:lnTo>
                    <a:lnTo>
                      <a:pt x="228" y="458"/>
                    </a:lnTo>
                    <a:lnTo>
                      <a:pt x="246" y="482"/>
                    </a:lnTo>
                    <a:lnTo>
                      <a:pt x="262" y="510"/>
                    </a:lnTo>
                    <a:lnTo>
                      <a:pt x="280" y="544"/>
                    </a:lnTo>
                    <a:lnTo>
                      <a:pt x="296" y="586"/>
                    </a:lnTo>
                    <a:lnTo>
                      <a:pt x="296" y="586"/>
                    </a:lnTo>
                    <a:lnTo>
                      <a:pt x="314" y="628"/>
                    </a:lnTo>
                    <a:lnTo>
                      <a:pt x="328" y="664"/>
                    </a:lnTo>
                    <a:lnTo>
                      <a:pt x="344" y="696"/>
                    </a:lnTo>
                    <a:lnTo>
                      <a:pt x="360" y="724"/>
                    </a:lnTo>
                    <a:lnTo>
                      <a:pt x="374" y="748"/>
                    </a:lnTo>
                    <a:lnTo>
                      <a:pt x="388" y="770"/>
                    </a:lnTo>
                    <a:lnTo>
                      <a:pt x="400" y="788"/>
                    </a:lnTo>
                    <a:lnTo>
                      <a:pt x="414" y="802"/>
                    </a:lnTo>
                    <a:lnTo>
                      <a:pt x="436" y="824"/>
                    </a:lnTo>
                    <a:lnTo>
                      <a:pt x="456" y="840"/>
                    </a:lnTo>
                    <a:lnTo>
                      <a:pt x="474" y="852"/>
                    </a:lnTo>
                    <a:lnTo>
                      <a:pt x="486" y="862"/>
                    </a:lnTo>
                    <a:lnTo>
                      <a:pt x="486" y="862"/>
                    </a:lnTo>
                    <a:lnTo>
                      <a:pt x="498" y="878"/>
                    </a:lnTo>
                    <a:lnTo>
                      <a:pt x="510" y="900"/>
                    </a:lnTo>
                    <a:lnTo>
                      <a:pt x="540" y="962"/>
                    </a:lnTo>
                    <a:lnTo>
                      <a:pt x="574" y="1034"/>
                    </a:lnTo>
                    <a:lnTo>
                      <a:pt x="592" y="1074"/>
                    </a:lnTo>
                    <a:lnTo>
                      <a:pt x="612" y="1110"/>
                    </a:lnTo>
                    <a:lnTo>
                      <a:pt x="612" y="1110"/>
                    </a:lnTo>
                    <a:lnTo>
                      <a:pt x="624" y="1130"/>
                    </a:lnTo>
                    <a:lnTo>
                      <a:pt x="642" y="1156"/>
                    </a:lnTo>
                    <a:lnTo>
                      <a:pt x="664" y="1186"/>
                    </a:lnTo>
                    <a:lnTo>
                      <a:pt x="690" y="1218"/>
                    </a:lnTo>
                    <a:lnTo>
                      <a:pt x="720" y="1250"/>
                    </a:lnTo>
                    <a:lnTo>
                      <a:pt x="754" y="1282"/>
                    </a:lnTo>
                    <a:lnTo>
                      <a:pt x="788" y="1312"/>
                    </a:lnTo>
                    <a:lnTo>
                      <a:pt x="826" y="1340"/>
                    </a:lnTo>
                    <a:lnTo>
                      <a:pt x="864" y="1364"/>
                    </a:lnTo>
                    <a:lnTo>
                      <a:pt x="884" y="1374"/>
                    </a:lnTo>
                    <a:lnTo>
                      <a:pt x="902" y="1382"/>
                    </a:lnTo>
                    <a:lnTo>
                      <a:pt x="922" y="1388"/>
                    </a:lnTo>
                    <a:lnTo>
                      <a:pt x="942" y="1394"/>
                    </a:lnTo>
                    <a:lnTo>
                      <a:pt x="962" y="1396"/>
                    </a:lnTo>
                    <a:lnTo>
                      <a:pt x="980" y="1396"/>
                    </a:lnTo>
                    <a:lnTo>
                      <a:pt x="1000" y="1394"/>
                    </a:lnTo>
                    <a:lnTo>
                      <a:pt x="1018" y="1390"/>
                    </a:lnTo>
                    <a:lnTo>
                      <a:pt x="1036" y="1384"/>
                    </a:lnTo>
                    <a:lnTo>
                      <a:pt x="1054" y="1374"/>
                    </a:lnTo>
                    <a:lnTo>
                      <a:pt x="1070" y="1360"/>
                    </a:lnTo>
                    <a:lnTo>
                      <a:pt x="1088" y="1344"/>
                    </a:lnTo>
                    <a:lnTo>
                      <a:pt x="1104" y="1326"/>
                    </a:lnTo>
                    <a:lnTo>
                      <a:pt x="1118" y="1302"/>
                    </a:lnTo>
                    <a:lnTo>
                      <a:pt x="1118" y="1302"/>
                    </a:lnTo>
                    <a:lnTo>
                      <a:pt x="1144" y="1258"/>
                    </a:lnTo>
                    <a:lnTo>
                      <a:pt x="1162" y="1220"/>
                    </a:lnTo>
                    <a:lnTo>
                      <a:pt x="1174" y="1188"/>
                    </a:lnTo>
                    <a:lnTo>
                      <a:pt x="1180" y="1162"/>
                    </a:lnTo>
                    <a:lnTo>
                      <a:pt x="1182" y="1138"/>
                    </a:lnTo>
                    <a:lnTo>
                      <a:pt x="1182" y="1118"/>
                    </a:lnTo>
                    <a:lnTo>
                      <a:pt x="1180" y="1098"/>
                    </a:lnTo>
                    <a:lnTo>
                      <a:pt x="1176" y="1076"/>
                    </a:lnTo>
                    <a:lnTo>
                      <a:pt x="1172" y="1054"/>
                    </a:lnTo>
                    <a:lnTo>
                      <a:pt x="1168" y="1028"/>
                    </a:lnTo>
                    <a:lnTo>
                      <a:pt x="1168" y="996"/>
                    </a:lnTo>
                    <a:lnTo>
                      <a:pt x="1170" y="960"/>
                    </a:lnTo>
                    <a:lnTo>
                      <a:pt x="1176" y="916"/>
                    </a:lnTo>
                    <a:lnTo>
                      <a:pt x="1188" y="862"/>
                    </a:lnTo>
                    <a:lnTo>
                      <a:pt x="1206" y="800"/>
                    </a:lnTo>
                    <a:lnTo>
                      <a:pt x="1232" y="726"/>
                    </a:lnTo>
                    <a:lnTo>
                      <a:pt x="1232" y="726"/>
                    </a:lnTo>
                    <a:lnTo>
                      <a:pt x="1258" y="652"/>
                    </a:lnTo>
                    <a:lnTo>
                      <a:pt x="1276" y="590"/>
                    </a:lnTo>
                    <a:lnTo>
                      <a:pt x="1286" y="538"/>
                    </a:lnTo>
                    <a:lnTo>
                      <a:pt x="1292" y="496"/>
                    </a:lnTo>
                    <a:lnTo>
                      <a:pt x="1292" y="478"/>
                    </a:lnTo>
                    <a:lnTo>
                      <a:pt x="1290" y="462"/>
                    </a:lnTo>
                    <a:lnTo>
                      <a:pt x="1290" y="448"/>
                    </a:lnTo>
                    <a:lnTo>
                      <a:pt x="1286" y="434"/>
                    </a:lnTo>
                    <a:lnTo>
                      <a:pt x="1282" y="424"/>
                    </a:lnTo>
                    <a:lnTo>
                      <a:pt x="1278" y="414"/>
                    </a:lnTo>
                    <a:lnTo>
                      <a:pt x="1272" y="406"/>
                    </a:lnTo>
                    <a:lnTo>
                      <a:pt x="1266" y="398"/>
                    </a:lnTo>
                    <a:lnTo>
                      <a:pt x="1252" y="386"/>
                    </a:lnTo>
                    <a:lnTo>
                      <a:pt x="1238" y="378"/>
                    </a:lnTo>
                    <a:lnTo>
                      <a:pt x="1206" y="362"/>
                    </a:lnTo>
                    <a:lnTo>
                      <a:pt x="1192" y="354"/>
                    </a:lnTo>
                    <a:lnTo>
                      <a:pt x="1180" y="344"/>
                    </a:lnTo>
                    <a:lnTo>
                      <a:pt x="1170" y="332"/>
                    </a:lnTo>
                    <a:lnTo>
                      <a:pt x="1166" y="324"/>
                    </a:lnTo>
                    <a:lnTo>
                      <a:pt x="1162" y="314"/>
                    </a:lnTo>
                    <a:lnTo>
                      <a:pt x="1162" y="314"/>
                    </a:lnTo>
                    <a:lnTo>
                      <a:pt x="1152" y="270"/>
                    </a:lnTo>
                    <a:lnTo>
                      <a:pt x="1150" y="246"/>
                    </a:lnTo>
                    <a:lnTo>
                      <a:pt x="1146" y="220"/>
                    </a:lnTo>
                    <a:lnTo>
                      <a:pt x="1146" y="194"/>
                    </a:lnTo>
                    <a:lnTo>
                      <a:pt x="1146" y="166"/>
                    </a:lnTo>
                    <a:lnTo>
                      <a:pt x="1148" y="140"/>
                    </a:lnTo>
                    <a:lnTo>
                      <a:pt x="1154" y="114"/>
                    </a:lnTo>
                    <a:lnTo>
                      <a:pt x="1162" y="90"/>
                    </a:lnTo>
                    <a:lnTo>
                      <a:pt x="1172" y="68"/>
                    </a:lnTo>
                    <a:lnTo>
                      <a:pt x="1188" y="48"/>
                    </a:lnTo>
                    <a:lnTo>
                      <a:pt x="1196" y="38"/>
                    </a:lnTo>
                    <a:lnTo>
                      <a:pt x="1206" y="30"/>
                    </a:lnTo>
                    <a:lnTo>
                      <a:pt x="1218" y="24"/>
                    </a:lnTo>
                    <a:lnTo>
                      <a:pt x="1230" y="16"/>
                    </a:lnTo>
                    <a:lnTo>
                      <a:pt x="1242" y="12"/>
                    </a:lnTo>
                    <a:lnTo>
                      <a:pt x="1258" y="6"/>
                    </a:lnTo>
                    <a:lnTo>
                      <a:pt x="1274" y="4"/>
                    </a:lnTo>
                    <a:lnTo>
                      <a:pt x="1290" y="0"/>
                    </a:lnTo>
                    <a:lnTo>
                      <a:pt x="1308" y="0"/>
                    </a:lnTo>
                    <a:lnTo>
                      <a:pt x="1328" y="0"/>
                    </a:lnTo>
                    <a:lnTo>
                      <a:pt x="1328" y="0"/>
                    </a:lnTo>
                    <a:lnTo>
                      <a:pt x="1348" y="2"/>
                    </a:lnTo>
                    <a:lnTo>
                      <a:pt x="1366" y="6"/>
                    </a:lnTo>
                    <a:lnTo>
                      <a:pt x="1382" y="12"/>
                    </a:lnTo>
                    <a:lnTo>
                      <a:pt x="1396" y="20"/>
                    </a:lnTo>
                    <a:lnTo>
                      <a:pt x="1408" y="30"/>
                    </a:lnTo>
                    <a:lnTo>
                      <a:pt x="1420" y="42"/>
                    </a:lnTo>
                    <a:lnTo>
                      <a:pt x="1430" y="54"/>
                    </a:lnTo>
                    <a:lnTo>
                      <a:pt x="1440" y="70"/>
                    </a:lnTo>
                    <a:lnTo>
                      <a:pt x="1446" y="84"/>
                    </a:lnTo>
                    <a:lnTo>
                      <a:pt x="1454" y="102"/>
                    </a:lnTo>
                    <a:lnTo>
                      <a:pt x="1464" y="138"/>
                    </a:lnTo>
                    <a:lnTo>
                      <a:pt x="1470" y="178"/>
                    </a:lnTo>
                    <a:lnTo>
                      <a:pt x="1474" y="218"/>
                    </a:lnTo>
                    <a:lnTo>
                      <a:pt x="1478" y="260"/>
                    </a:lnTo>
                    <a:lnTo>
                      <a:pt x="1478" y="300"/>
                    </a:lnTo>
                    <a:lnTo>
                      <a:pt x="1482" y="376"/>
                    </a:lnTo>
                    <a:lnTo>
                      <a:pt x="1484" y="408"/>
                    </a:lnTo>
                    <a:lnTo>
                      <a:pt x="1490" y="436"/>
                    </a:lnTo>
                    <a:lnTo>
                      <a:pt x="1492" y="448"/>
                    </a:lnTo>
                    <a:lnTo>
                      <a:pt x="1496" y="458"/>
                    </a:lnTo>
                    <a:lnTo>
                      <a:pt x="1502" y="468"/>
                    </a:lnTo>
                    <a:lnTo>
                      <a:pt x="1506" y="474"/>
                    </a:lnTo>
                    <a:lnTo>
                      <a:pt x="1506" y="474"/>
                    </a:lnTo>
                    <a:lnTo>
                      <a:pt x="1522" y="484"/>
                    </a:lnTo>
                    <a:lnTo>
                      <a:pt x="1538" y="496"/>
                    </a:lnTo>
                    <a:lnTo>
                      <a:pt x="1582" y="518"/>
                    </a:lnTo>
                    <a:lnTo>
                      <a:pt x="1634" y="540"/>
                    </a:lnTo>
                    <a:lnTo>
                      <a:pt x="1690" y="566"/>
                    </a:lnTo>
                    <a:lnTo>
                      <a:pt x="1718" y="580"/>
                    </a:lnTo>
                    <a:lnTo>
                      <a:pt x="1746" y="596"/>
                    </a:lnTo>
                    <a:lnTo>
                      <a:pt x="1772" y="614"/>
                    </a:lnTo>
                    <a:lnTo>
                      <a:pt x="1796" y="632"/>
                    </a:lnTo>
                    <a:lnTo>
                      <a:pt x="1820" y="652"/>
                    </a:lnTo>
                    <a:lnTo>
                      <a:pt x="1840" y="674"/>
                    </a:lnTo>
                    <a:lnTo>
                      <a:pt x="1856" y="698"/>
                    </a:lnTo>
                    <a:lnTo>
                      <a:pt x="1870" y="726"/>
                    </a:lnTo>
                    <a:lnTo>
                      <a:pt x="1870" y="726"/>
                    </a:lnTo>
                    <a:lnTo>
                      <a:pt x="1882" y="752"/>
                    </a:lnTo>
                    <a:lnTo>
                      <a:pt x="1894" y="776"/>
                    </a:lnTo>
                    <a:lnTo>
                      <a:pt x="1906" y="798"/>
                    </a:lnTo>
                    <a:lnTo>
                      <a:pt x="1918" y="818"/>
                    </a:lnTo>
                    <a:lnTo>
                      <a:pt x="1932" y="834"/>
                    </a:lnTo>
                    <a:lnTo>
                      <a:pt x="1944" y="848"/>
                    </a:lnTo>
                    <a:lnTo>
                      <a:pt x="1958" y="860"/>
                    </a:lnTo>
                    <a:lnTo>
                      <a:pt x="1970" y="868"/>
                    </a:lnTo>
                    <a:lnTo>
                      <a:pt x="1984" y="872"/>
                    </a:lnTo>
                    <a:lnTo>
                      <a:pt x="1996" y="874"/>
                    </a:lnTo>
                    <a:lnTo>
                      <a:pt x="2010" y="872"/>
                    </a:lnTo>
                    <a:lnTo>
                      <a:pt x="2022" y="868"/>
                    </a:lnTo>
                    <a:lnTo>
                      <a:pt x="2036" y="860"/>
                    </a:lnTo>
                    <a:lnTo>
                      <a:pt x="2048" y="848"/>
                    </a:lnTo>
                    <a:lnTo>
                      <a:pt x="2060" y="832"/>
                    </a:lnTo>
                    <a:lnTo>
                      <a:pt x="2072" y="812"/>
                    </a:lnTo>
                    <a:lnTo>
                      <a:pt x="2072" y="812"/>
                    </a:lnTo>
                    <a:lnTo>
                      <a:pt x="2084" y="790"/>
                    </a:lnTo>
                    <a:lnTo>
                      <a:pt x="2096" y="760"/>
                    </a:lnTo>
                    <a:lnTo>
                      <a:pt x="2124" y="694"/>
                    </a:lnTo>
                    <a:lnTo>
                      <a:pt x="2154" y="618"/>
                    </a:lnTo>
                    <a:lnTo>
                      <a:pt x="2170" y="582"/>
                    </a:lnTo>
                    <a:lnTo>
                      <a:pt x="2188" y="544"/>
                    </a:lnTo>
                    <a:lnTo>
                      <a:pt x="2206" y="508"/>
                    </a:lnTo>
                    <a:lnTo>
                      <a:pt x="2226" y="476"/>
                    </a:lnTo>
                    <a:lnTo>
                      <a:pt x="2246" y="448"/>
                    </a:lnTo>
                    <a:lnTo>
                      <a:pt x="2266" y="422"/>
                    </a:lnTo>
                    <a:lnTo>
                      <a:pt x="2278" y="412"/>
                    </a:lnTo>
                    <a:lnTo>
                      <a:pt x="2288" y="404"/>
                    </a:lnTo>
                    <a:lnTo>
                      <a:pt x="2300" y="396"/>
                    </a:lnTo>
                    <a:lnTo>
                      <a:pt x="2312" y="390"/>
                    </a:lnTo>
                    <a:lnTo>
                      <a:pt x="2324" y="386"/>
                    </a:lnTo>
                    <a:lnTo>
                      <a:pt x="2336" y="384"/>
                    </a:lnTo>
                    <a:lnTo>
                      <a:pt x="2348" y="384"/>
                    </a:lnTo>
                    <a:lnTo>
                      <a:pt x="2362" y="386"/>
                    </a:lnTo>
                    <a:lnTo>
                      <a:pt x="2362" y="386"/>
                    </a:lnTo>
                    <a:lnTo>
                      <a:pt x="2374" y="390"/>
                    </a:lnTo>
                    <a:lnTo>
                      <a:pt x="2386" y="394"/>
                    </a:lnTo>
                    <a:lnTo>
                      <a:pt x="2398" y="402"/>
                    </a:lnTo>
                    <a:lnTo>
                      <a:pt x="2410" y="408"/>
                    </a:lnTo>
                    <a:lnTo>
                      <a:pt x="2430" y="428"/>
                    </a:lnTo>
                    <a:lnTo>
                      <a:pt x="2450" y="450"/>
                    </a:lnTo>
                    <a:lnTo>
                      <a:pt x="2470" y="476"/>
                    </a:lnTo>
                    <a:lnTo>
                      <a:pt x="2486" y="504"/>
                    </a:lnTo>
                    <a:lnTo>
                      <a:pt x="2502" y="536"/>
                    </a:lnTo>
                    <a:lnTo>
                      <a:pt x="2518" y="572"/>
                    </a:lnTo>
                    <a:lnTo>
                      <a:pt x="2546" y="646"/>
                    </a:lnTo>
                    <a:lnTo>
                      <a:pt x="2574" y="724"/>
                    </a:lnTo>
                    <a:lnTo>
                      <a:pt x="2602" y="802"/>
                    </a:lnTo>
                    <a:lnTo>
                      <a:pt x="2630" y="878"/>
                    </a:lnTo>
                    <a:lnTo>
                      <a:pt x="2630" y="878"/>
                    </a:lnTo>
                    <a:lnTo>
                      <a:pt x="2666" y="960"/>
                    </a:lnTo>
                    <a:lnTo>
                      <a:pt x="2686" y="1004"/>
                    </a:lnTo>
                    <a:lnTo>
                      <a:pt x="2710" y="1050"/>
                    </a:lnTo>
                    <a:lnTo>
                      <a:pt x="2736" y="1094"/>
                    </a:lnTo>
                    <a:lnTo>
                      <a:pt x="2764" y="1136"/>
                    </a:lnTo>
                    <a:lnTo>
                      <a:pt x="2794" y="1176"/>
                    </a:lnTo>
                    <a:lnTo>
                      <a:pt x="2808" y="1194"/>
                    </a:lnTo>
                    <a:lnTo>
                      <a:pt x="2826" y="1212"/>
                    </a:lnTo>
                    <a:lnTo>
                      <a:pt x="2842" y="1226"/>
                    </a:lnTo>
                    <a:lnTo>
                      <a:pt x="2858" y="1240"/>
                    </a:lnTo>
                    <a:lnTo>
                      <a:pt x="2876" y="1252"/>
                    </a:lnTo>
                    <a:lnTo>
                      <a:pt x="2894" y="1264"/>
                    </a:lnTo>
                    <a:lnTo>
                      <a:pt x="2912" y="1272"/>
                    </a:lnTo>
                    <a:lnTo>
                      <a:pt x="2932" y="1278"/>
                    </a:lnTo>
                    <a:lnTo>
                      <a:pt x="2950" y="1282"/>
                    </a:lnTo>
                    <a:lnTo>
                      <a:pt x="2970" y="1282"/>
                    </a:lnTo>
                    <a:lnTo>
                      <a:pt x="2990" y="1280"/>
                    </a:lnTo>
                    <a:lnTo>
                      <a:pt x="3010" y="1276"/>
                    </a:lnTo>
                    <a:lnTo>
                      <a:pt x="3030" y="1268"/>
                    </a:lnTo>
                    <a:lnTo>
                      <a:pt x="3052" y="1258"/>
                    </a:lnTo>
                    <a:lnTo>
                      <a:pt x="3072" y="1244"/>
                    </a:lnTo>
                    <a:lnTo>
                      <a:pt x="3094" y="1226"/>
                    </a:lnTo>
                    <a:lnTo>
                      <a:pt x="3116" y="1206"/>
                    </a:lnTo>
                    <a:lnTo>
                      <a:pt x="3138" y="1180"/>
                    </a:lnTo>
                    <a:lnTo>
                      <a:pt x="3138" y="1180"/>
                    </a:lnTo>
                    <a:lnTo>
                      <a:pt x="3178" y="1132"/>
                    </a:lnTo>
                    <a:lnTo>
                      <a:pt x="3214" y="1092"/>
                    </a:lnTo>
                    <a:lnTo>
                      <a:pt x="3244" y="1062"/>
                    </a:lnTo>
                    <a:lnTo>
                      <a:pt x="3270" y="1040"/>
                    </a:lnTo>
                    <a:lnTo>
                      <a:pt x="3306" y="1010"/>
                    </a:lnTo>
                    <a:lnTo>
                      <a:pt x="3318" y="1000"/>
                    </a:lnTo>
                    <a:lnTo>
                      <a:pt x="3326" y="992"/>
                    </a:lnTo>
                    <a:lnTo>
                      <a:pt x="3332" y="984"/>
                    </a:lnTo>
                    <a:lnTo>
                      <a:pt x="3334" y="974"/>
                    </a:lnTo>
                    <a:lnTo>
                      <a:pt x="3336" y="962"/>
                    </a:lnTo>
                    <a:lnTo>
                      <a:pt x="3334" y="948"/>
                    </a:lnTo>
                    <a:lnTo>
                      <a:pt x="3324" y="900"/>
                    </a:lnTo>
                    <a:lnTo>
                      <a:pt x="3312" y="822"/>
                    </a:lnTo>
                    <a:lnTo>
                      <a:pt x="3312" y="822"/>
                    </a:lnTo>
                    <a:lnTo>
                      <a:pt x="3308" y="776"/>
                    </a:lnTo>
                    <a:lnTo>
                      <a:pt x="3308" y="734"/>
                    </a:lnTo>
                    <a:lnTo>
                      <a:pt x="3314" y="696"/>
                    </a:lnTo>
                    <a:lnTo>
                      <a:pt x="3322" y="664"/>
                    </a:lnTo>
                    <a:lnTo>
                      <a:pt x="3332" y="636"/>
                    </a:lnTo>
                    <a:lnTo>
                      <a:pt x="3346" y="612"/>
                    </a:lnTo>
                    <a:lnTo>
                      <a:pt x="3362" y="594"/>
                    </a:lnTo>
                    <a:lnTo>
                      <a:pt x="3382" y="578"/>
                    </a:lnTo>
                    <a:lnTo>
                      <a:pt x="3402" y="566"/>
                    </a:lnTo>
                    <a:lnTo>
                      <a:pt x="3422" y="558"/>
                    </a:lnTo>
                    <a:lnTo>
                      <a:pt x="3444" y="554"/>
                    </a:lnTo>
                    <a:lnTo>
                      <a:pt x="3466" y="552"/>
                    </a:lnTo>
                    <a:lnTo>
                      <a:pt x="3488" y="554"/>
                    </a:lnTo>
                    <a:lnTo>
                      <a:pt x="3510" y="560"/>
                    </a:lnTo>
                    <a:lnTo>
                      <a:pt x="3530" y="566"/>
                    </a:lnTo>
                    <a:lnTo>
                      <a:pt x="3548" y="576"/>
                    </a:lnTo>
                    <a:lnTo>
                      <a:pt x="3548" y="576"/>
                    </a:lnTo>
                    <a:lnTo>
                      <a:pt x="3556" y="584"/>
                    </a:lnTo>
                    <a:lnTo>
                      <a:pt x="3564" y="590"/>
                    </a:lnTo>
                    <a:lnTo>
                      <a:pt x="3570" y="598"/>
                    </a:lnTo>
                    <a:lnTo>
                      <a:pt x="3574" y="606"/>
                    </a:lnTo>
                    <a:lnTo>
                      <a:pt x="3578" y="616"/>
                    </a:lnTo>
                    <a:lnTo>
                      <a:pt x="3580" y="626"/>
                    </a:lnTo>
                    <a:lnTo>
                      <a:pt x="3582" y="650"/>
                    </a:lnTo>
                    <a:lnTo>
                      <a:pt x="3580" y="674"/>
                    </a:lnTo>
                    <a:lnTo>
                      <a:pt x="3576" y="700"/>
                    </a:lnTo>
                    <a:lnTo>
                      <a:pt x="3564" y="760"/>
                    </a:lnTo>
                    <a:lnTo>
                      <a:pt x="3548" y="822"/>
                    </a:lnTo>
                    <a:lnTo>
                      <a:pt x="3542" y="852"/>
                    </a:lnTo>
                    <a:lnTo>
                      <a:pt x="3536" y="884"/>
                    </a:lnTo>
                    <a:lnTo>
                      <a:pt x="3532" y="916"/>
                    </a:lnTo>
                    <a:lnTo>
                      <a:pt x="3530" y="946"/>
                    </a:lnTo>
                    <a:lnTo>
                      <a:pt x="3534" y="974"/>
                    </a:lnTo>
                    <a:lnTo>
                      <a:pt x="3540" y="1002"/>
                    </a:lnTo>
                    <a:lnTo>
                      <a:pt x="3540" y="1002"/>
                    </a:lnTo>
                    <a:lnTo>
                      <a:pt x="3556" y="1050"/>
                    </a:lnTo>
                    <a:lnTo>
                      <a:pt x="3570" y="1086"/>
                    </a:lnTo>
                    <a:lnTo>
                      <a:pt x="3582" y="1116"/>
                    </a:lnTo>
                    <a:lnTo>
                      <a:pt x="3592" y="1142"/>
                    </a:lnTo>
                    <a:lnTo>
                      <a:pt x="3596" y="1170"/>
                    </a:lnTo>
                    <a:lnTo>
                      <a:pt x="3598" y="1186"/>
                    </a:lnTo>
                    <a:lnTo>
                      <a:pt x="3598" y="1202"/>
                    </a:lnTo>
                    <a:lnTo>
                      <a:pt x="3594" y="1242"/>
                    </a:lnTo>
                    <a:lnTo>
                      <a:pt x="3584" y="1294"/>
                    </a:lnTo>
                    <a:lnTo>
                      <a:pt x="3584" y="1294"/>
                    </a:lnTo>
                    <a:lnTo>
                      <a:pt x="3580" y="1310"/>
                    </a:lnTo>
                    <a:lnTo>
                      <a:pt x="3580" y="1326"/>
                    </a:lnTo>
                    <a:lnTo>
                      <a:pt x="3580" y="1366"/>
                    </a:lnTo>
                    <a:lnTo>
                      <a:pt x="3584" y="1410"/>
                    </a:lnTo>
                    <a:lnTo>
                      <a:pt x="3592" y="1458"/>
                    </a:lnTo>
                    <a:lnTo>
                      <a:pt x="3604" y="1506"/>
                    </a:lnTo>
                    <a:lnTo>
                      <a:pt x="3618" y="1552"/>
                    </a:lnTo>
                    <a:lnTo>
                      <a:pt x="3636" y="1598"/>
                    </a:lnTo>
                    <a:lnTo>
                      <a:pt x="3646" y="1618"/>
                    </a:lnTo>
                    <a:lnTo>
                      <a:pt x="3656" y="1636"/>
                    </a:lnTo>
                    <a:lnTo>
                      <a:pt x="3668" y="1654"/>
                    </a:lnTo>
                    <a:lnTo>
                      <a:pt x="3680" y="1670"/>
                    </a:lnTo>
                    <a:lnTo>
                      <a:pt x="3692" y="1684"/>
                    </a:lnTo>
                    <a:lnTo>
                      <a:pt x="3704" y="1696"/>
                    </a:lnTo>
                    <a:lnTo>
                      <a:pt x="3718" y="1704"/>
                    </a:lnTo>
                    <a:lnTo>
                      <a:pt x="3732" y="1710"/>
                    </a:lnTo>
                    <a:lnTo>
                      <a:pt x="3746" y="1714"/>
                    </a:lnTo>
                    <a:lnTo>
                      <a:pt x="3760" y="1714"/>
                    </a:lnTo>
                    <a:lnTo>
                      <a:pt x="3774" y="1710"/>
                    </a:lnTo>
                    <a:lnTo>
                      <a:pt x="3788" y="1704"/>
                    </a:lnTo>
                    <a:lnTo>
                      <a:pt x="3804" y="1694"/>
                    </a:lnTo>
                    <a:lnTo>
                      <a:pt x="3818" y="1678"/>
                    </a:lnTo>
                    <a:lnTo>
                      <a:pt x="3834" y="1660"/>
                    </a:lnTo>
                    <a:lnTo>
                      <a:pt x="3850" y="1636"/>
                    </a:lnTo>
                    <a:lnTo>
                      <a:pt x="3866" y="1606"/>
                    </a:lnTo>
                    <a:lnTo>
                      <a:pt x="3880" y="1574"/>
                    </a:lnTo>
                    <a:lnTo>
                      <a:pt x="3880" y="1574"/>
                    </a:lnTo>
                    <a:lnTo>
                      <a:pt x="3908" y="1504"/>
                    </a:lnTo>
                    <a:lnTo>
                      <a:pt x="3930" y="1442"/>
                    </a:lnTo>
                    <a:lnTo>
                      <a:pt x="3948" y="1386"/>
                    </a:lnTo>
                    <a:lnTo>
                      <a:pt x="3962" y="1334"/>
                    </a:lnTo>
                    <a:lnTo>
                      <a:pt x="3972" y="1288"/>
                    </a:lnTo>
                    <a:lnTo>
                      <a:pt x="3980" y="1244"/>
                    </a:lnTo>
                    <a:lnTo>
                      <a:pt x="3994" y="1160"/>
                    </a:lnTo>
                    <a:lnTo>
                      <a:pt x="4000" y="1120"/>
                    </a:lnTo>
                    <a:lnTo>
                      <a:pt x="4010" y="1080"/>
                    </a:lnTo>
                    <a:lnTo>
                      <a:pt x="4022" y="1038"/>
                    </a:lnTo>
                    <a:lnTo>
                      <a:pt x="4036" y="996"/>
                    </a:lnTo>
                    <a:lnTo>
                      <a:pt x="4056" y="950"/>
                    </a:lnTo>
                    <a:lnTo>
                      <a:pt x="4082" y="900"/>
                    </a:lnTo>
                    <a:lnTo>
                      <a:pt x="4114" y="846"/>
                    </a:lnTo>
                    <a:lnTo>
                      <a:pt x="4152" y="786"/>
                    </a:lnTo>
                    <a:lnTo>
                      <a:pt x="4152" y="786"/>
                    </a:lnTo>
                    <a:lnTo>
                      <a:pt x="4190" y="728"/>
                    </a:lnTo>
                    <a:lnTo>
                      <a:pt x="4220" y="680"/>
                    </a:lnTo>
                    <a:lnTo>
                      <a:pt x="4240" y="636"/>
                    </a:lnTo>
                    <a:lnTo>
                      <a:pt x="4256" y="600"/>
                    </a:lnTo>
                    <a:lnTo>
                      <a:pt x="4266" y="570"/>
                    </a:lnTo>
                    <a:lnTo>
                      <a:pt x="4272" y="546"/>
                    </a:lnTo>
                    <a:lnTo>
                      <a:pt x="4274" y="524"/>
                    </a:lnTo>
                    <a:lnTo>
                      <a:pt x="4274" y="506"/>
                    </a:lnTo>
                    <a:lnTo>
                      <a:pt x="4272" y="476"/>
                    </a:lnTo>
                    <a:lnTo>
                      <a:pt x="4270" y="462"/>
                    </a:lnTo>
                    <a:lnTo>
                      <a:pt x="4272" y="448"/>
                    </a:lnTo>
                    <a:lnTo>
                      <a:pt x="4276" y="434"/>
                    </a:lnTo>
                    <a:lnTo>
                      <a:pt x="4284" y="418"/>
                    </a:lnTo>
                    <a:lnTo>
                      <a:pt x="4298" y="398"/>
                    </a:lnTo>
                    <a:lnTo>
                      <a:pt x="4318" y="376"/>
                    </a:lnTo>
                    <a:lnTo>
                      <a:pt x="4318" y="376"/>
                    </a:lnTo>
                    <a:lnTo>
                      <a:pt x="4330" y="364"/>
                    </a:lnTo>
                    <a:lnTo>
                      <a:pt x="4340" y="356"/>
                    </a:lnTo>
                    <a:lnTo>
                      <a:pt x="4352" y="350"/>
                    </a:lnTo>
                    <a:lnTo>
                      <a:pt x="4362" y="346"/>
                    </a:lnTo>
                    <a:lnTo>
                      <a:pt x="4372" y="346"/>
                    </a:lnTo>
                    <a:lnTo>
                      <a:pt x="4382" y="346"/>
                    </a:lnTo>
                    <a:lnTo>
                      <a:pt x="4392" y="348"/>
                    </a:lnTo>
                    <a:lnTo>
                      <a:pt x="4400" y="354"/>
                    </a:lnTo>
                    <a:lnTo>
                      <a:pt x="4410" y="360"/>
                    </a:lnTo>
                    <a:lnTo>
                      <a:pt x="4418" y="368"/>
                    </a:lnTo>
                    <a:lnTo>
                      <a:pt x="4426" y="376"/>
                    </a:lnTo>
                    <a:lnTo>
                      <a:pt x="4432" y="388"/>
                    </a:lnTo>
                    <a:lnTo>
                      <a:pt x="4446" y="414"/>
                    </a:lnTo>
                    <a:lnTo>
                      <a:pt x="4456" y="442"/>
                    </a:lnTo>
                    <a:lnTo>
                      <a:pt x="4464" y="476"/>
                    </a:lnTo>
                    <a:lnTo>
                      <a:pt x="4468" y="512"/>
                    </a:lnTo>
                    <a:lnTo>
                      <a:pt x="4470" y="548"/>
                    </a:lnTo>
                    <a:lnTo>
                      <a:pt x="4468" y="586"/>
                    </a:lnTo>
                    <a:lnTo>
                      <a:pt x="4462" y="622"/>
                    </a:lnTo>
                    <a:lnTo>
                      <a:pt x="4452" y="658"/>
                    </a:lnTo>
                    <a:lnTo>
                      <a:pt x="4446" y="676"/>
                    </a:lnTo>
                    <a:lnTo>
                      <a:pt x="4438" y="692"/>
                    </a:lnTo>
                    <a:lnTo>
                      <a:pt x="4430" y="708"/>
                    </a:lnTo>
                    <a:lnTo>
                      <a:pt x="4420" y="722"/>
                    </a:lnTo>
                    <a:lnTo>
                      <a:pt x="4420" y="722"/>
                    </a:lnTo>
                    <a:lnTo>
                      <a:pt x="4410" y="736"/>
                    </a:lnTo>
                    <a:lnTo>
                      <a:pt x="4402" y="752"/>
                    </a:lnTo>
                    <a:lnTo>
                      <a:pt x="4396" y="768"/>
                    </a:lnTo>
                    <a:lnTo>
                      <a:pt x="4390" y="782"/>
                    </a:lnTo>
                    <a:lnTo>
                      <a:pt x="4388" y="798"/>
                    </a:lnTo>
                    <a:lnTo>
                      <a:pt x="4386" y="814"/>
                    </a:lnTo>
                    <a:lnTo>
                      <a:pt x="4384" y="830"/>
                    </a:lnTo>
                    <a:lnTo>
                      <a:pt x="4386" y="846"/>
                    </a:lnTo>
                    <a:lnTo>
                      <a:pt x="4386" y="860"/>
                    </a:lnTo>
                    <a:lnTo>
                      <a:pt x="4390" y="874"/>
                    </a:lnTo>
                    <a:lnTo>
                      <a:pt x="4398" y="902"/>
                    </a:lnTo>
                    <a:lnTo>
                      <a:pt x="4404" y="914"/>
                    </a:lnTo>
                    <a:lnTo>
                      <a:pt x="4412" y="926"/>
                    </a:lnTo>
                    <a:lnTo>
                      <a:pt x="4420" y="936"/>
                    </a:lnTo>
                    <a:lnTo>
                      <a:pt x="4428" y="946"/>
                    </a:lnTo>
                    <a:lnTo>
                      <a:pt x="4436" y="954"/>
                    </a:lnTo>
                    <a:lnTo>
                      <a:pt x="4446" y="960"/>
                    </a:lnTo>
                    <a:lnTo>
                      <a:pt x="4458" y="966"/>
                    </a:lnTo>
                    <a:lnTo>
                      <a:pt x="4468" y="968"/>
                    </a:lnTo>
                    <a:lnTo>
                      <a:pt x="4480" y="970"/>
                    </a:lnTo>
                    <a:lnTo>
                      <a:pt x="4492" y="970"/>
                    </a:lnTo>
                    <a:lnTo>
                      <a:pt x="4504" y="968"/>
                    </a:lnTo>
                    <a:lnTo>
                      <a:pt x="4518" y="964"/>
                    </a:lnTo>
                    <a:lnTo>
                      <a:pt x="4530" y="958"/>
                    </a:lnTo>
                    <a:lnTo>
                      <a:pt x="4544" y="948"/>
                    </a:lnTo>
                    <a:lnTo>
                      <a:pt x="4556" y="938"/>
                    </a:lnTo>
                    <a:lnTo>
                      <a:pt x="4570" y="924"/>
                    </a:lnTo>
                    <a:lnTo>
                      <a:pt x="4584" y="906"/>
                    </a:lnTo>
                    <a:lnTo>
                      <a:pt x="4598" y="888"/>
                    </a:lnTo>
                    <a:lnTo>
                      <a:pt x="4610" y="864"/>
                    </a:lnTo>
                    <a:lnTo>
                      <a:pt x="4624" y="840"/>
                    </a:lnTo>
                    <a:lnTo>
                      <a:pt x="4624" y="840"/>
                    </a:lnTo>
                    <a:lnTo>
                      <a:pt x="4678" y="724"/>
                    </a:lnTo>
                    <a:lnTo>
                      <a:pt x="4734" y="604"/>
                    </a:lnTo>
                    <a:lnTo>
                      <a:pt x="4762" y="544"/>
                    </a:lnTo>
                    <a:lnTo>
                      <a:pt x="4792" y="486"/>
                    </a:lnTo>
                    <a:lnTo>
                      <a:pt x="4820" y="432"/>
                    </a:lnTo>
                    <a:lnTo>
                      <a:pt x="4850" y="384"/>
                    </a:lnTo>
                    <a:lnTo>
                      <a:pt x="4878" y="340"/>
                    </a:lnTo>
                    <a:lnTo>
                      <a:pt x="4894" y="322"/>
                    </a:lnTo>
                    <a:lnTo>
                      <a:pt x="4908" y="304"/>
                    </a:lnTo>
                    <a:lnTo>
                      <a:pt x="4922" y="290"/>
                    </a:lnTo>
                    <a:lnTo>
                      <a:pt x="4936" y="278"/>
                    </a:lnTo>
                    <a:lnTo>
                      <a:pt x="4950" y="268"/>
                    </a:lnTo>
                    <a:lnTo>
                      <a:pt x="4964" y="260"/>
                    </a:lnTo>
                    <a:lnTo>
                      <a:pt x="4978" y="256"/>
                    </a:lnTo>
                    <a:lnTo>
                      <a:pt x="4992" y="254"/>
                    </a:lnTo>
                    <a:lnTo>
                      <a:pt x="5006" y="256"/>
                    </a:lnTo>
                    <a:lnTo>
                      <a:pt x="5018" y="260"/>
                    </a:lnTo>
                    <a:lnTo>
                      <a:pt x="5032" y="268"/>
                    </a:lnTo>
                    <a:lnTo>
                      <a:pt x="5044" y="280"/>
                    </a:lnTo>
                    <a:lnTo>
                      <a:pt x="5058" y="296"/>
                    </a:lnTo>
                    <a:lnTo>
                      <a:pt x="5070" y="314"/>
                    </a:lnTo>
                    <a:lnTo>
                      <a:pt x="5070" y="314"/>
                    </a:lnTo>
                    <a:lnTo>
                      <a:pt x="5080" y="336"/>
                    </a:lnTo>
                    <a:lnTo>
                      <a:pt x="5090" y="358"/>
                    </a:lnTo>
                    <a:lnTo>
                      <a:pt x="5098" y="382"/>
                    </a:lnTo>
                    <a:lnTo>
                      <a:pt x="5104" y="406"/>
                    </a:lnTo>
                    <a:lnTo>
                      <a:pt x="5114" y="454"/>
                    </a:lnTo>
                    <a:lnTo>
                      <a:pt x="5120" y="502"/>
                    </a:lnTo>
                    <a:lnTo>
                      <a:pt x="5128" y="592"/>
                    </a:lnTo>
                    <a:lnTo>
                      <a:pt x="5132" y="634"/>
                    </a:lnTo>
                    <a:lnTo>
                      <a:pt x="5138" y="670"/>
                    </a:lnTo>
                    <a:lnTo>
                      <a:pt x="5144" y="686"/>
                    </a:lnTo>
                    <a:lnTo>
                      <a:pt x="5150" y="700"/>
                    </a:lnTo>
                    <a:lnTo>
                      <a:pt x="5156" y="712"/>
                    </a:lnTo>
                    <a:lnTo>
                      <a:pt x="5164" y="724"/>
                    </a:lnTo>
                    <a:lnTo>
                      <a:pt x="5176" y="732"/>
                    </a:lnTo>
                    <a:lnTo>
                      <a:pt x="5188" y="740"/>
                    </a:lnTo>
                    <a:lnTo>
                      <a:pt x="5202" y="744"/>
                    </a:lnTo>
                    <a:lnTo>
                      <a:pt x="5218" y="746"/>
                    </a:lnTo>
                    <a:lnTo>
                      <a:pt x="5236" y="744"/>
                    </a:lnTo>
                    <a:lnTo>
                      <a:pt x="5258" y="740"/>
                    </a:lnTo>
                    <a:lnTo>
                      <a:pt x="5282" y="734"/>
                    </a:lnTo>
                    <a:lnTo>
                      <a:pt x="5310" y="724"/>
                    </a:lnTo>
                    <a:lnTo>
                      <a:pt x="5340" y="712"/>
                    </a:lnTo>
                    <a:lnTo>
                      <a:pt x="5374" y="696"/>
                    </a:lnTo>
                    <a:lnTo>
                      <a:pt x="5412" y="676"/>
                    </a:lnTo>
                    <a:lnTo>
                      <a:pt x="5452" y="652"/>
                    </a:lnTo>
                    <a:lnTo>
                      <a:pt x="5452" y="652"/>
                    </a:lnTo>
                    <a:lnTo>
                      <a:pt x="5488" y="610"/>
                    </a:lnTo>
                    <a:lnTo>
                      <a:pt x="5528" y="566"/>
                    </a:lnTo>
                    <a:lnTo>
                      <a:pt x="5576" y="516"/>
                    </a:lnTo>
                    <a:lnTo>
                      <a:pt x="5628" y="468"/>
                    </a:lnTo>
                    <a:lnTo>
                      <a:pt x="5654" y="444"/>
                    </a:lnTo>
                    <a:lnTo>
                      <a:pt x="5680" y="424"/>
                    </a:lnTo>
                    <a:lnTo>
                      <a:pt x="5704" y="408"/>
                    </a:lnTo>
                    <a:lnTo>
                      <a:pt x="5728" y="394"/>
                    </a:lnTo>
                    <a:lnTo>
                      <a:pt x="5750" y="386"/>
                    </a:lnTo>
                    <a:lnTo>
                      <a:pt x="5760" y="384"/>
                    </a:lnTo>
                    <a:lnTo>
                      <a:pt x="5768" y="384"/>
                    </a:lnTo>
                    <a:lnTo>
                      <a:pt x="5768" y="384"/>
                    </a:lnTo>
                    <a:lnTo>
                      <a:pt x="5786" y="386"/>
                    </a:lnTo>
                    <a:lnTo>
                      <a:pt x="5804" y="388"/>
                    </a:lnTo>
                    <a:lnTo>
                      <a:pt x="5822" y="392"/>
                    </a:lnTo>
                    <a:lnTo>
                      <a:pt x="5838" y="398"/>
                    </a:lnTo>
                    <a:lnTo>
                      <a:pt x="5852" y="406"/>
                    </a:lnTo>
                    <a:lnTo>
                      <a:pt x="5866" y="414"/>
                    </a:lnTo>
                    <a:lnTo>
                      <a:pt x="5876" y="426"/>
                    </a:lnTo>
                    <a:lnTo>
                      <a:pt x="5884" y="438"/>
                    </a:lnTo>
                    <a:lnTo>
                      <a:pt x="5888" y="454"/>
                    </a:lnTo>
                    <a:lnTo>
                      <a:pt x="5888" y="472"/>
                    </a:lnTo>
                    <a:lnTo>
                      <a:pt x="5884" y="494"/>
                    </a:lnTo>
                    <a:lnTo>
                      <a:pt x="5874" y="518"/>
                    </a:lnTo>
                    <a:lnTo>
                      <a:pt x="5860" y="546"/>
                    </a:lnTo>
                    <a:lnTo>
                      <a:pt x="5838" y="576"/>
                    </a:lnTo>
                    <a:lnTo>
                      <a:pt x="5812" y="610"/>
                    </a:lnTo>
                    <a:lnTo>
                      <a:pt x="5778" y="646"/>
                    </a:lnTo>
                    <a:lnTo>
                      <a:pt x="5778" y="646"/>
                    </a:lnTo>
                    <a:lnTo>
                      <a:pt x="5706" y="724"/>
                    </a:lnTo>
                    <a:lnTo>
                      <a:pt x="5644" y="796"/>
                    </a:lnTo>
                    <a:lnTo>
                      <a:pt x="5588" y="864"/>
                    </a:lnTo>
                    <a:lnTo>
                      <a:pt x="5540" y="928"/>
                    </a:lnTo>
                    <a:lnTo>
                      <a:pt x="5498" y="986"/>
                    </a:lnTo>
                    <a:lnTo>
                      <a:pt x="5462" y="1042"/>
                    </a:lnTo>
                    <a:lnTo>
                      <a:pt x="5402" y="1136"/>
                    </a:lnTo>
                    <a:lnTo>
                      <a:pt x="5402" y="1136"/>
                    </a:lnTo>
                    <a:lnTo>
                      <a:pt x="5374" y="1184"/>
                    </a:lnTo>
                    <a:lnTo>
                      <a:pt x="5346" y="1244"/>
                    </a:lnTo>
                    <a:lnTo>
                      <a:pt x="5282" y="1384"/>
                    </a:lnTo>
                    <a:lnTo>
                      <a:pt x="5246" y="1460"/>
                    </a:lnTo>
                    <a:lnTo>
                      <a:pt x="5208" y="1540"/>
                    </a:lnTo>
                    <a:lnTo>
                      <a:pt x="5166" y="1618"/>
                    </a:lnTo>
                    <a:lnTo>
                      <a:pt x="5122" y="1696"/>
                    </a:lnTo>
                    <a:lnTo>
                      <a:pt x="5122" y="1696"/>
                    </a:lnTo>
                    <a:lnTo>
                      <a:pt x="5076" y="1776"/>
                    </a:lnTo>
                    <a:lnTo>
                      <a:pt x="5030" y="1862"/>
                    </a:lnTo>
                    <a:lnTo>
                      <a:pt x="4986" y="1952"/>
                    </a:lnTo>
                    <a:lnTo>
                      <a:pt x="4944" y="2044"/>
                    </a:lnTo>
                    <a:lnTo>
                      <a:pt x="4906" y="2134"/>
                    </a:lnTo>
                    <a:lnTo>
                      <a:pt x="4876" y="2220"/>
                    </a:lnTo>
                    <a:lnTo>
                      <a:pt x="4850" y="2300"/>
                    </a:lnTo>
                    <a:lnTo>
                      <a:pt x="4840" y="2336"/>
                    </a:lnTo>
                    <a:lnTo>
                      <a:pt x="4834" y="2368"/>
                    </a:lnTo>
                    <a:lnTo>
                      <a:pt x="4834" y="2368"/>
                    </a:lnTo>
                    <a:lnTo>
                      <a:pt x="4814" y="2480"/>
                    </a:lnTo>
                    <a:lnTo>
                      <a:pt x="4802" y="2558"/>
                    </a:lnTo>
                    <a:lnTo>
                      <a:pt x="4798" y="2604"/>
                    </a:lnTo>
                    <a:lnTo>
                      <a:pt x="4796" y="2618"/>
                    </a:lnTo>
                    <a:lnTo>
                      <a:pt x="4796" y="2618"/>
                    </a:lnTo>
                    <a:lnTo>
                      <a:pt x="4686" y="2632"/>
                    </a:lnTo>
                    <a:lnTo>
                      <a:pt x="4558" y="2648"/>
                    </a:lnTo>
                    <a:lnTo>
                      <a:pt x="4386" y="2668"/>
                    </a:lnTo>
                    <a:lnTo>
                      <a:pt x="4176" y="2688"/>
                    </a:lnTo>
                    <a:lnTo>
                      <a:pt x="3936" y="2710"/>
                    </a:lnTo>
                    <a:lnTo>
                      <a:pt x="3670" y="2732"/>
                    </a:lnTo>
                    <a:lnTo>
                      <a:pt x="3384" y="2752"/>
                    </a:lnTo>
                    <a:lnTo>
                      <a:pt x="3234" y="2760"/>
                    </a:lnTo>
                    <a:lnTo>
                      <a:pt x="3082" y="2766"/>
                    </a:lnTo>
                    <a:lnTo>
                      <a:pt x="2928" y="2772"/>
                    </a:lnTo>
                    <a:lnTo>
                      <a:pt x="2772" y="2776"/>
                    </a:lnTo>
                    <a:lnTo>
                      <a:pt x="2614" y="2778"/>
                    </a:lnTo>
                    <a:lnTo>
                      <a:pt x="2456" y="2780"/>
                    </a:lnTo>
                    <a:lnTo>
                      <a:pt x="2298" y="2778"/>
                    </a:lnTo>
                    <a:lnTo>
                      <a:pt x="2142" y="2774"/>
                    </a:lnTo>
                    <a:lnTo>
                      <a:pt x="1986" y="2768"/>
                    </a:lnTo>
                    <a:lnTo>
                      <a:pt x="1834" y="2760"/>
                    </a:lnTo>
                    <a:lnTo>
                      <a:pt x="1684" y="2748"/>
                    </a:lnTo>
                    <a:lnTo>
                      <a:pt x="1540" y="2734"/>
                    </a:lnTo>
                    <a:lnTo>
                      <a:pt x="1398" y="2716"/>
                    </a:lnTo>
                    <a:lnTo>
                      <a:pt x="1262" y="2694"/>
                    </a:lnTo>
                    <a:lnTo>
                      <a:pt x="1130" y="2670"/>
                    </a:lnTo>
                    <a:lnTo>
                      <a:pt x="1068" y="2656"/>
                    </a:lnTo>
                    <a:lnTo>
                      <a:pt x="1006" y="2640"/>
                    </a:lnTo>
                    <a:lnTo>
                      <a:pt x="1006" y="264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74F4FF"/>
                  </a:gs>
                  <a:gs pos="100000">
                    <a:srgbClr val="208ECD"/>
                  </a:gs>
                </a:gsLst>
                <a:path path="shape">
                  <a:fillToRect l="50000" t="50000" r="50000" b="50000"/>
                </a:path>
                <a:tileRect/>
              </a:gradFill>
              <a:ln w="9525" cap="flat" cmpd="sng" algn="ctr">
                <a:noFill/>
                <a:prstDash val="solid"/>
              </a:ln>
              <a:effectLst>
                <a:innerShdw blurRad="190500" dist="114300" dir="5640000">
                  <a:srgbClr val="000000">
                    <a:alpha val="37000"/>
                  </a:srgbClr>
                </a:innerShdw>
              </a:effectLst>
            </p:spPr>
            <p:txBody>
              <a:bodyPr anchor="ctr"/>
              <a:lstStyle/>
              <a:p>
                <a:pPr marL="342900" indent="-342900" algn="ctr" fontAlgn="auto">
                  <a:spcBef>
                    <a:spcPts val="0"/>
                  </a:spcBef>
                  <a:spcAft>
                    <a:spcPts val="0"/>
                  </a:spcAft>
                  <a:buFont typeface="+mj-lt"/>
                  <a:buAutoNum type="arabicPeriod"/>
                  <a:defRPr/>
                </a:pPr>
                <a:endParaRPr lang="da-DK" kern="0" dirty="0">
                  <a:solidFill>
                    <a:sysClr val="window" lastClr="FFFFFF"/>
                  </a:solidFill>
                  <a:latin typeface="Calibri"/>
                  <a:cs typeface="+mn-cs"/>
                </a:endParaRPr>
              </a:p>
            </p:txBody>
          </p:sp>
          <p:grpSp>
            <p:nvGrpSpPr>
              <p:cNvPr id="166" name="Gruppe 118"/>
              <p:cNvGrpSpPr>
                <a:grpSpLocks/>
              </p:cNvGrpSpPr>
              <p:nvPr/>
            </p:nvGrpSpPr>
            <p:grpSpPr bwMode="auto">
              <a:xfrm>
                <a:off x="4141788" y="4996987"/>
                <a:ext cx="153986" cy="143596"/>
                <a:chOff x="4151313" y="4635038"/>
                <a:chExt cx="153987" cy="143597"/>
              </a:xfrm>
            </p:grpSpPr>
            <p:sp>
              <p:nvSpPr>
                <p:cNvPr id="167" name="Freeform 59"/>
                <p:cNvSpPr>
                  <a:spLocks/>
                </p:cNvSpPr>
                <p:nvPr/>
              </p:nvSpPr>
              <p:spPr bwMode="auto">
                <a:xfrm>
                  <a:off x="4153218" y="4636493"/>
                  <a:ext cx="152082" cy="142142"/>
                </a:xfrm>
                <a:custGeom>
                  <a:avLst/>
                  <a:gdLst/>
                  <a:ahLst/>
                  <a:cxnLst>
                    <a:cxn ang="0">
                      <a:pos x="282" y="242"/>
                    </a:cxn>
                    <a:cxn ang="0">
                      <a:pos x="282" y="242"/>
                    </a:cxn>
                    <a:cxn ang="0">
                      <a:pos x="272" y="248"/>
                    </a:cxn>
                    <a:cxn ang="0">
                      <a:pos x="248" y="258"/>
                    </a:cxn>
                    <a:cxn ang="0">
                      <a:pos x="210" y="272"/>
                    </a:cxn>
                    <a:cxn ang="0">
                      <a:pos x="190" y="278"/>
                    </a:cxn>
                    <a:cxn ang="0">
                      <a:pos x="166" y="282"/>
                    </a:cxn>
                    <a:cxn ang="0">
                      <a:pos x="144" y="286"/>
                    </a:cxn>
                    <a:cxn ang="0">
                      <a:pos x="120" y="286"/>
                    </a:cxn>
                    <a:cxn ang="0">
                      <a:pos x="98" y="284"/>
                    </a:cxn>
                    <a:cxn ang="0">
                      <a:pos x="76" y="280"/>
                    </a:cxn>
                    <a:cxn ang="0">
                      <a:pos x="56" y="270"/>
                    </a:cxn>
                    <a:cxn ang="0">
                      <a:pos x="46" y="264"/>
                    </a:cxn>
                    <a:cxn ang="0">
                      <a:pos x="38" y="258"/>
                    </a:cxn>
                    <a:cxn ang="0">
                      <a:pos x="30" y="250"/>
                    </a:cxn>
                    <a:cxn ang="0">
                      <a:pos x="24" y="240"/>
                    </a:cxn>
                    <a:cxn ang="0">
                      <a:pos x="16" y="228"/>
                    </a:cxn>
                    <a:cxn ang="0">
                      <a:pos x="12" y="216"/>
                    </a:cxn>
                    <a:cxn ang="0">
                      <a:pos x="12" y="216"/>
                    </a:cxn>
                    <a:cxn ang="0">
                      <a:pos x="4" y="190"/>
                    </a:cxn>
                    <a:cxn ang="0">
                      <a:pos x="0" y="166"/>
                    </a:cxn>
                    <a:cxn ang="0">
                      <a:pos x="0" y="140"/>
                    </a:cxn>
                    <a:cxn ang="0">
                      <a:pos x="4" y="118"/>
                    </a:cxn>
                    <a:cxn ang="0">
                      <a:pos x="12" y="96"/>
                    </a:cxn>
                    <a:cxn ang="0">
                      <a:pos x="20" y="76"/>
                    </a:cxn>
                    <a:cxn ang="0">
                      <a:pos x="32" y="56"/>
                    </a:cxn>
                    <a:cxn ang="0">
                      <a:pos x="46" y="40"/>
                    </a:cxn>
                    <a:cxn ang="0">
                      <a:pos x="62" y="26"/>
                    </a:cxn>
                    <a:cxn ang="0">
                      <a:pos x="78" y="16"/>
                    </a:cxn>
                    <a:cxn ang="0">
                      <a:pos x="96" y="6"/>
                    </a:cxn>
                    <a:cxn ang="0">
                      <a:pos x="114" y="2"/>
                    </a:cxn>
                    <a:cxn ang="0">
                      <a:pos x="134" y="0"/>
                    </a:cxn>
                    <a:cxn ang="0">
                      <a:pos x="152" y="0"/>
                    </a:cxn>
                    <a:cxn ang="0">
                      <a:pos x="170" y="6"/>
                    </a:cxn>
                    <a:cxn ang="0">
                      <a:pos x="186" y="16"/>
                    </a:cxn>
                    <a:cxn ang="0">
                      <a:pos x="186" y="16"/>
                    </a:cxn>
                    <a:cxn ang="0">
                      <a:pos x="218" y="40"/>
                    </a:cxn>
                    <a:cxn ang="0">
                      <a:pos x="246" y="66"/>
                    </a:cxn>
                    <a:cxn ang="0">
                      <a:pos x="260" y="82"/>
                    </a:cxn>
                    <a:cxn ang="0">
                      <a:pos x="272" y="96"/>
                    </a:cxn>
                    <a:cxn ang="0">
                      <a:pos x="282" y="110"/>
                    </a:cxn>
                    <a:cxn ang="0">
                      <a:pos x="290" y="126"/>
                    </a:cxn>
                    <a:cxn ang="0">
                      <a:pos x="296" y="140"/>
                    </a:cxn>
                    <a:cxn ang="0">
                      <a:pos x="302" y="156"/>
                    </a:cxn>
                    <a:cxn ang="0">
                      <a:pos x="304" y="172"/>
                    </a:cxn>
                    <a:cxn ang="0">
                      <a:pos x="306" y="186"/>
                    </a:cxn>
                    <a:cxn ang="0">
                      <a:pos x="304" y="202"/>
                    </a:cxn>
                    <a:cxn ang="0">
                      <a:pos x="300" y="216"/>
                    </a:cxn>
                    <a:cxn ang="0">
                      <a:pos x="292" y="230"/>
                    </a:cxn>
                    <a:cxn ang="0">
                      <a:pos x="282" y="242"/>
                    </a:cxn>
                    <a:cxn ang="0">
                      <a:pos x="282" y="242"/>
                    </a:cxn>
                  </a:cxnLst>
                  <a:rect l="0" t="0" r="r" b="b"/>
                  <a:pathLst>
                    <a:path w="306" h="286">
                      <a:moveTo>
                        <a:pt x="282" y="242"/>
                      </a:moveTo>
                      <a:lnTo>
                        <a:pt x="282" y="242"/>
                      </a:lnTo>
                      <a:lnTo>
                        <a:pt x="272" y="248"/>
                      </a:lnTo>
                      <a:lnTo>
                        <a:pt x="248" y="258"/>
                      </a:lnTo>
                      <a:lnTo>
                        <a:pt x="210" y="272"/>
                      </a:lnTo>
                      <a:lnTo>
                        <a:pt x="190" y="278"/>
                      </a:lnTo>
                      <a:lnTo>
                        <a:pt x="166" y="282"/>
                      </a:lnTo>
                      <a:lnTo>
                        <a:pt x="144" y="286"/>
                      </a:lnTo>
                      <a:lnTo>
                        <a:pt x="120" y="286"/>
                      </a:lnTo>
                      <a:lnTo>
                        <a:pt x="98" y="284"/>
                      </a:lnTo>
                      <a:lnTo>
                        <a:pt x="76" y="280"/>
                      </a:lnTo>
                      <a:lnTo>
                        <a:pt x="56" y="270"/>
                      </a:lnTo>
                      <a:lnTo>
                        <a:pt x="46" y="264"/>
                      </a:lnTo>
                      <a:lnTo>
                        <a:pt x="38" y="258"/>
                      </a:lnTo>
                      <a:lnTo>
                        <a:pt x="30" y="250"/>
                      </a:lnTo>
                      <a:lnTo>
                        <a:pt x="24" y="240"/>
                      </a:lnTo>
                      <a:lnTo>
                        <a:pt x="16" y="228"/>
                      </a:lnTo>
                      <a:lnTo>
                        <a:pt x="12" y="216"/>
                      </a:lnTo>
                      <a:lnTo>
                        <a:pt x="12" y="216"/>
                      </a:lnTo>
                      <a:lnTo>
                        <a:pt x="4" y="190"/>
                      </a:lnTo>
                      <a:lnTo>
                        <a:pt x="0" y="166"/>
                      </a:lnTo>
                      <a:lnTo>
                        <a:pt x="0" y="140"/>
                      </a:lnTo>
                      <a:lnTo>
                        <a:pt x="4" y="118"/>
                      </a:lnTo>
                      <a:lnTo>
                        <a:pt x="12" y="96"/>
                      </a:lnTo>
                      <a:lnTo>
                        <a:pt x="20" y="76"/>
                      </a:lnTo>
                      <a:lnTo>
                        <a:pt x="32" y="56"/>
                      </a:lnTo>
                      <a:lnTo>
                        <a:pt x="46" y="40"/>
                      </a:lnTo>
                      <a:lnTo>
                        <a:pt x="62" y="26"/>
                      </a:lnTo>
                      <a:lnTo>
                        <a:pt x="78" y="16"/>
                      </a:lnTo>
                      <a:lnTo>
                        <a:pt x="96" y="6"/>
                      </a:lnTo>
                      <a:lnTo>
                        <a:pt x="114" y="2"/>
                      </a:lnTo>
                      <a:lnTo>
                        <a:pt x="134" y="0"/>
                      </a:lnTo>
                      <a:lnTo>
                        <a:pt x="152" y="0"/>
                      </a:lnTo>
                      <a:lnTo>
                        <a:pt x="170" y="6"/>
                      </a:lnTo>
                      <a:lnTo>
                        <a:pt x="186" y="16"/>
                      </a:lnTo>
                      <a:lnTo>
                        <a:pt x="186" y="16"/>
                      </a:lnTo>
                      <a:lnTo>
                        <a:pt x="218" y="40"/>
                      </a:lnTo>
                      <a:lnTo>
                        <a:pt x="246" y="66"/>
                      </a:lnTo>
                      <a:lnTo>
                        <a:pt x="260" y="82"/>
                      </a:lnTo>
                      <a:lnTo>
                        <a:pt x="272" y="96"/>
                      </a:lnTo>
                      <a:lnTo>
                        <a:pt x="282" y="110"/>
                      </a:lnTo>
                      <a:lnTo>
                        <a:pt x="290" y="126"/>
                      </a:lnTo>
                      <a:lnTo>
                        <a:pt x="296" y="140"/>
                      </a:lnTo>
                      <a:lnTo>
                        <a:pt x="302" y="156"/>
                      </a:lnTo>
                      <a:lnTo>
                        <a:pt x="304" y="172"/>
                      </a:lnTo>
                      <a:lnTo>
                        <a:pt x="306" y="186"/>
                      </a:lnTo>
                      <a:lnTo>
                        <a:pt x="304" y="202"/>
                      </a:lnTo>
                      <a:lnTo>
                        <a:pt x="300" y="216"/>
                      </a:lnTo>
                      <a:lnTo>
                        <a:pt x="292" y="230"/>
                      </a:lnTo>
                      <a:lnTo>
                        <a:pt x="282" y="242"/>
                      </a:lnTo>
                      <a:lnTo>
                        <a:pt x="282" y="242"/>
                      </a:lnTo>
                      <a:close/>
                    </a:path>
                  </a:pathLst>
                </a:custGeom>
                <a:gradFill flip="none" rotWithShape="1">
                  <a:gsLst>
                    <a:gs pos="0">
                      <a:srgbClr val="74F4FF"/>
                    </a:gs>
                    <a:gs pos="100000">
                      <a:srgbClr val="208ECD"/>
                    </a:gs>
                  </a:gsLst>
                  <a:path path="shape">
                    <a:fillToRect l="50000" t="50000" r="50000" b="50000"/>
                  </a:path>
                  <a:tileRect/>
                </a:gradFill>
                <a:ln w="9525" cap="flat" cmpd="sng" algn="ctr">
                  <a:solidFill>
                    <a:srgbClr val="0081BE">
                      <a:lumMod val="75000"/>
                    </a:srgbClr>
                  </a:solidFill>
                  <a:prstDash val="solid"/>
                </a:ln>
                <a:effectLst>
                  <a:innerShdw blurRad="190500" dist="114300" dir="5640000">
                    <a:srgbClr val="000000">
                      <a:alpha val="37000"/>
                    </a:srgbClr>
                  </a:innerShdw>
                </a:effectLst>
              </p:spPr>
              <p:txBody>
                <a:bodyPr anchor="ctr"/>
                <a:lstStyle/>
                <a:p>
                  <a:pPr marL="342900" indent="-342900" algn="ctr" fontAlgn="auto">
                    <a:spcBef>
                      <a:spcPts val="0"/>
                    </a:spcBef>
                    <a:spcAft>
                      <a:spcPts val="0"/>
                    </a:spcAft>
                    <a:buFont typeface="+mj-lt"/>
                    <a:buAutoNum type="arabicPeriod"/>
                    <a:defRPr/>
                  </a:pPr>
                  <a:endParaRPr lang="da-DK" kern="0" dirty="0">
                    <a:solidFill>
                      <a:sysClr val="window" lastClr="FFFFFF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168" name="Freeform 57"/>
                <p:cNvSpPr>
                  <a:spLocks/>
                </p:cNvSpPr>
                <p:nvPr/>
              </p:nvSpPr>
              <p:spPr bwMode="auto">
                <a:xfrm>
                  <a:off x="4151313" y="4635038"/>
                  <a:ext cx="117730" cy="98108"/>
                </a:xfrm>
                <a:custGeom>
                  <a:avLst/>
                  <a:gdLst/>
                  <a:ahLst/>
                  <a:cxnLst>
                    <a:cxn ang="0">
                      <a:pos x="42" y="26"/>
                    </a:cxn>
                    <a:cxn ang="0">
                      <a:pos x="42" y="26"/>
                    </a:cxn>
                    <a:cxn ang="0">
                      <a:pos x="56" y="16"/>
                    </a:cxn>
                    <a:cxn ang="0">
                      <a:pos x="74" y="10"/>
                    </a:cxn>
                    <a:cxn ang="0">
                      <a:pos x="92" y="4"/>
                    </a:cxn>
                    <a:cxn ang="0">
                      <a:pos x="112" y="0"/>
                    </a:cxn>
                    <a:cxn ang="0">
                      <a:pos x="112" y="0"/>
                    </a:cxn>
                    <a:cxn ang="0">
                      <a:pos x="128" y="2"/>
                    </a:cxn>
                    <a:cxn ang="0">
                      <a:pos x="142" y="4"/>
                    </a:cxn>
                    <a:cxn ang="0">
                      <a:pos x="142" y="4"/>
                    </a:cxn>
                    <a:cxn ang="0">
                      <a:pos x="156" y="8"/>
                    </a:cxn>
                    <a:cxn ang="0">
                      <a:pos x="164" y="10"/>
                    </a:cxn>
                    <a:cxn ang="0">
                      <a:pos x="168" y="14"/>
                    </a:cxn>
                    <a:cxn ang="0">
                      <a:pos x="168" y="14"/>
                    </a:cxn>
                    <a:cxn ang="0">
                      <a:pos x="168" y="16"/>
                    </a:cxn>
                    <a:cxn ang="0">
                      <a:pos x="166" y="16"/>
                    </a:cxn>
                    <a:cxn ang="0">
                      <a:pos x="158" y="20"/>
                    </a:cxn>
                    <a:cxn ang="0">
                      <a:pos x="142" y="24"/>
                    </a:cxn>
                    <a:cxn ang="0">
                      <a:pos x="142" y="24"/>
                    </a:cxn>
                    <a:cxn ang="0">
                      <a:pos x="120" y="32"/>
                    </a:cxn>
                    <a:cxn ang="0">
                      <a:pos x="102" y="42"/>
                    </a:cxn>
                    <a:cxn ang="0">
                      <a:pos x="84" y="52"/>
                    </a:cxn>
                    <a:cxn ang="0">
                      <a:pos x="70" y="66"/>
                    </a:cxn>
                    <a:cxn ang="0">
                      <a:pos x="70" y="66"/>
                    </a:cxn>
                    <a:cxn ang="0">
                      <a:pos x="52" y="84"/>
                    </a:cxn>
                    <a:cxn ang="0">
                      <a:pos x="40" y="102"/>
                    </a:cxn>
                    <a:cxn ang="0">
                      <a:pos x="40" y="102"/>
                    </a:cxn>
                    <a:cxn ang="0">
                      <a:pos x="26" y="140"/>
                    </a:cxn>
                    <a:cxn ang="0">
                      <a:pos x="26" y="140"/>
                    </a:cxn>
                    <a:cxn ang="0">
                      <a:pos x="18" y="138"/>
                    </a:cxn>
                    <a:cxn ang="0">
                      <a:pos x="14" y="134"/>
                    </a:cxn>
                    <a:cxn ang="0">
                      <a:pos x="8" y="130"/>
                    </a:cxn>
                    <a:cxn ang="0">
                      <a:pos x="6" y="122"/>
                    </a:cxn>
                    <a:cxn ang="0">
                      <a:pos x="2" y="108"/>
                    </a:cxn>
                    <a:cxn ang="0">
                      <a:pos x="0" y="94"/>
                    </a:cxn>
                    <a:cxn ang="0">
                      <a:pos x="0" y="94"/>
                    </a:cxn>
                    <a:cxn ang="0">
                      <a:pos x="2" y="86"/>
                    </a:cxn>
                    <a:cxn ang="0">
                      <a:pos x="4" y="76"/>
                    </a:cxn>
                    <a:cxn ang="0">
                      <a:pos x="14" y="58"/>
                    </a:cxn>
                    <a:cxn ang="0">
                      <a:pos x="28" y="42"/>
                    </a:cxn>
                    <a:cxn ang="0">
                      <a:pos x="42" y="26"/>
                    </a:cxn>
                    <a:cxn ang="0">
                      <a:pos x="42" y="26"/>
                    </a:cxn>
                  </a:cxnLst>
                  <a:rect l="0" t="0" r="r" b="b"/>
                  <a:pathLst>
                    <a:path w="168" h="140">
                      <a:moveTo>
                        <a:pt x="42" y="26"/>
                      </a:moveTo>
                      <a:lnTo>
                        <a:pt x="42" y="26"/>
                      </a:lnTo>
                      <a:lnTo>
                        <a:pt x="56" y="16"/>
                      </a:lnTo>
                      <a:lnTo>
                        <a:pt x="74" y="10"/>
                      </a:lnTo>
                      <a:lnTo>
                        <a:pt x="92" y="4"/>
                      </a:lnTo>
                      <a:lnTo>
                        <a:pt x="112" y="0"/>
                      </a:lnTo>
                      <a:lnTo>
                        <a:pt x="112" y="0"/>
                      </a:lnTo>
                      <a:lnTo>
                        <a:pt x="128" y="2"/>
                      </a:lnTo>
                      <a:lnTo>
                        <a:pt x="142" y="4"/>
                      </a:lnTo>
                      <a:lnTo>
                        <a:pt x="142" y="4"/>
                      </a:lnTo>
                      <a:lnTo>
                        <a:pt x="156" y="8"/>
                      </a:lnTo>
                      <a:lnTo>
                        <a:pt x="164" y="10"/>
                      </a:lnTo>
                      <a:lnTo>
                        <a:pt x="168" y="14"/>
                      </a:lnTo>
                      <a:lnTo>
                        <a:pt x="168" y="14"/>
                      </a:lnTo>
                      <a:lnTo>
                        <a:pt x="168" y="16"/>
                      </a:lnTo>
                      <a:lnTo>
                        <a:pt x="166" y="16"/>
                      </a:lnTo>
                      <a:lnTo>
                        <a:pt x="158" y="20"/>
                      </a:lnTo>
                      <a:lnTo>
                        <a:pt x="142" y="24"/>
                      </a:lnTo>
                      <a:lnTo>
                        <a:pt x="142" y="24"/>
                      </a:lnTo>
                      <a:lnTo>
                        <a:pt x="120" y="32"/>
                      </a:lnTo>
                      <a:lnTo>
                        <a:pt x="102" y="42"/>
                      </a:lnTo>
                      <a:lnTo>
                        <a:pt x="84" y="52"/>
                      </a:lnTo>
                      <a:lnTo>
                        <a:pt x="70" y="66"/>
                      </a:lnTo>
                      <a:lnTo>
                        <a:pt x="70" y="66"/>
                      </a:lnTo>
                      <a:lnTo>
                        <a:pt x="52" y="84"/>
                      </a:lnTo>
                      <a:lnTo>
                        <a:pt x="40" y="102"/>
                      </a:lnTo>
                      <a:lnTo>
                        <a:pt x="40" y="102"/>
                      </a:lnTo>
                      <a:lnTo>
                        <a:pt x="26" y="140"/>
                      </a:lnTo>
                      <a:lnTo>
                        <a:pt x="26" y="140"/>
                      </a:lnTo>
                      <a:lnTo>
                        <a:pt x="18" y="138"/>
                      </a:lnTo>
                      <a:lnTo>
                        <a:pt x="14" y="134"/>
                      </a:lnTo>
                      <a:lnTo>
                        <a:pt x="8" y="130"/>
                      </a:lnTo>
                      <a:lnTo>
                        <a:pt x="6" y="122"/>
                      </a:lnTo>
                      <a:lnTo>
                        <a:pt x="2" y="108"/>
                      </a:lnTo>
                      <a:lnTo>
                        <a:pt x="0" y="94"/>
                      </a:lnTo>
                      <a:lnTo>
                        <a:pt x="0" y="94"/>
                      </a:lnTo>
                      <a:lnTo>
                        <a:pt x="2" y="86"/>
                      </a:lnTo>
                      <a:lnTo>
                        <a:pt x="4" y="76"/>
                      </a:lnTo>
                      <a:lnTo>
                        <a:pt x="14" y="58"/>
                      </a:lnTo>
                      <a:lnTo>
                        <a:pt x="28" y="42"/>
                      </a:lnTo>
                      <a:lnTo>
                        <a:pt x="42" y="26"/>
                      </a:lnTo>
                      <a:lnTo>
                        <a:pt x="42" y="26"/>
                      </a:lnTo>
                      <a:close/>
                    </a:path>
                  </a:pathLst>
                </a:custGeom>
                <a:gradFill flip="none" rotWithShape="1">
                  <a:gsLst>
                    <a:gs pos="45000">
                      <a:srgbClr val="FFFFFF">
                        <a:lumMod val="40000"/>
                        <a:lumOff val="60000"/>
                        <a:alpha val="52000"/>
                      </a:srgbClr>
                    </a:gs>
                    <a:gs pos="100000">
                      <a:srgbClr val="FFFCF9">
                        <a:alpha val="75000"/>
                      </a:srgbClr>
                    </a:gs>
                  </a:gsLst>
                  <a:lin ang="18900000" scaled="1"/>
                  <a:tileRect/>
                </a:gradFill>
                <a:ln w="952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marL="342900" indent="-342900" algn="ctr" fontAlgn="auto">
                    <a:spcBef>
                      <a:spcPts val="0"/>
                    </a:spcBef>
                    <a:spcAft>
                      <a:spcPts val="0"/>
                    </a:spcAft>
                    <a:buFont typeface="+mj-lt"/>
                    <a:buAutoNum type="arabicPeriod"/>
                    <a:defRPr/>
                  </a:pPr>
                  <a:endParaRPr lang="da-DK" kern="0" dirty="0">
                    <a:solidFill>
                      <a:sysClr val="window" lastClr="FFFFFF"/>
                    </a:solidFill>
                    <a:latin typeface="Calibri"/>
                    <a:cs typeface="+mn-cs"/>
                  </a:endParaRPr>
                </a:p>
              </p:txBody>
            </p:sp>
          </p:grpSp>
        </p:grpSp>
      </p:grpSp>
      <p:sp>
        <p:nvSpPr>
          <p:cNvPr id="190" name="Rektangel 318"/>
          <p:cNvSpPr/>
          <p:nvPr/>
        </p:nvSpPr>
        <p:spPr bwMode="auto">
          <a:xfrm>
            <a:off x="2459643" y="5572478"/>
            <a:ext cx="1500588" cy="338554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a-DK" sz="1600" b="1" kern="0" noProof="1">
                <a:solidFill>
                  <a:schemeClr val="bg1"/>
                </a:solidFill>
                <a:latin typeface="Calibri" pitchFamily="34" charset="0"/>
              </a:rPr>
              <a:t>Enablers</a:t>
            </a:r>
          </a:p>
        </p:txBody>
      </p:sp>
      <p:sp>
        <p:nvSpPr>
          <p:cNvPr id="191" name="Rektangel 319"/>
          <p:cNvSpPr/>
          <p:nvPr/>
        </p:nvSpPr>
        <p:spPr bwMode="auto">
          <a:xfrm>
            <a:off x="5763177" y="5572478"/>
            <a:ext cx="1500588" cy="338554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a-DK" sz="1600" b="1" kern="0" noProof="1">
                <a:solidFill>
                  <a:schemeClr val="bg1"/>
                </a:solidFill>
                <a:latin typeface="Calibri" pitchFamily="34" charset="0"/>
              </a:rPr>
              <a:t>Results</a:t>
            </a:r>
          </a:p>
        </p:txBody>
      </p:sp>
      <p:grpSp>
        <p:nvGrpSpPr>
          <p:cNvPr id="192" name="Grupper 37"/>
          <p:cNvGrpSpPr>
            <a:grpSpLocks/>
          </p:cNvGrpSpPr>
          <p:nvPr/>
        </p:nvGrpSpPr>
        <p:grpSpPr bwMode="auto">
          <a:xfrm>
            <a:off x="5476555" y="4779936"/>
            <a:ext cx="665967" cy="660668"/>
            <a:chOff x="3008280" y="1875774"/>
            <a:chExt cx="3063119" cy="3038744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pic>
          <p:nvPicPr>
            <p:cNvPr id="193" name="Billede 38" descr="e1.png"/>
            <p:cNvPicPr>
              <a:picLocks noChangeAspect="1"/>
            </p:cNvPicPr>
            <p:nvPr/>
          </p:nvPicPr>
          <p:blipFill>
            <a:blip r:embed="rId7" cstate="print"/>
            <a:srcRect l="13483" t="5675" r="20357" b="12283"/>
            <a:stretch>
              <a:fillRect/>
            </a:stretch>
          </p:blipFill>
          <p:spPr bwMode="auto">
            <a:xfrm>
              <a:off x="3008280" y="1875774"/>
              <a:ext cx="3063119" cy="30387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94" name="Ellipse 39"/>
            <p:cNvSpPr/>
            <p:nvPr/>
          </p:nvSpPr>
          <p:spPr>
            <a:xfrm>
              <a:off x="3047999" y="1905001"/>
              <a:ext cx="2988734" cy="2988734"/>
            </a:xfrm>
            <a:prstGeom prst="ellipse">
              <a:avLst/>
            </a:prstGeom>
            <a:gradFill flip="none" rotWithShape="1">
              <a:gsLst>
                <a:gs pos="0">
                  <a:srgbClr val="78C5DD">
                    <a:alpha val="0"/>
                  </a:srgbClr>
                </a:gs>
                <a:gs pos="100000">
                  <a:srgbClr val="0081BE">
                    <a:alpha val="25000"/>
                  </a:srgbClr>
                </a:gs>
              </a:gsLst>
              <a:path path="circle">
                <a:fillToRect l="50000" t="50000" r="50000" b="50000"/>
              </a:path>
              <a:tileRect/>
            </a:gradFill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>
                <a:solidFill>
                  <a:srgbClr val="FFFFFF"/>
                </a:solidFill>
                <a:latin typeface="Calibri"/>
                <a:cs typeface="ＭＳ Ｐゴシック" charset="-128"/>
              </a:endParaRPr>
            </a:p>
          </p:txBody>
        </p:sp>
        <p:sp>
          <p:nvSpPr>
            <p:cNvPr id="195" name="Ellipse 40"/>
            <p:cNvSpPr/>
            <p:nvPr/>
          </p:nvSpPr>
          <p:spPr>
            <a:xfrm>
              <a:off x="3425701" y="1958040"/>
              <a:ext cx="2187652" cy="1616872"/>
            </a:xfrm>
            <a:prstGeom prst="ellipse">
              <a:avLst/>
            </a:prstGeom>
            <a:gradFill flip="none" rotWithShape="1">
              <a:gsLst>
                <a:gs pos="0">
                  <a:srgbClr val="FFFFFF">
                    <a:lumMod val="40000"/>
                    <a:lumOff val="60000"/>
                    <a:alpha val="0"/>
                  </a:srgbClr>
                </a:gs>
                <a:gs pos="100000">
                  <a:srgbClr val="FFFCF9">
                    <a:alpha val="77000"/>
                  </a:srgbClr>
                </a:gs>
              </a:gsLst>
              <a:lin ang="16200000" scaled="0"/>
              <a:tileRect/>
            </a:gradFill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>
                <a:solidFill>
                  <a:srgbClr val="FFFFFF"/>
                </a:solidFill>
                <a:latin typeface="Calibri"/>
                <a:cs typeface="ＭＳ Ｐゴシック" charset="-128"/>
              </a:endParaRPr>
            </a:p>
          </p:txBody>
        </p:sp>
      </p:grp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Your footnote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98607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2" name="Object 4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3" name="Rectangle 82"/>
          <p:cNvSpPr/>
          <p:nvPr/>
        </p:nvSpPr>
        <p:spPr>
          <a:xfrm>
            <a:off x="3176" y="1320152"/>
            <a:ext cx="9137650" cy="4229747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9000">
                <a:srgbClr val="0070C0">
                  <a:alpha val="22000"/>
                </a:srgbClr>
              </a:gs>
              <a:gs pos="100000">
                <a:schemeClr val="accent1">
                  <a:tint val="50000"/>
                  <a:shade val="100000"/>
                  <a:satMod val="350000"/>
                  <a:lumMod val="0"/>
                  <a:lumOff val="100000"/>
                  <a:alpha val="0"/>
                </a:schemeClr>
              </a:gs>
            </a:gsLst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Subtitle 4"/>
          <p:cNvSpPr>
            <a:spLocks noGrp="1"/>
          </p:cNvSpPr>
          <p:nvPr>
            <p:ph type="subTitle" idx="1"/>
          </p:nvPr>
        </p:nvSpPr>
        <p:spPr>
          <a:xfrm>
            <a:off x="628650" y="866381"/>
            <a:ext cx="7891272" cy="243785"/>
          </a:xfrm>
        </p:spPr>
        <p:txBody>
          <a:bodyPr/>
          <a:lstStyle/>
          <a:p>
            <a:pPr>
              <a:lnSpc>
                <a:spcPct val="80000"/>
              </a:lnSpc>
            </a:pPr>
            <a:r>
              <a:rPr lang="en-US"/>
              <a:t>Replace this text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28650" y="437962"/>
            <a:ext cx="7886700" cy="395173"/>
          </a:xfrm>
        </p:spPr>
        <p:txBody>
          <a:bodyPr/>
          <a:lstStyle/>
          <a:p>
            <a:pPr>
              <a:lnSpc>
                <a:spcPct val="80000"/>
              </a:lnSpc>
            </a:pPr>
            <a:r>
              <a:rPr lang="en-US"/>
              <a:t>BUSINESS EXCELLENCE MODEL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5C11E9-EA40-D54F-953A-82A4C72DAAAD}" type="slidenum">
              <a:rPr lang="en-US" smtClean="0"/>
              <a:t>2</a:t>
            </a:fld>
            <a:r>
              <a:rPr lang="en-US" dirty="0" smtClean="0"/>
              <a:t> I</a:t>
            </a:r>
            <a:endParaRPr lang="en-US" dirty="0"/>
          </a:p>
        </p:txBody>
      </p:sp>
      <p:grpSp>
        <p:nvGrpSpPr>
          <p:cNvPr id="2" name="Group 1"/>
          <p:cNvGrpSpPr/>
          <p:nvPr/>
        </p:nvGrpSpPr>
        <p:grpSpPr>
          <a:xfrm>
            <a:off x="989450" y="1452678"/>
            <a:ext cx="7165101" cy="4452705"/>
            <a:chOff x="290513" y="1031875"/>
            <a:chExt cx="8424862" cy="5235575"/>
          </a:xfrm>
        </p:grpSpPr>
        <p:grpSp>
          <p:nvGrpSpPr>
            <p:cNvPr id="14" name="Gruppe 172"/>
            <p:cNvGrpSpPr/>
            <p:nvPr/>
          </p:nvGrpSpPr>
          <p:grpSpPr>
            <a:xfrm>
              <a:off x="6249238" y="2349500"/>
              <a:ext cx="1408862" cy="2647950"/>
              <a:chOff x="7105968" y="2559685"/>
              <a:chExt cx="773112" cy="1366838"/>
            </a:xfrm>
            <a:gradFill flip="none" rotWithShape="1">
              <a:gsLst>
                <a:gs pos="0">
                  <a:srgbClr val="D7D8D9">
                    <a:lumMod val="50000"/>
                    <a:shade val="30000"/>
                    <a:satMod val="115000"/>
                  </a:srgbClr>
                </a:gs>
                <a:gs pos="50000">
                  <a:srgbClr val="D7D8D9">
                    <a:lumMod val="50000"/>
                    <a:shade val="67500"/>
                    <a:satMod val="115000"/>
                  </a:srgbClr>
                </a:gs>
                <a:gs pos="100000">
                  <a:srgbClr val="D7D8D9">
                    <a:lumMod val="50000"/>
                    <a:shade val="100000"/>
                    <a:satMod val="115000"/>
                  </a:srgbClr>
                </a:gs>
              </a:gsLst>
              <a:lin ang="10800000" scaled="1"/>
              <a:tileRect/>
            </a:gradFill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grpSpPr>
          <p:sp>
            <p:nvSpPr>
              <p:cNvPr id="15" name="Freeform 6"/>
              <p:cNvSpPr>
                <a:spLocks/>
              </p:cNvSpPr>
              <p:nvPr/>
            </p:nvSpPr>
            <p:spPr bwMode="auto">
              <a:xfrm>
                <a:off x="7315200" y="2669223"/>
                <a:ext cx="352425" cy="1159827"/>
              </a:xfrm>
              <a:custGeom>
                <a:avLst/>
                <a:gdLst/>
                <a:ahLst/>
                <a:cxnLst>
                  <a:cxn ang="0">
                    <a:pos x="372" y="5835"/>
                  </a:cxn>
                  <a:cxn ang="0">
                    <a:pos x="373" y="0"/>
                  </a:cxn>
                  <a:cxn ang="0">
                    <a:pos x="0" y="0"/>
                  </a:cxn>
                  <a:cxn ang="0">
                    <a:pos x="0" y="5835"/>
                  </a:cxn>
                  <a:cxn ang="0">
                    <a:pos x="372" y="5835"/>
                  </a:cxn>
                </a:cxnLst>
                <a:rect l="0" t="0" r="r" b="b"/>
                <a:pathLst>
                  <a:path w="373" h="5835">
                    <a:moveTo>
                      <a:pt x="372" y="5835"/>
                    </a:moveTo>
                    <a:lnTo>
                      <a:pt x="373" y="0"/>
                    </a:lnTo>
                    <a:lnTo>
                      <a:pt x="0" y="0"/>
                    </a:lnTo>
                    <a:lnTo>
                      <a:pt x="0" y="5835"/>
                    </a:lnTo>
                    <a:lnTo>
                      <a:pt x="372" y="5835"/>
                    </a:lnTo>
                    <a:close/>
                  </a:path>
                </a:pathLst>
              </a:custGeom>
              <a:gradFill flip="none" rotWithShape="1">
                <a:gsLst>
                  <a:gs pos="69000">
                    <a:sysClr val="window" lastClr="FFFFFF">
                      <a:lumMod val="95000"/>
                    </a:sysClr>
                  </a:gs>
                  <a:gs pos="37000">
                    <a:sysClr val="window" lastClr="FFFFFF">
                      <a:lumMod val="85000"/>
                    </a:sysClr>
                  </a:gs>
                  <a:gs pos="0">
                    <a:sysClr val="window" lastClr="FFFFFF">
                      <a:lumMod val="75000"/>
                    </a:sysClr>
                  </a:gs>
                </a:gsLst>
                <a:lin ang="10800000" scaled="1"/>
                <a:tileRect/>
              </a:gradFill>
              <a:ln w="25400" cap="flat" cmpd="sng" algn="ctr">
                <a:noFill/>
                <a:prstDash val="solid"/>
              </a:ln>
              <a:effectLst/>
            </p:spPr>
            <p:txBody>
              <a:bodyPr anchor="ctr"/>
              <a:lstStyle/>
              <a:p>
                <a:pPr indent="-34290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 noProof="1">
                  <a:solidFill>
                    <a:sysClr val="window" lastClr="FFFFFF"/>
                  </a:solidFill>
                  <a:latin typeface="Calibri"/>
                  <a:cs typeface="+mn-cs"/>
                </a:endParaRPr>
              </a:p>
            </p:txBody>
          </p:sp>
          <p:sp>
            <p:nvSpPr>
              <p:cNvPr id="16" name="Rectangle 8"/>
              <p:cNvSpPr>
                <a:spLocks noChangeArrowheads="1"/>
              </p:cNvSpPr>
              <p:nvPr/>
            </p:nvSpPr>
            <p:spPr bwMode="auto">
              <a:xfrm>
                <a:off x="7194868" y="2623185"/>
                <a:ext cx="593725" cy="33338"/>
              </a:xfrm>
              <a:prstGeom prst="rect">
                <a:avLst/>
              </a:prstGeom>
              <a:gradFill flip="none" rotWithShape="1">
                <a:gsLst>
                  <a:gs pos="69000">
                    <a:sysClr val="window" lastClr="FFFFFF">
                      <a:lumMod val="95000"/>
                    </a:sysClr>
                  </a:gs>
                  <a:gs pos="37000">
                    <a:sysClr val="window" lastClr="FFFFFF">
                      <a:lumMod val="85000"/>
                    </a:sysClr>
                  </a:gs>
                  <a:gs pos="0">
                    <a:sysClr val="window" lastClr="FFFFFF">
                      <a:lumMod val="75000"/>
                    </a:sysClr>
                  </a:gs>
                </a:gsLst>
                <a:lin ang="10800000" scaled="1"/>
                <a:tileRect/>
              </a:gradFill>
              <a:ln w="25400" cap="flat" cmpd="sng" algn="ctr">
                <a:noFill/>
                <a:prstDash val="solid"/>
              </a:ln>
              <a:effectLst/>
            </p:spPr>
            <p:txBody>
              <a:bodyPr anchor="ctr"/>
              <a:lstStyle/>
              <a:p>
                <a:pPr indent="-34290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 noProof="1">
                  <a:solidFill>
                    <a:sysClr val="window" lastClr="FFFFFF"/>
                  </a:solidFill>
                  <a:latin typeface="Calibri"/>
                  <a:cs typeface="+mn-cs"/>
                </a:endParaRPr>
              </a:p>
            </p:txBody>
          </p:sp>
          <p:sp>
            <p:nvSpPr>
              <p:cNvPr id="17" name="Rectangle 11"/>
              <p:cNvSpPr>
                <a:spLocks noChangeArrowheads="1"/>
              </p:cNvSpPr>
              <p:nvPr/>
            </p:nvSpPr>
            <p:spPr bwMode="auto">
              <a:xfrm>
                <a:off x="7109143" y="2559685"/>
                <a:ext cx="769937" cy="53975"/>
              </a:xfrm>
              <a:prstGeom prst="rect">
                <a:avLst/>
              </a:prstGeom>
              <a:gradFill flip="none" rotWithShape="1">
                <a:gsLst>
                  <a:gs pos="69000">
                    <a:sysClr val="window" lastClr="FFFFFF">
                      <a:lumMod val="95000"/>
                    </a:sysClr>
                  </a:gs>
                  <a:gs pos="37000">
                    <a:sysClr val="window" lastClr="FFFFFF">
                      <a:lumMod val="85000"/>
                    </a:sysClr>
                  </a:gs>
                  <a:gs pos="0">
                    <a:sysClr val="window" lastClr="FFFFFF">
                      <a:lumMod val="75000"/>
                    </a:sysClr>
                  </a:gs>
                </a:gsLst>
                <a:lin ang="10800000" scaled="1"/>
                <a:tileRect/>
              </a:gradFill>
              <a:ln w="25400" cap="flat" cmpd="sng" algn="ctr">
                <a:noFill/>
                <a:prstDash val="solid"/>
              </a:ln>
              <a:effectLst/>
            </p:spPr>
            <p:txBody>
              <a:bodyPr anchor="ctr"/>
              <a:lstStyle/>
              <a:p>
                <a:pPr indent="-34290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 noProof="1">
                  <a:solidFill>
                    <a:sysClr val="window" lastClr="FFFFFF"/>
                  </a:solidFill>
                  <a:latin typeface="Calibri"/>
                  <a:cs typeface="+mn-cs"/>
                </a:endParaRPr>
              </a:p>
            </p:txBody>
          </p:sp>
          <p:sp>
            <p:nvSpPr>
              <p:cNvPr id="18" name="Rectangle 30"/>
              <p:cNvSpPr>
                <a:spLocks noChangeArrowheads="1"/>
              </p:cNvSpPr>
              <p:nvPr/>
            </p:nvSpPr>
            <p:spPr bwMode="auto">
              <a:xfrm>
                <a:off x="7209155" y="2637473"/>
                <a:ext cx="566737" cy="12700"/>
              </a:xfrm>
              <a:prstGeom prst="rect">
                <a:avLst/>
              </a:prstGeom>
              <a:gradFill flip="none" rotWithShape="1">
                <a:gsLst>
                  <a:gs pos="69000">
                    <a:sysClr val="window" lastClr="FFFFFF">
                      <a:lumMod val="95000"/>
                    </a:sysClr>
                  </a:gs>
                  <a:gs pos="37000">
                    <a:sysClr val="window" lastClr="FFFFFF">
                      <a:lumMod val="85000"/>
                    </a:sysClr>
                  </a:gs>
                  <a:gs pos="0">
                    <a:sysClr val="window" lastClr="FFFFFF">
                      <a:lumMod val="75000"/>
                    </a:sysClr>
                  </a:gs>
                </a:gsLst>
                <a:lin ang="10800000" scaled="1"/>
                <a:tileRect/>
              </a:gradFill>
              <a:ln w="25400" cap="flat" cmpd="sng" algn="ctr">
                <a:noFill/>
                <a:prstDash val="solid"/>
              </a:ln>
              <a:effectLst/>
            </p:spPr>
            <p:txBody>
              <a:bodyPr anchor="ctr"/>
              <a:lstStyle/>
              <a:p>
                <a:pPr indent="-34290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 noProof="1">
                  <a:solidFill>
                    <a:sysClr val="window" lastClr="FFFFFF"/>
                  </a:solidFill>
                  <a:latin typeface="Calibri"/>
                  <a:cs typeface="+mn-cs"/>
                </a:endParaRPr>
              </a:p>
            </p:txBody>
          </p:sp>
          <p:sp>
            <p:nvSpPr>
              <p:cNvPr id="19" name="Rectangle 31"/>
              <p:cNvSpPr>
                <a:spLocks noChangeArrowheads="1"/>
              </p:cNvSpPr>
              <p:nvPr/>
            </p:nvSpPr>
            <p:spPr bwMode="auto">
              <a:xfrm>
                <a:off x="7126605" y="2577148"/>
                <a:ext cx="736600" cy="26988"/>
              </a:xfrm>
              <a:prstGeom prst="rect">
                <a:avLst/>
              </a:prstGeom>
              <a:gradFill flip="none" rotWithShape="1">
                <a:gsLst>
                  <a:gs pos="69000">
                    <a:sysClr val="window" lastClr="FFFFFF">
                      <a:lumMod val="95000"/>
                    </a:sysClr>
                  </a:gs>
                  <a:gs pos="37000">
                    <a:sysClr val="window" lastClr="FFFFFF">
                      <a:lumMod val="85000"/>
                    </a:sysClr>
                  </a:gs>
                  <a:gs pos="0">
                    <a:sysClr val="window" lastClr="FFFFFF">
                      <a:lumMod val="75000"/>
                    </a:sysClr>
                  </a:gs>
                </a:gsLst>
                <a:lin ang="10800000" scaled="1"/>
                <a:tileRect/>
              </a:gradFill>
              <a:ln w="25400" cap="flat" cmpd="sng" algn="ctr">
                <a:noFill/>
                <a:prstDash val="solid"/>
              </a:ln>
              <a:effectLst/>
            </p:spPr>
            <p:txBody>
              <a:bodyPr anchor="ctr"/>
              <a:lstStyle/>
              <a:p>
                <a:pPr indent="-34290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 noProof="1">
                  <a:solidFill>
                    <a:sysClr val="window" lastClr="FFFFFF"/>
                  </a:solidFill>
                  <a:latin typeface="Calibri"/>
                  <a:cs typeface="+mn-cs"/>
                </a:endParaRPr>
              </a:p>
            </p:txBody>
          </p:sp>
          <p:sp>
            <p:nvSpPr>
              <p:cNvPr id="20" name="Rectangle 36"/>
              <p:cNvSpPr>
                <a:spLocks noChangeArrowheads="1"/>
              </p:cNvSpPr>
              <p:nvPr/>
            </p:nvSpPr>
            <p:spPr bwMode="auto">
              <a:xfrm>
                <a:off x="7196455" y="3829685"/>
                <a:ext cx="593725" cy="33338"/>
              </a:xfrm>
              <a:prstGeom prst="rect">
                <a:avLst/>
              </a:prstGeom>
              <a:gradFill flip="none" rotWithShape="1">
                <a:gsLst>
                  <a:gs pos="69000">
                    <a:sysClr val="window" lastClr="FFFFFF">
                      <a:lumMod val="95000"/>
                    </a:sysClr>
                  </a:gs>
                  <a:gs pos="37000">
                    <a:sysClr val="window" lastClr="FFFFFF">
                      <a:lumMod val="85000"/>
                    </a:sysClr>
                  </a:gs>
                  <a:gs pos="0">
                    <a:sysClr val="window" lastClr="FFFFFF">
                      <a:lumMod val="75000"/>
                    </a:sysClr>
                  </a:gs>
                </a:gsLst>
                <a:lin ang="10800000" scaled="1"/>
                <a:tileRect/>
              </a:gradFill>
              <a:ln w="25400" cap="flat" cmpd="sng" algn="ctr">
                <a:noFill/>
                <a:prstDash val="solid"/>
              </a:ln>
              <a:effectLst/>
            </p:spPr>
            <p:txBody>
              <a:bodyPr anchor="ctr"/>
              <a:lstStyle/>
              <a:p>
                <a:pPr indent="-34290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 noProof="1">
                  <a:solidFill>
                    <a:sysClr val="window" lastClr="FFFFFF"/>
                  </a:solidFill>
                  <a:latin typeface="Calibri"/>
                  <a:cs typeface="+mn-cs"/>
                </a:endParaRPr>
              </a:p>
            </p:txBody>
          </p:sp>
          <p:sp>
            <p:nvSpPr>
              <p:cNvPr id="21" name="Rectangle 37"/>
              <p:cNvSpPr>
                <a:spLocks noChangeArrowheads="1"/>
              </p:cNvSpPr>
              <p:nvPr/>
            </p:nvSpPr>
            <p:spPr bwMode="auto">
              <a:xfrm>
                <a:off x="7105968" y="3872548"/>
                <a:ext cx="771525" cy="53975"/>
              </a:xfrm>
              <a:prstGeom prst="rect">
                <a:avLst/>
              </a:prstGeom>
              <a:gradFill flip="none" rotWithShape="1">
                <a:gsLst>
                  <a:gs pos="69000">
                    <a:sysClr val="window" lastClr="FFFFFF">
                      <a:lumMod val="95000"/>
                    </a:sysClr>
                  </a:gs>
                  <a:gs pos="37000">
                    <a:sysClr val="window" lastClr="FFFFFF">
                      <a:lumMod val="85000"/>
                    </a:sysClr>
                  </a:gs>
                  <a:gs pos="0">
                    <a:sysClr val="window" lastClr="FFFFFF">
                      <a:lumMod val="75000"/>
                    </a:sysClr>
                  </a:gs>
                </a:gsLst>
                <a:lin ang="10800000" scaled="1"/>
                <a:tileRect/>
              </a:gradFill>
              <a:ln w="25400" cap="flat" cmpd="sng" algn="ctr">
                <a:noFill/>
                <a:prstDash val="solid"/>
              </a:ln>
              <a:effectLst/>
            </p:spPr>
            <p:txBody>
              <a:bodyPr anchor="ctr"/>
              <a:lstStyle/>
              <a:p>
                <a:pPr indent="-34290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 noProof="1">
                  <a:solidFill>
                    <a:sysClr val="window" lastClr="FFFFFF"/>
                  </a:solidFill>
                  <a:latin typeface="Calibri"/>
                  <a:cs typeface="+mn-cs"/>
                </a:endParaRPr>
              </a:p>
            </p:txBody>
          </p:sp>
          <p:sp>
            <p:nvSpPr>
              <p:cNvPr id="22" name="Rectangle 45"/>
              <p:cNvSpPr>
                <a:spLocks noChangeArrowheads="1"/>
              </p:cNvSpPr>
              <p:nvPr/>
            </p:nvSpPr>
            <p:spPr bwMode="auto">
              <a:xfrm>
                <a:off x="7209155" y="3837623"/>
                <a:ext cx="566737" cy="11113"/>
              </a:xfrm>
              <a:prstGeom prst="rect">
                <a:avLst/>
              </a:prstGeom>
              <a:gradFill flip="none" rotWithShape="1">
                <a:gsLst>
                  <a:gs pos="69000">
                    <a:sysClr val="window" lastClr="FFFFFF">
                      <a:lumMod val="95000"/>
                    </a:sysClr>
                  </a:gs>
                  <a:gs pos="37000">
                    <a:sysClr val="window" lastClr="FFFFFF">
                      <a:lumMod val="85000"/>
                    </a:sysClr>
                  </a:gs>
                  <a:gs pos="0">
                    <a:sysClr val="window" lastClr="FFFFFF">
                      <a:lumMod val="75000"/>
                    </a:sysClr>
                  </a:gs>
                </a:gsLst>
                <a:lin ang="10800000" scaled="1"/>
                <a:tileRect/>
              </a:gradFill>
              <a:ln w="25400" cap="flat" cmpd="sng" algn="ctr">
                <a:noFill/>
                <a:prstDash val="solid"/>
              </a:ln>
              <a:effectLst/>
            </p:spPr>
            <p:txBody>
              <a:bodyPr anchor="ctr"/>
              <a:lstStyle/>
              <a:p>
                <a:pPr indent="-34290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 noProof="1">
                  <a:solidFill>
                    <a:sysClr val="window" lastClr="FFFFFF"/>
                  </a:solidFill>
                  <a:latin typeface="Calibri"/>
                  <a:cs typeface="+mn-cs"/>
                </a:endParaRPr>
              </a:p>
            </p:txBody>
          </p:sp>
          <p:sp>
            <p:nvSpPr>
              <p:cNvPr id="23" name="Rectangle 46"/>
              <p:cNvSpPr>
                <a:spLocks noChangeArrowheads="1"/>
              </p:cNvSpPr>
              <p:nvPr/>
            </p:nvSpPr>
            <p:spPr bwMode="auto">
              <a:xfrm>
                <a:off x="7121843" y="3882073"/>
                <a:ext cx="736600" cy="26988"/>
              </a:xfrm>
              <a:prstGeom prst="rect">
                <a:avLst/>
              </a:prstGeom>
              <a:gradFill flip="none" rotWithShape="1">
                <a:gsLst>
                  <a:gs pos="69000">
                    <a:sysClr val="window" lastClr="FFFFFF">
                      <a:lumMod val="95000"/>
                    </a:sysClr>
                  </a:gs>
                  <a:gs pos="37000">
                    <a:sysClr val="window" lastClr="FFFFFF">
                      <a:lumMod val="85000"/>
                    </a:sysClr>
                  </a:gs>
                  <a:gs pos="0">
                    <a:sysClr val="window" lastClr="FFFFFF">
                      <a:lumMod val="75000"/>
                    </a:sysClr>
                  </a:gs>
                </a:gsLst>
                <a:lin ang="10800000" scaled="1"/>
                <a:tileRect/>
              </a:gradFill>
              <a:ln w="25400" cap="flat" cmpd="sng" algn="ctr">
                <a:noFill/>
                <a:prstDash val="solid"/>
              </a:ln>
              <a:effectLst/>
            </p:spPr>
            <p:txBody>
              <a:bodyPr anchor="ctr"/>
              <a:lstStyle/>
              <a:p>
                <a:pPr indent="-34290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 noProof="1">
                  <a:solidFill>
                    <a:sysClr val="window" lastClr="FFFFFF"/>
                  </a:solidFill>
                  <a:latin typeface="Calibri"/>
                  <a:cs typeface="+mn-cs"/>
                </a:endParaRPr>
              </a:p>
            </p:txBody>
          </p:sp>
        </p:grpSp>
        <p:grpSp>
          <p:nvGrpSpPr>
            <p:cNvPr id="24" name="Gruppe 172"/>
            <p:cNvGrpSpPr/>
            <p:nvPr/>
          </p:nvGrpSpPr>
          <p:grpSpPr>
            <a:xfrm>
              <a:off x="4661738" y="2349500"/>
              <a:ext cx="1408862" cy="2647950"/>
              <a:chOff x="7105968" y="2559685"/>
              <a:chExt cx="773112" cy="1366838"/>
            </a:xfrm>
            <a:gradFill flip="none" rotWithShape="1">
              <a:gsLst>
                <a:gs pos="0">
                  <a:srgbClr val="D7D8D9">
                    <a:lumMod val="50000"/>
                    <a:shade val="30000"/>
                    <a:satMod val="115000"/>
                  </a:srgbClr>
                </a:gs>
                <a:gs pos="50000">
                  <a:srgbClr val="D7D8D9">
                    <a:lumMod val="50000"/>
                    <a:shade val="67500"/>
                    <a:satMod val="115000"/>
                  </a:srgbClr>
                </a:gs>
                <a:gs pos="100000">
                  <a:srgbClr val="D7D8D9">
                    <a:lumMod val="50000"/>
                    <a:shade val="100000"/>
                    <a:satMod val="115000"/>
                  </a:srgbClr>
                </a:gs>
              </a:gsLst>
              <a:lin ang="10800000" scaled="1"/>
              <a:tileRect/>
            </a:gradFill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grpSpPr>
          <p:sp>
            <p:nvSpPr>
              <p:cNvPr id="25" name="Freeform 6"/>
              <p:cNvSpPr>
                <a:spLocks/>
              </p:cNvSpPr>
              <p:nvPr/>
            </p:nvSpPr>
            <p:spPr bwMode="auto">
              <a:xfrm>
                <a:off x="7315200" y="2669223"/>
                <a:ext cx="352425" cy="1159827"/>
              </a:xfrm>
              <a:custGeom>
                <a:avLst/>
                <a:gdLst/>
                <a:ahLst/>
                <a:cxnLst>
                  <a:cxn ang="0">
                    <a:pos x="372" y="5835"/>
                  </a:cxn>
                  <a:cxn ang="0">
                    <a:pos x="373" y="0"/>
                  </a:cxn>
                  <a:cxn ang="0">
                    <a:pos x="0" y="0"/>
                  </a:cxn>
                  <a:cxn ang="0">
                    <a:pos x="0" y="5835"/>
                  </a:cxn>
                  <a:cxn ang="0">
                    <a:pos x="372" y="5835"/>
                  </a:cxn>
                </a:cxnLst>
                <a:rect l="0" t="0" r="r" b="b"/>
                <a:pathLst>
                  <a:path w="373" h="5835">
                    <a:moveTo>
                      <a:pt x="372" y="5835"/>
                    </a:moveTo>
                    <a:lnTo>
                      <a:pt x="373" y="0"/>
                    </a:lnTo>
                    <a:lnTo>
                      <a:pt x="0" y="0"/>
                    </a:lnTo>
                    <a:lnTo>
                      <a:pt x="0" y="5835"/>
                    </a:lnTo>
                    <a:lnTo>
                      <a:pt x="372" y="5835"/>
                    </a:lnTo>
                    <a:close/>
                  </a:path>
                </a:pathLst>
              </a:custGeom>
              <a:gradFill flip="none" rotWithShape="1">
                <a:gsLst>
                  <a:gs pos="69000">
                    <a:sysClr val="window" lastClr="FFFFFF">
                      <a:lumMod val="95000"/>
                    </a:sysClr>
                  </a:gs>
                  <a:gs pos="37000">
                    <a:sysClr val="window" lastClr="FFFFFF">
                      <a:lumMod val="85000"/>
                    </a:sysClr>
                  </a:gs>
                  <a:gs pos="0">
                    <a:sysClr val="window" lastClr="FFFFFF">
                      <a:lumMod val="75000"/>
                    </a:sysClr>
                  </a:gs>
                </a:gsLst>
                <a:lin ang="10800000" scaled="1"/>
                <a:tileRect/>
              </a:gradFill>
              <a:ln w="25400" cap="flat" cmpd="sng" algn="ctr">
                <a:noFill/>
                <a:prstDash val="solid"/>
              </a:ln>
              <a:effectLst/>
            </p:spPr>
            <p:txBody>
              <a:bodyPr anchor="ctr"/>
              <a:lstStyle/>
              <a:p>
                <a:pPr indent="-34290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 noProof="1">
                  <a:solidFill>
                    <a:sysClr val="window" lastClr="FFFFFF"/>
                  </a:solidFill>
                  <a:latin typeface="Calibri"/>
                  <a:cs typeface="+mn-cs"/>
                </a:endParaRPr>
              </a:p>
            </p:txBody>
          </p:sp>
          <p:sp>
            <p:nvSpPr>
              <p:cNvPr id="26" name="Rectangle 8"/>
              <p:cNvSpPr>
                <a:spLocks noChangeArrowheads="1"/>
              </p:cNvSpPr>
              <p:nvPr/>
            </p:nvSpPr>
            <p:spPr bwMode="auto">
              <a:xfrm>
                <a:off x="7194868" y="2623185"/>
                <a:ext cx="593725" cy="33338"/>
              </a:xfrm>
              <a:prstGeom prst="rect">
                <a:avLst/>
              </a:prstGeom>
              <a:gradFill flip="none" rotWithShape="1">
                <a:gsLst>
                  <a:gs pos="69000">
                    <a:sysClr val="window" lastClr="FFFFFF">
                      <a:lumMod val="95000"/>
                    </a:sysClr>
                  </a:gs>
                  <a:gs pos="37000">
                    <a:sysClr val="window" lastClr="FFFFFF">
                      <a:lumMod val="85000"/>
                    </a:sysClr>
                  </a:gs>
                  <a:gs pos="0">
                    <a:sysClr val="window" lastClr="FFFFFF">
                      <a:lumMod val="75000"/>
                    </a:sysClr>
                  </a:gs>
                </a:gsLst>
                <a:lin ang="10800000" scaled="1"/>
                <a:tileRect/>
              </a:gradFill>
              <a:ln w="25400" cap="flat" cmpd="sng" algn="ctr">
                <a:noFill/>
                <a:prstDash val="solid"/>
              </a:ln>
              <a:effectLst/>
            </p:spPr>
            <p:txBody>
              <a:bodyPr anchor="ctr"/>
              <a:lstStyle/>
              <a:p>
                <a:pPr indent="-34290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 noProof="1">
                  <a:solidFill>
                    <a:sysClr val="window" lastClr="FFFFFF"/>
                  </a:solidFill>
                  <a:latin typeface="Calibri"/>
                  <a:cs typeface="+mn-cs"/>
                </a:endParaRPr>
              </a:p>
            </p:txBody>
          </p:sp>
          <p:sp>
            <p:nvSpPr>
              <p:cNvPr id="27" name="Rectangle 11"/>
              <p:cNvSpPr>
                <a:spLocks noChangeArrowheads="1"/>
              </p:cNvSpPr>
              <p:nvPr/>
            </p:nvSpPr>
            <p:spPr bwMode="auto">
              <a:xfrm>
                <a:off x="7109143" y="2559685"/>
                <a:ext cx="769937" cy="53975"/>
              </a:xfrm>
              <a:prstGeom prst="rect">
                <a:avLst/>
              </a:prstGeom>
              <a:gradFill flip="none" rotWithShape="1">
                <a:gsLst>
                  <a:gs pos="69000">
                    <a:sysClr val="window" lastClr="FFFFFF">
                      <a:lumMod val="95000"/>
                    </a:sysClr>
                  </a:gs>
                  <a:gs pos="37000">
                    <a:sysClr val="window" lastClr="FFFFFF">
                      <a:lumMod val="85000"/>
                    </a:sysClr>
                  </a:gs>
                  <a:gs pos="0">
                    <a:sysClr val="window" lastClr="FFFFFF">
                      <a:lumMod val="75000"/>
                    </a:sysClr>
                  </a:gs>
                </a:gsLst>
                <a:lin ang="10800000" scaled="1"/>
                <a:tileRect/>
              </a:gradFill>
              <a:ln w="25400" cap="flat" cmpd="sng" algn="ctr">
                <a:noFill/>
                <a:prstDash val="solid"/>
              </a:ln>
              <a:effectLst/>
            </p:spPr>
            <p:txBody>
              <a:bodyPr anchor="ctr"/>
              <a:lstStyle/>
              <a:p>
                <a:pPr indent="-34290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 noProof="1">
                  <a:solidFill>
                    <a:sysClr val="window" lastClr="FFFFFF"/>
                  </a:solidFill>
                  <a:latin typeface="Calibri"/>
                  <a:cs typeface="+mn-cs"/>
                </a:endParaRPr>
              </a:p>
            </p:txBody>
          </p:sp>
          <p:sp>
            <p:nvSpPr>
              <p:cNvPr id="28" name="Rectangle 30"/>
              <p:cNvSpPr>
                <a:spLocks noChangeArrowheads="1"/>
              </p:cNvSpPr>
              <p:nvPr/>
            </p:nvSpPr>
            <p:spPr bwMode="auto">
              <a:xfrm>
                <a:off x="7209155" y="2637473"/>
                <a:ext cx="566737" cy="12700"/>
              </a:xfrm>
              <a:prstGeom prst="rect">
                <a:avLst/>
              </a:prstGeom>
              <a:gradFill flip="none" rotWithShape="1">
                <a:gsLst>
                  <a:gs pos="69000">
                    <a:sysClr val="window" lastClr="FFFFFF">
                      <a:lumMod val="95000"/>
                    </a:sysClr>
                  </a:gs>
                  <a:gs pos="37000">
                    <a:sysClr val="window" lastClr="FFFFFF">
                      <a:lumMod val="85000"/>
                    </a:sysClr>
                  </a:gs>
                  <a:gs pos="0">
                    <a:sysClr val="window" lastClr="FFFFFF">
                      <a:lumMod val="75000"/>
                    </a:sysClr>
                  </a:gs>
                </a:gsLst>
                <a:lin ang="10800000" scaled="1"/>
                <a:tileRect/>
              </a:gradFill>
              <a:ln w="25400" cap="flat" cmpd="sng" algn="ctr">
                <a:noFill/>
                <a:prstDash val="solid"/>
              </a:ln>
              <a:effectLst/>
            </p:spPr>
            <p:txBody>
              <a:bodyPr anchor="ctr"/>
              <a:lstStyle/>
              <a:p>
                <a:pPr indent="-34290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 noProof="1">
                  <a:solidFill>
                    <a:sysClr val="window" lastClr="FFFFFF"/>
                  </a:solidFill>
                  <a:latin typeface="Calibri"/>
                  <a:cs typeface="+mn-cs"/>
                </a:endParaRPr>
              </a:p>
            </p:txBody>
          </p:sp>
          <p:sp>
            <p:nvSpPr>
              <p:cNvPr id="29" name="Rectangle 31"/>
              <p:cNvSpPr>
                <a:spLocks noChangeArrowheads="1"/>
              </p:cNvSpPr>
              <p:nvPr/>
            </p:nvSpPr>
            <p:spPr bwMode="auto">
              <a:xfrm>
                <a:off x="7126605" y="2577148"/>
                <a:ext cx="736600" cy="26988"/>
              </a:xfrm>
              <a:prstGeom prst="rect">
                <a:avLst/>
              </a:prstGeom>
              <a:gradFill flip="none" rotWithShape="1">
                <a:gsLst>
                  <a:gs pos="69000">
                    <a:sysClr val="window" lastClr="FFFFFF">
                      <a:lumMod val="95000"/>
                    </a:sysClr>
                  </a:gs>
                  <a:gs pos="37000">
                    <a:sysClr val="window" lastClr="FFFFFF">
                      <a:lumMod val="85000"/>
                    </a:sysClr>
                  </a:gs>
                  <a:gs pos="0">
                    <a:sysClr val="window" lastClr="FFFFFF">
                      <a:lumMod val="75000"/>
                    </a:sysClr>
                  </a:gs>
                </a:gsLst>
                <a:lin ang="10800000" scaled="1"/>
                <a:tileRect/>
              </a:gradFill>
              <a:ln w="25400" cap="flat" cmpd="sng" algn="ctr">
                <a:noFill/>
                <a:prstDash val="solid"/>
              </a:ln>
              <a:effectLst/>
            </p:spPr>
            <p:txBody>
              <a:bodyPr anchor="ctr"/>
              <a:lstStyle/>
              <a:p>
                <a:pPr indent="-34290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 noProof="1">
                  <a:solidFill>
                    <a:sysClr val="window" lastClr="FFFFFF"/>
                  </a:solidFill>
                  <a:latin typeface="Calibri"/>
                  <a:cs typeface="+mn-cs"/>
                </a:endParaRPr>
              </a:p>
            </p:txBody>
          </p:sp>
          <p:sp>
            <p:nvSpPr>
              <p:cNvPr id="30" name="Rectangle 36"/>
              <p:cNvSpPr>
                <a:spLocks noChangeArrowheads="1"/>
              </p:cNvSpPr>
              <p:nvPr/>
            </p:nvSpPr>
            <p:spPr bwMode="auto">
              <a:xfrm>
                <a:off x="7196455" y="3829685"/>
                <a:ext cx="593725" cy="33338"/>
              </a:xfrm>
              <a:prstGeom prst="rect">
                <a:avLst/>
              </a:prstGeom>
              <a:gradFill flip="none" rotWithShape="1">
                <a:gsLst>
                  <a:gs pos="69000">
                    <a:sysClr val="window" lastClr="FFFFFF">
                      <a:lumMod val="95000"/>
                    </a:sysClr>
                  </a:gs>
                  <a:gs pos="37000">
                    <a:sysClr val="window" lastClr="FFFFFF">
                      <a:lumMod val="85000"/>
                    </a:sysClr>
                  </a:gs>
                  <a:gs pos="0">
                    <a:sysClr val="window" lastClr="FFFFFF">
                      <a:lumMod val="75000"/>
                    </a:sysClr>
                  </a:gs>
                </a:gsLst>
                <a:lin ang="10800000" scaled="1"/>
                <a:tileRect/>
              </a:gradFill>
              <a:ln w="25400" cap="flat" cmpd="sng" algn="ctr">
                <a:noFill/>
                <a:prstDash val="solid"/>
              </a:ln>
              <a:effectLst/>
            </p:spPr>
            <p:txBody>
              <a:bodyPr anchor="ctr"/>
              <a:lstStyle/>
              <a:p>
                <a:pPr indent="-34290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 noProof="1">
                  <a:solidFill>
                    <a:sysClr val="window" lastClr="FFFFFF"/>
                  </a:solidFill>
                  <a:latin typeface="Calibri"/>
                  <a:cs typeface="+mn-cs"/>
                </a:endParaRPr>
              </a:p>
            </p:txBody>
          </p:sp>
          <p:sp>
            <p:nvSpPr>
              <p:cNvPr id="31" name="Rectangle 37"/>
              <p:cNvSpPr>
                <a:spLocks noChangeArrowheads="1"/>
              </p:cNvSpPr>
              <p:nvPr/>
            </p:nvSpPr>
            <p:spPr bwMode="auto">
              <a:xfrm>
                <a:off x="7105968" y="3872548"/>
                <a:ext cx="771525" cy="53975"/>
              </a:xfrm>
              <a:prstGeom prst="rect">
                <a:avLst/>
              </a:prstGeom>
              <a:gradFill flip="none" rotWithShape="1">
                <a:gsLst>
                  <a:gs pos="69000">
                    <a:sysClr val="window" lastClr="FFFFFF">
                      <a:lumMod val="95000"/>
                    </a:sysClr>
                  </a:gs>
                  <a:gs pos="37000">
                    <a:sysClr val="window" lastClr="FFFFFF">
                      <a:lumMod val="85000"/>
                    </a:sysClr>
                  </a:gs>
                  <a:gs pos="0">
                    <a:sysClr val="window" lastClr="FFFFFF">
                      <a:lumMod val="75000"/>
                    </a:sysClr>
                  </a:gs>
                </a:gsLst>
                <a:lin ang="10800000" scaled="1"/>
                <a:tileRect/>
              </a:gradFill>
              <a:ln w="25400" cap="flat" cmpd="sng" algn="ctr">
                <a:noFill/>
                <a:prstDash val="solid"/>
              </a:ln>
              <a:effectLst/>
            </p:spPr>
            <p:txBody>
              <a:bodyPr anchor="ctr"/>
              <a:lstStyle/>
              <a:p>
                <a:pPr indent="-34290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 noProof="1">
                  <a:solidFill>
                    <a:sysClr val="window" lastClr="FFFFFF"/>
                  </a:solidFill>
                  <a:latin typeface="Calibri"/>
                  <a:cs typeface="+mn-cs"/>
                </a:endParaRPr>
              </a:p>
            </p:txBody>
          </p:sp>
          <p:sp>
            <p:nvSpPr>
              <p:cNvPr id="32" name="Rectangle 45"/>
              <p:cNvSpPr>
                <a:spLocks noChangeArrowheads="1"/>
              </p:cNvSpPr>
              <p:nvPr/>
            </p:nvSpPr>
            <p:spPr bwMode="auto">
              <a:xfrm>
                <a:off x="7209155" y="3837623"/>
                <a:ext cx="566737" cy="11113"/>
              </a:xfrm>
              <a:prstGeom prst="rect">
                <a:avLst/>
              </a:prstGeom>
              <a:gradFill flip="none" rotWithShape="1">
                <a:gsLst>
                  <a:gs pos="69000">
                    <a:sysClr val="window" lastClr="FFFFFF">
                      <a:lumMod val="95000"/>
                    </a:sysClr>
                  </a:gs>
                  <a:gs pos="37000">
                    <a:sysClr val="window" lastClr="FFFFFF">
                      <a:lumMod val="85000"/>
                    </a:sysClr>
                  </a:gs>
                  <a:gs pos="0">
                    <a:sysClr val="window" lastClr="FFFFFF">
                      <a:lumMod val="75000"/>
                    </a:sysClr>
                  </a:gs>
                </a:gsLst>
                <a:lin ang="10800000" scaled="1"/>
                <a:tileRect/>
              </a:gradFill>
              <a:ln w="25400" cap="flat" cmpd="sng" algn="ctr">
                <a:noFill/>
                <a:prstDash val="solid"/>
              </a:ln>
              <a:effectLst/>
            </p:spPr>
            <p:txBody>
              <a:bodyPr anchor="ctr"/>
              <a:lstStyle/>
              <a:p>
                <a:pPr indent="-34290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 noProof="1">
                  <a:solidFill>
                    <a:sysClr val="window" lastClr="FFFFFF"/>
                  </a:solidFill>
                  <a:latin typeface="Calibri"/>
                  <a:cs typeface="+mn-cs"/>
                </a:endParaRPr>
              </a:p>
            </p:txBody>
          </p:sp>
          <p:sp>
            <p:nvSpPr>
              <p:cNvPr id="33" name="Rectangle 46"/>
              <p:cNvSpPr>
                <a:spLocks noChangeArrowheads="1"/>
              </p:cNvSpPr>
              <p:nvPr/>
            </p:nvSpPr>
            <p:spPr bwMode="auto">
              <a:xfrm>
                <a:off x="7121843" y="3882073"/>
                <a:ext cx="736600" cy="26988"/>
              </a:xfrm>
              <a:prstGeom prst="rect">
                <a:avLst/>
              </a:prstGeom>
              <a:gradFill flip="none" rotWithShape="1">
                <a:gsLst>
                  <a:gs pos="69000">
                    <a:sysClr val="window" lastClr="FFFFFF">
                      <a:lumMod val="95000"/>
                    </a:sysClr>
                  </a:gs>
                  <a:gs pos="37000">
                    <a:sysClr val="window" lastClr="FFFFFF">
                      <a:lumMod val="85000"/>
                    </a:sysClr>
                  </a:gs>
                  <a:gs pos="0">
                    <a:sysClr val="window" lastClr="FFFFFF">
                      <a:lumMod val="75000"/>
                    </a:sysClr>
                  </a:gs>
                </a:gsLst>
                <a:lin ang="10800000" scaled="1"/>
                <a:tileRect/>
              </a:gradFill>
              <a:ln w="25400" cap="flat" cmpd="sng" algn="ctr">
                <a:noFill/>
                <a:prstDash val="solid"/>
              </a:ln>
              <a:effectLst/>
            </p:spPr>
            <p:txBody>
              <a:bodyPr anchor="ctr"/>
              <a:lstStyle/>
              <a:p>
                <a:pPr indent="-34290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 noProof="1">
                  <a:solidFill>
                    <a:sysClr val="window" lastClr="FFFFFF"/>
                  </a:solidFill>
                  <a:latin typeface="Calibri"/>
                  <a:cs typeface="+mn-cs"/>
                </a:endParaRPr>
              </a:p>
            </p:txBody>
          </p:sp>
        </p:grpSp>
        <p:grpSp>
          <p:nvGrpSpPr>
            <p:cNvPr id="34" name="Gruppe 172"/>
            <p:cNvGrpSpPr/>
            <p:nvPr/>
          </p:nvGrpSpPr>
          <p:grpSpPr>
            <a:xfrm>
              <a:off x="2959938" y="2349500"/>
              <a:ext cx="1408862" cy="2647950"/>
              <a:chOff x="7105968" y="2559685"/>
              <a:chExt cx="773112" cy="1366838"/>
            </a:xfrm>
            <a:gradFill flip="none" rotWithShape="1">
              <a:gsLst>
                <a:gs pos="0">
                  <a:srgbClr val="D7D8D9">
                    <a:lumMod val="50000"/>
                    <a:shade val="30000"/>
                    <a:satMod val="115000"/>
                  </a:srgbClr>
                </a:gs>
                <a:gs pos="50000">
                  <a:srgbClr val="D7D8D9">
                    <a:lumMod val="50000"/>
                    <a:shade val="67500"/>
                    <a:satMod val="115000"/>
                  </a:srgbClr>
                </a:gs>
                <a:gs pos="100000">
                  <a:srgbClr val="D7D8D9">
                    <a:lumMod val="50000"/>
                    <a:shade val="100000"/>
                    <a:satMod val="115000"/>
                  </a:srgbClr>
                </a:gs>
              </a:gsLst>
              <a:lin ang="10800000" scaled="1"/>
              <a:tileRect/>
            </a:gradFill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grpSpPr>
          <p:sp>
            <p:nvSpPr>
              <p:cNvPr id="35" name="Freeform 6"/>
              <p:cNvSpPr>
                <a:spLocks/>
              </p:cNvSpPr>
              <p:nvPr/>
            </p:nvSpPr>
            <p:spPr bwMode="auto">
              <a:xfrm>
                <a:off x="7315200" y="2669223"/>
                <a:ext cx="352425" cy="1159827"/>
              </a:xfrm>
              <a:custGeom>
                <a:avLst/>
                <a:gdLst/>
                <a:ahLst/>
                <a:cxnLst>
                  <a:cxn ang="0">
                    <a:pos x="372" y="5835"/>
                  </a:cxn>
                  <a:cxn ang="0">
                    <a:pos x="373" y="0"/>
                  </a:cxn>
                  <a:cxn ang="0">
                    <a:pos x="0" y="0"/>
                  </a:cxn>
                  <a:cxn ang="0">
                    <a:pos x="0" y="5835"/>
                  </a:cxn>
                  <a:cxn ang="0">
                    <a:pos x="372" y="5835"/>
                  </a:cxn>
                </a:cxnLst>
                <a:rect l="0" t="0" r="r" b="b"/>
                <a:pathLst>
                  <a:path w="373" h="5835">
                    <a:moveTo>
                      <a:pt x="372" y="5835"/>
                    </a:moveTo>
                    <a:lnTo>
                      <a:pt x="373" y="0"/>
                    </a:lnTo>
                    <a:lnTo>
                      <a:pt x="0" y="0"/>
                    </a:lnTo>
                    <a:lnTo>
                      <a:pt x="0" y="5835"/>
                    </a:lnTo>
                    <a:lnTo>
                      <a:pt x="372" y="5835"/>
                    </a:lnTo>
                    <a:close/>
                  </a:path>
                </a:pathLst>
              </a:custGeom>
              <a:gradFill flip="none" rotWithShape="1">
                <a:gsLst>
                  <a:gs pos="69000">
                    <a:sysClr val="window" lastClr="FFFFFF">
                      <a:lumMod val="95000"/>
                    </a:sysClr>
                  </a:gs>
                  <a:gs pos="37000">
                    <a:sysClr val="window" lastClr="FFFFFF">
                      <a:lumMod val="85000"/>
                    </a:sysClr>
                  </a:gs>
                  <a:gs pos="0">
                    <a:sysClr val="window" lastClr="FFFFFF">
                      <a:lumMod val="75000"/>
                    </a:sysClr>
                  </a:gs>
                </a:gsLst>
                <a:lin ang="10800000" scaled="1"/>
                <a:tileRect/>
              </a:gradFill>
              <a:ln w="25400" cap="flat" cmpd="sng" algn="ctr">
                <a:noFill/>
                <a:prstDash val="solid"/>
              </a:ln>
              <a:effectLst/>
            </p:spPr>
            <p:txBody>
              <a:bodyPr anchor="ctr"/>
              <a:lstStyle/>
              <a:p>
                <a:pPr indent="-34290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 noProof="1">
                  <a:solidFill>
                    <a:sysClr val="window" lastClr="FFFFFF"/>
                  </a:solidFill>
                  <a:latin typeface="Calibri"/>
                  <a:cs typeface="+mn-cs"/>
                </a:endParaRPr>
              </a:p>
            </p:txBody>
          </p:sp>
          <p:sp>
            <p:nvSpPr>
              <p:cNvPr id="36" name="Rectangle 8"/>
              <p:cNvSpPr>
                <a:spLocks noChangeArrowheads="1"/>
              </p:cNvSpPr>
              <p:nvPr/>
            </p:nvSpPr>
            <p:spPr bwMode="auto">
              <a:xfrm>
                <a:off x="7194868" y="2623185"/>
                <a:ext cx="593725" cy="33338"/>
              </a:xfrm>
              <a:prstGeom prst="rect">
                <a:avLst/>
              </a:prstGeom>
              <a:gradFill flip="none" rotWithShape="1">
                <a:gsLst>
                  <a:gs pos="69000">
                    <a:sysClr val="window" lastClr="FFFFFF">
                      <a:lumMod val="95000"/>
                    </a:sysClr>
                  </a:gs>
                  <a:gs pos="37000">
                    <a:sysClr val="window" lastClr="FFFFFF">
                      <a:lumMod val="85000"/>
                    </a:sysClr>
                  </a:gs>
                  <a:gs pos="0">
                    <a:sysClr val="window" lastClr="FFFFFF">
                      <a:lumMod val="75000"/>
                    </a:sysClr>
                  </a:gs>
                </a:gsLst>
                <a:lin ang="10800000" scaled="1"/>
                <a:tileRect/>
              </a:gradFill>
              <a:ln w="25400" cap="flat" cmpd="sng" algn="ctr">
                <a:noFill/>
                <a:prstDash val="solid"/>
              </a:ln>
              <a:effectLst/>
            </p:spPr>
            <p:txBody>
              <a:bodyPr anchor="ctr"/>
              <a:lstStyle/>
              <a:p>
                <a:pPr indent="-34290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 noProof="1">
                  <a:solidFill>
                    <a:sysClr val="window" lastClr="FFFFFF"/>
                  </a:solidFill>
                  <a:latin typeface="Calibri"/>
                  <a:cs typeface="+mn-cs"/>
                </a:endParaRPr>
              </a:p>
            </p:txBody>
          </p:sp>
          <p:sp>
            <p:nvSpPr>
              <p:cNvPr id="37" name="Rectangle 11"/>
              <p:cNvSpPr>
                <a:spLocks noChangeArrowheads="1"/>
              </p:cNvSpPr>
              <p:nvPr/>
            </p:nvSpPr>
            <p:spPr bwMode="auto">
              <a:xfrm>
                <a:off x="7109143" y="2559685"/>
                <a:ext cx="769937" cy="53975"/>
              </a:xfrm>
              <a:prstGeom prst="rect">
                <a:avLst/>
              </a:prstGeom>
              <a:gradFill flip="none" rotWithShape="1">
                <a:gsLst>
                  <a:gs pos="69000">
                    <a:sysClr val="window" lastClr="FFFFFF">
                      <a:lumMod val="95000"/>
                    </a:sysClr>
                  </a:gs>
                  <a:gs pos="37000">
                    <a:sysClr val="window" lastClr="FFFFFF">
                      <a:lumMod val="85000"/>
                    </a:sysClr>
                  </a:gs>
                  <a:gs pos="0">
                    <a:sysClr val="window" lastClr="FFFFFF">
                      <a:lumMod val="75000"/>
                    </a:sysClr>
                  </a:gs>
                </a:gsLst>
                <a:lin ang="10800000" scaled="1"/>
                <a:tileRect/>
              </a:gradFill>
              <a:ln w="25400" cap="flat" cmpd="sng" algn="ctr">
                <a:noFill/>
                <a:prstDash val="solid"/>
              </a:ln>
              <a:effectLst/>
            </p:spPr>
            <p:txBody>
              <a:bodyPr anchor="ctr"/>
              <a:lstStyle/>
              <a:p>
                <a:pPr indent="-34290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 noProof="1">
                  <a:solidFill>
                    <a:sysClr val="window" lastClr="FFFFFF"/>
                  </a:solidFill>
                  <a:latin typeface="Calibri"/>
                  <a:cs typeface="+mn-cs"/>
                </a:endParaRPr>
              </a:p>
            </p:txBody>
          </p:sp>
          <p:sp>
            <p:nvSpPr>
              <p:cNvPr id="38" name="Rectangle 30"/>
              <p:cNvSpPr>
                <a:spLocks noChangeArrowheads="1"/>
              </p:cNvSpPr>
              <p:nvPr/>
            </p:nvSpPr>
            <p:spPr bwMode="auto">
              <a:xfrm>
                <a:off x="7209155" y="2637473"/>
                <a:ext cx="566737" cy="12700"/>
              </a:xfrm>
              <a:prstGeom prst="rect">
                <a:avLst/>
              </a:prstGeom>
              <a:gradFill flip="none" rotWithShape="1">
                <a:gsLst>
                  <a:gs pos="69000">
                    <a:sysClr val="window" lastClr="FFFFFF">
                      <a:lumMod val="95000"/>
                    </a:sysClr>
                  </a:gs>
                  <a:gs pos="37000">
                    <a:sysClr val="window" lastClr="FFFFFF">
                      <a:lumMod val="85000"/>
                    </a:sysClr>
                  </a:gs>
                  <a:gs pos="0">
                    <a:sysClr val="window" lastClr="FFFFFF">
                      <a:lumMod val="75000"/>
                    </a:sysClr>
                  </a:gs>
                </a:gsLst>
                <a:lin ang="10800000" scaled="1"/>
                <a:tileRect/>
              </a:gradFill>
              <a:ln w="25400" cap="flat" cmpd="sng" algn="ctr">
                <a:noFill/>
                <a:prstDash val="solid"/>
              </a:ln>
              <a:effectLst/>
            </p:spPr>
            <p:txBody>
              <a:bodyPr anchor="ctr"/>
              <a:lstStyle/>
              <a:p>
                <a:pPr indent="-34290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 noProof="1">
                  <a:solidFill>
                    <a:sysClr val="window" lastClr="FFFFFF"/>
                  </a:solidFill>
                  <a:latin typeface="Calibri"/>
                  <a:cs typeface="+mn-cs"/>
                </a:endParaRPr>
              </a:p>
            </p:txBody>
          </p:sp>
          <p:sp>
            <p:nvSpPr>
              <p:cNvPr id="39" name="Rectangle 31"/>
              <p:cNvSpPr>
                <a:spLocks noChangeArrowheads="1"/>
              </p:cNvSpPr>
              <p:nvPr/>
            </p:nvSpPr>
            <p:spPr bwMode="auto">
              <a:xfrm>
                <a:off x="7126605" y="2577148"/>
                <a:ext cx="736600" cy="26988"/>
              </a:xfrm>
              <a:prstGeom prst="rect">
                <a:avLst/>
              </a:prstGeom>
              <a:gradFill flip="none" rotWithShape="1">
                <a:gsLst>
                  <a:gs pos="69000">
                    <a:sysClr val="window" lastClr="FFFFFF">
                      <a:lumMod val="95000"/>
                    </a:sysClr>
                  </a:gs>
                  <a:gs pos="37000">
                    <a:sysClr val="window" lastClr="FFFFFF">
                      <a:lumMod val="85000"/>
                    </a:sysClr>
                  </a:gs>
                  <a:gs pos="0">
                    <a:sysClr val="window" lastClr="FFFFFF">
                      <a:lumMod val="75000"/>
                    </a:sysClr>
                  </a:gs>
                </a:gsLst>
                <a:lin ang="10800000" scaled="1"/>
                <a:tileRect/>
              </a:gradFill>
              <a:ln w="25400" cap="flat" cmpd="sng" algn="ctr">
                <a:noFill/>
                <a:prstDash val="solid"/>
              </a:ln>
              <a:effectLst/>
            </p:spPr>
            <p:txBody>
              <a:bodyPr anchor="ctr"/>
              <a:lstStyle/>
              <a:p>
                <a:pPr indent="-34290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 noProof="1">
                  <a:solidFill>
                    <a:sysClr val="window" lastClr="FFFFFF"/>
                  </a:solidFill>
                  <a:latin typeface="Calibri"/>
                  <a:cs typeface="+mn-cs"/>
                </a:endParaRPr>
              </a:p>
            </p:txBody>
          </p:sp>
          <p:sp>
            <p:nvSpPr>
              <p:cNvPr id="40" name="Rectangle 36"/>
              <p:cNvSpPr>
                <a:spLocks noChangeArrowheads="1"/>
              </p:cNvSpPr>
              <p:nvPr/>
            </p:nvSpPr>
            <p:spPr bwMode="auto">
              <a:xfrm>
                <a:off x="7196455" y="3829685"/>
                <a:ext cx="593725" cy="33338"/>
              </a:xfrm>
              <a:prstGeom prst="rect">
                <a:avLst/>
              </a:prstGeom>
              <a:gradFill flip="none" rotWithShape="1">
                <a:gsLst>
                  <a:gs pos="69000">
                    <a:sysClr val="window" lastClr="FFFFFF">
                      <a:lumMod val="95000"/>
                    </a:sysClr>
                  </a:gs>
                  <a:gs pos="37000">
                    <a:sysClr val="window" lastClr="FFFFFF">
                      <a:lumMod val="85000"/>
                    </a:sysClr>
                  </a:gs>
                  <a:gs pos="0">
                    <a:sysClr val="window" lastClr="FFFFFF">
                      <a:lumMod val="75000"/>
                    </a:sysClr>
                  </a:gs>
                </a:gsLst>
                <a:lin ang="10800000" scaled="1"/>
                <a:tileRect/>
              </a:gradFill>
              <a:ln w="25400" cap="flat" cmpd="sng" algn="ctr">
                <a:noFill/>
                <a:prstDash val="solid"/>
              </a:ln>
              <a:effectLst/>
            </p:spPr>
            <p:txBody>
              <a:bodyPr anchor="ctr"/>
              <a:lstStyle/>
              <a:p>
                <a:pPr indent="-34290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 noProof="1">
                  <a:solidFill>
                    <a:sysClr val="window" lastClr="FFFFFF"/>
                  </a:solidFill>
                  <a:latin typeface="Calibri"/>
                  <a:cs typeface="+mn-cs"/>
                </a:endParaRPr>
              </a:p>
            </p:txBody>
          </p:sp>
          <p:sp>
            <p:nvSpPr>
              <p:cNvPr id="41" name="Rectangle 37"/>
              <p:cNvSpPr>
                <a:spLocks noChangeArrowheads="1"/>
              </p:cNvSpPr>
              <p:nvPr/>
            </p:nvSpPr>
            <p:spPr bwMode="auto">
              <a:xfrm>
                <a:off x="7105968" y="3872548"/>
                <a:ext cx="771525" cy="53975"/>
              </a:xfrm>
              <a:prstGeom prst="rect">
                <a:avLst/>
              </a:prstGeom>
              <a:gradFill flip="none" rotWithShape="1">
                <a:gsLst>
                  <a:gs pos="69000">
                    <a:sysClr val="window" lastClr="FFFFFF">
                      <a:lumMod val="95000"/>
                    </a:sysClr>
                  </a:gs>
                  <a:gs pos="37000">
                    <a:sysClr val="window" lastClr="FFFFFF">
                      <a:lumMod val="85000"/>
                    </a:sysClr>
                  </a:gs>
                  <a:gs pos="0">
                    <a:sysClr val="window" lastClr="FFFFFF">
                      <a:lumMod val="75000"/>
                    </a:sysClr>
                  </a:gs>
                </a:gsLst>
                <a:lin ang="10800000" scaled="1"/>
                <a:tileRect/>
              </a:gradFill>
              <a:ln w="25400" cap="flat" cmpd="sng" algn="ctr">
                <a:noFill/>
                <a:prstDash val="solid"/>
              </a:ln>
              <a:effectLst/>
            </p:spPr>
            <p:txBody>
              <a:bodyPr anchor="ctr"/>
              <a:lstStyle/>
              <a:p>
                <a:pPr indent="-34290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 noProof="1">
                  <a:solidFill>
                    <a:sysClr val="window" lastClr="FFFFFF"/>
                  </a:solidFill>
                  <a:latin typeface="Calibri"/>
                  <a:cs typeface="+mn-cs"/>
                </a:endParaRPr>
              </a:p>
            </p:txBody>
          </p:sp>
          <p:sp>
            <p:nvSpPr>
              <p:cNvPr id="43" name="Rectangle 45"/>
              <p:cNvSpPr>
                <a:spLocks noChangeArrowheads="1"/>
              </p:cNvSpPr>
              <p:nvPr/>
            </p:nvSpPr>
            <p:spPr bwMode="auto">
              <a:xfrm>
                <a:off x="7209155" y="3837623"/>
                <a:ext cx="566737" cy="11113"/>
              </a:xfrm>
              <a:prstGeom prst="rect">
                <a:avLst/>
              </a:prstGeom>
              <a:gradFill flip="none" rotWithShape="1">
                <a:gsLst>
                  <a:gs pos="69000">
                    <a:sysClr val="window" lastClr="FFFFFF">
                      <a:lumMod val="95000"/>
                    </a:sysClr>
                  </a:gs>
                  <a:gs pos="37000">
                    <a:sysClr val="window" lastClr="FFFFFF">
                      <a:lumMod val="85000"/>
                    </a:sysClr>
                  </a:gs>
                  <a:gs pos="0">
                    <a:sysClr val="window" lastClr="FFFFFF">
                      <a:lumMod val="75000"/>
                    </a:sysClr>
                  </a:gs>
                </a:gsLst>
                <a:lin ang="10800000" scaled="1"/>
                <a:tileRect/>
              </a:gradFill>
              <a:ln w="25400" cap="flat" cmpd="sng" algn="ctr">
                <a:noFill/>
                <a:prstDash val="solid"/>
              </a:ln>
              <a:effectLst/>
            </p:spPr>
            <p:txBody>
              <a:bodyPr anchor="ctr"/>
              <a:lstStyle/>
              <a:p>
                <a:pPr indent="-34290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 noProof="1">
                  <a:solidFill>
                    <a:sysClr val="window" lastClr="FFFFFF"/>
                  </a:solidFill>
                  <a:latin typeface="Calibri"/>
                  <a:cs typeface="+mn-cs"/>
                </a:endParaRPr>
              </a:p>
            </p:txBody>
          </p:sp>
          <p:sp>
            <p:nvSpPr>
              <p:cNvPr id="44" name="Rectangle 46"/>
              <p:cNvSpPr>
                <a:spLocks noChangeArrowheads="1"/>
              </p:cNvSpPr>
              <p:nvPr/>
            </p:nvSpPr>
            <p:spPr bwMode="auto">
              <a:xfrm>
                <a:off x="7121843" y="3882073"/>
                <a:ext cx="736600" cy="26988"/>
              </a:xfrm>
              <a:prstGeom prst="rect">
                <a:avLst/>
              </a:prstGeom>
              <a:gradFill flip="none" rotWithShape="1">
                <a:gsLst>
                  <a:gs pos="69000">
                    <a:sysClr val="window" lastClr="FFFFFF">
                      <a:lumMod val="95000"/>
                    </a:sysClr>
                  </a:gs>
                  <a:gs pos="37000">
                    <a:sysClr val="window" lastClr="FFFFFF">
                      <a:lumMod val="85000"/>
                    </a:sysClr>
                  </a:gs>
                  <a:gs pos="0">
                    <a:sysClr val="window" lastClr="FFFFFF">
                      <a:lumMod val="75000"/>
                    </a:sysClr>
                  </a:gs>
                </a:gsLst>
                <a:lin ang="10800000" scaled="1"/>
                <a:tileRect/>
              </a:gradFill>
              <a:ln w="25400" cap="flat" cmpd="sng" algn="ctr">
                <a:noFill/>
                <a:prstDash val="solid"/>
              </a:ln>
              <a:effectLst/>
            </p:spPr>
            <p:txBody>
              <a:bodyPr anchor="ctr"/>
              <a:lstStyle/>
              <a:p>
                <a:pPr indent="-34290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 noProof="1">
                  <a:solidFill>
                    <a:sysClr val="window" lastClr="FFFFFF"/>
                  </a:solidFill>
                  <a:latin typeface="Calibri"/>
                  <a:cs typeface="+mn-cs"/>
                </a:endParaRPr>
              </a:p>
            </p:txBody>
          </p:sp>
        </p:grpSp>
        <p:grpSp>
          <p:nvGrpSpPr>
            <p:cNvPr id="45" name="Gruppe 172"/>
            <p:cNvGrpSpPr/>
            <p:nvPr/>
          </p:nvGrpSpPr>
          <p:grpSpPr>
            <a:xfrm>
              <a:off x="1308938" y="2349500"/>
              <a:ext cx="1408862" cy="2647950"/>
              <a:chOff x="7105968" y="2559685"/>
              <a:chExt cx="773112" cy="1366838"/>
            </a:xfrm>
            <a:gradFill flip="none" rotWithShape="1">
              <a:gsLst>
                <a:gs pos="0">
                  <a:srgbClr val="D7D8D9">
                    <a:lumMod val="50000"/>
                    <a:shade val="30000"/>
                    <a:satMod val="115000"/>
                  </a:srgbClr>
                </a:gs>
                <a:gs pos="50000">
                  <a:srgbClr val="D7D8D9">
                    <a:lumMod val="50000"/>
                    <a:shade val="67500"/>
                    <a:satMod val="115000"/>
                  </a:srgbClr>
                </a:gs>
                <a:gs pos="100000">
                  <a:srgbClr val="D7D8D9">
                    <a:lumMod val="50000"/>
                    <a:shade val="100000"/>
                    <a:satMod val="115000"/>
                  </a:srgbClr>
                </a:gs>
              </a:gsLst>
              <a:lin ang="10800000" scaled="1"/>
              <a:tileRect/>
            </a:gradFill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grpSpPr>
          <p:sp>
            <p:nvSpPr>
              <p:cNvPr id="46" name="Freeform 6"/>
              <p:cNvSpPr>
                <a:spLocks/>
              </p:cNvSpPr>
              <p:nvPr/>
            </p:nvSpPr>
            <p:spPr bwMode="auto">
              <a:xfrm>
                <a:off x="7315200" y="2669223"/>
                <a:ext cx="352425" cy="1159827"/>
              </a:xfrm>
              <a:custGeom>
                <a:avLst/>
                <a:gdLst/>
                <a:ahLst/>
                <a:cxnLst>
                  <a:cxn ang="0">
                    <a:pos x="372" y="5835"/>
                  </a:cxn>
                  <a:cxn ang="0">
                    <a:pos x="373" y="0"/>
                  </a:cxn>
                  <a:cxn ang="0">
                    <a:pos x="0" y="0"/>
                  </a:cxn>
                  <a:cxn ang="0">
                    <a:pos x="0" y="5835"/>
                  </a:cxn>
                  <a:cxn ang="0">
                    <a:pos x="372" y="5835"/>
                  </a:cxn>
                </a:cxnLst>
                <a:rect l="0" t="0" r="r" b="b"/>
                <a:pathLst>
                  <a:path w="373" h="5835">
                    <a:moveTo>
                      <a:pt x="372" y="5835"/>
                    </a:moveTo>
                    <a:lnTo>
                      <a:pt x="373" y="0"/>
                    </a:lnTo>
                    <a:lnTo>
                      <a:pt x="0" y="0"/>
                    </a:lnTo>
                    <a:lnTo>
                      <a:pt x="0" y="5835"/>
                    </a:lnTo>
                    <a:lnTo>
                      <a:pt x="372" y="5835"/>
                    </a:lnTo>
                    <a:close/>
                  </a:path>
                </a:pathLst>
              </a:custGeom>
              <a:gradFill flip="none" rotWithShape="1">
                <a:gsLst>
                  <a:gs pos="69000">
                    <a:sysClr val="window" lastClr="FFFFFF">
                      <a:lumMod val="95000"/>
                    </a:sysClr>
                  </a:gs>
                  <a:gs pos="37000">
                    <a:sysClr val="window" lastClr="FFFFFF">
                      <a:lumMod val="85000"/>
                    </a:sysClr>
                  </a:gs>
                  <a:gs pos="0">
                    <a:sysClr val="window" lastClr="FFFFFF">
                      <a:lumMod val="75000"/>
                    </a:sysClr>
                  </a:gs>
                </a:gsLst>
                <a:lin ang="10800000" scaled="1"/>
                <a:tileRect/>
              </a:gradFill>
              <a:ln w="25400" cap="flat" cmpd="sng" algn="ctr">
                <a:noFill/>
                <a:prstDash val="solid"/>
              </a:ln>
              <a:effectLst/>
            </p:spPr>
            <p:txBody>
              <a:bodyPr anchor="ctr"/>
              <a:lstStyle/>
              <a:p>
                <a:pPr indent="-34290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 noProof="1">
                  <a:solidFill>
                    <a:sysClr val="window" lastClr="FFFFFF"/>
                  </a:solidFill>
                  <a:latin typeface="Calibri"/>
                  <a:cs typeface="+mn-cs"/>
                </a:endParaRPr>
              </a:p>
            </p:txBody>
          </p:sp>
          <p:sp>
            <p:nvSpPr>
              <p:cNvPr id="47" name="Rectangle 8"/>
              <p:cNvSpPr>
                <a:spLocks noChangeArrowheads="1"/>
              </p:cNvSpPr>
              <p:nvPr/>
            </p:nvSpPr>
            <p:spPr bwMode="auto">
              <a:xfrm>
                <a:off x="7194868" y="2623185"/>
                <a:ext cx="593725" cy="33338"/>
              </a:xfrm>
              <a:prstGeom prst="rect">
                <a:avLst/>
              </a:prstGeom>
              <a:gradFill flip="none" rotWithShape="1">
                <a:gsLst>
                  <a:gs pos="69000">
                    <a:sysClr val="window" lastClr="FFFFFF">
                      <a:lumMod val="95000"/>
                    </a:sysClr>
                  </a:gs>
                  <a:gs pos="37000">
                    <a:sysClr val="window" lastClr="FFFFFF">
                      <a:lumMod val="85000"/>
                    </a:sysClr>
                  </a:gs>
                  <a:gs pos="0">
                    <a:sysClr val="window" lastClr="FFFFFF">
                      <a:lumMod val="75000"/>
                    </a:sysClr>
                  </a:gs>
                </a:gsLst>
                <a:lin ang="10800000" scaled="1"/>
                <a:tileRect/>
              </a:gradFill>
              <a:ln w="25400" cap="flat" cmpd="sng" algn="ctr">
                <a:noFill/>
                <a:prstDash val="solid"/>
              </a:ln>
              <a:effectLst/>
            </p:spPr>
            <p:txBody>
              <a:bodyPr anchor="ctr"/>
              <a:lstStyle/>
              <a:p>
                <a:pPr indent="-34290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 noProof="1">
                  <a:solidFill>
                    <a:sysClr val="window" lastClr="FFFFFF"/>
                  </a:solidFill>
                  <a:latin typeface="Calibri"/>
                  <a:cs typeface="+mn-cs"/>
                </a:endParaRPr>
              </a:p>
            </p:txBody>
          </p:sp>
          <p:sp>
            <p:nvSpPr>
              <p:cNvPr id="48" name="Rectangle 11"/>
              <p:cNvSpPr>
                <a:spLocks noChangeArrowheads="1"/>
              </p:cNvSpPr>
              <p:nvPr/>
            </p:nvSpPr>
            <p:spPr bwMode="auto">
              <a:xfrm>
                <a:off x="7109143" y="2559685"/>
                <a:ext cx="769937" cy="53975"/>
              </a:xfrm>
              <a:prstGeom prst="rect">
                <a:avLst/>
              </a:prstGeom>
              <a:gradFill flip="none" rotWithShape="1">
                <a:gsLst>
                  <a:gs pos="69000">
                    <a:sysClr val="window" lastClr="FFFFFF">
                      <a:lumMod val="95000"/>
                    </a:sysClr>
                  </a:gs>
                  <a:gs pos="37000">
                    <a:sysClr val="window" lastClr="FFFFFF">
                      <a:lumMod val="85000"/>
                    </a:sysClr>
                  </a:gs>
                  <a:gs pos="0">
                    <a:sysClr val="window" lastClr="FFFFFF">
                      <a:lumMod val="75000"/>
                    </a:sysClr>
                  </a:gs>
                </a:gsLst>
                <a:lin ang="10800000" scaled="1"/>
                <a:tileRect/>
              </a:gradFill>
              <a:ln w="25400" cap="flat" cmpd="sng" algn="ctr">
                <a:noFill/>
                <a:prstDash val="solid"/>
              </a:ln>
              <a:effectLst/>
            </p:spPr>
            <p:txBody>
              <a:bodyPr anchor="ctr"/>
              <a:lstStyle/>
              <a:p>
                <a:pPr indent="-34290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 noProof="1">
                  <a:solidFill>
                    <a:sysClr val="window" lastClr="FFFFFF"/>
                  </a:solidFill>
                  <a:latin typeface="Calibri"/>
                  <a:cs typeface="+mn-cs"/>
                </a:endParaRPr>
              </a:p>
            </p:txBody>
          </p:sp>
          <p:sp>
            <p:nvSpPr>
              <p:cNvPr id="49" name="Rectangle 30"/>
              <p:cNvSpPr>
                <a:spLocks noChangeArrowheads="1"/>
              </p:cNvSpPr>
              <p:nvPr/>
            </p:nvSpPr>
            <p:spPr bwMode="auto">
              <a:xfrm>
                <a:off x="7209155" y="2637473"/>
                <a:ext cx="566737" cy="12700"/>
              </a:xfrm>
              <a:prstGeom prst="rect">
                <a:avLst/>
              </a:prstGeom>
              <a:gradFill flip="none" rotWithShape="1">
                <a:gsLst>
                  <a:gs pos="69000">
                    <a:sysClr val="window" lastClr="FFFFFF">
                      <a:lumMod val="95000"/>
                    </a:sysClr>
                  </a:gs>
                  <a:gs pos="37000">
                    <a:sysClr val="window" lastClr="FFFFFF">
                      <a:lumMod val="85000"/>
                    </a:sysClr>
                  </a:gs>
                  <a:gs pos="0">
                    <a:sysClr val="window" lastClr="FFFFFF">
                      <a:lumMod val="75000"/>
                    </a:sysClr>
                  </a:gs>
                </a:gsLst>
                <a:lin ang="10800000" scaled="1"/>
                <a:tileRect/>
              </a:gradFill>
              <a:ln w="25400" cap="flat" cmpd="sng" algn="ctr">
                <a:noFill/>
                <a:prstDash val="solid"/>
              </a:ln>
              <a:effectLst/>
            </p:spPr>
            <p:txBody>
              <a:bodyPr anchor="ctr"/>
              <a:lstStyle/>
              <a:p>
                <a:pPr indent="-34290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 noProof="1">
                  <a:solidFill>
                    <a:sysClr val="window" lastClr="FFFFFF"/>
                  </a:solidFill>
                  <a:latin typeface="Calibri"/>
                  <a:cs typeface="+mn-cs"/>
                </a:endParaRPr>
              </a:p>
            </p:txBody>
          </p:sp>
          <p:sp>
            <p:nvSpPr>
              <p:cNvPr id="50" name="Rectangle 31"/>
              <p:cNvSpPr>
                <a:spLocks noChangeArrowheads="1"/>
              </p:cNvSpPr>
              <p:nvPr/>
            </p:nvSpPr>
            <p:spPr bwMode="auto">
              <a:xfrm>
                <a:off x="7126605" y="2577148"/>
                <a:ext cx="736600" cy="26988"/>
              </a:xfrm>
              <a:prstGeom prst="rect">
                <a:avLst/>
              </a:prstGeom>
              <a:gradFill flip="none" rotWithShape="1">
                <a:gsLst>
                  <a:gs pos="69000">
                    <a:sysClr val="window" lastClr="FFFFFF">
                      <a:lumMod val="95000"/>
                    </a:sysClr>
                  </a:gs>
                  <a:gs pos="37000">
                    <a:sysClr val="window" lastClr="FFFFFF">
                      <a:lumMod val="85000"/>
                    </a:sysClr>
                  </a:gs>
                  <a:gs pos="0">
                    <a:sysClr val="window" lastClr="FFFFFF">
                      <a:lumMod val="75000"/>
                    </a:sysClr>
                  </a:gs>
                </a:gsLst>
                <a:lin ang="10800000" scaled="1"/>
                <a:tileRect/>
              </a:gradFill>
              <a:ln w="25400" cap="flat" cmpd="sng" algn="ctr">
                <a:noFill/>
                <a:prstDash val="solid"/>
              </a:ln>
              <a:effectLst/>
            </p:spPr>
            <p:txBody>
              <a:bodyPr anchor="ctr"/>
              <a:lstStyle/>
              <a:p>
                <a:pPr indent="-34290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 noProof="1">
                  <a:solidFill>
                    <a:sysClr val="window" lastClr="FFFFFF"/>
                  </a:solidFill>
                  <a:latin typeface="Calibri"/>
                  <a:cs typeface="+mn-cs"/>
                </a:endParaRPr>
              </a:p>
            </p:txBody>
          </p:sp>
          <p:sp>
            <p:nvSpPr>
              <p:cNvPr id="51" name="Rectangle 36"/>
              <p:cNvSpPr>
                <a:spLocks noChangeArrowheads="1"/>
              </p:cNvSpPr>
              <p:nvPr/>
            </p:nvSpPr>
            <p:spPr bwMode="auto">
              <a:xfrm>
                <a:off x="7196455" y="3829685"/>
                <a:ext cx="593725" cy="33338"/>
              </a:xfrm>
              <a:prstGeom prst="rect">
                <a:avLst/>
              </a:prstGeom>
              <a:gradFill flip="none" rotWithShape="1">
                <a:gsLst>
                  <a:gs pos="69000">
                    <a:sysClr val="window" lastClr="FFFFFF">
                      <a:lumMod val="95000"/>
                    </a:sysClr>
                  </a:gs>
                  <a:gs pos="37000">
                    <a:sysClr val="window" lastClr="FFFFFF">
                      <a:lumMod val="85000"/>
                    </a:sysClr>
                  </a:gs>
                  <a:gs pos="0">
                    <a:sysClr val="window" lastClr="FFFFFF">
                      <a:lumMod val="75000"/>
                    </a:sysClr>
                  </a:gs>
                </a:gsLst>
                <a:lin ang="10800000" scaled="1"/>
                <a:tileRect/>
              </a:gradFill>
              <a:ln w="25400" cap="flat" cmpd="sng" algn="ctr">
                <a:noFill/>
                <a:prstDash val="solid"/>
              </a:ln>
              <a:effectLst/>
            </p:spPr>
            <p:txBody>
              <a:bodyPr anchor="ctr"/>
              <a:lstStyle/>
              <a:p>
                <a:pPr indent="-34290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 noProof="1">
                  <a:solidFill>
                    <a:sysClr val="window" lastClr="FFFFFF"/>
                  </a:solidFill>
                  <a:latin typeface="Calibri"/>
                  <a:cs typeface="+mn-cs"/>
                </a:endParaRPr>
              </a:p>
            </p:txBody>
          </p:sp>
          <p:sp>
            <p:nvSpPr>
              <p:cNvPr id="52" name="Rectangle 37"/>
              <p:cNvSpPr>
                <a:spLocks noChangeArrowheads="1"/>
              </p:cNvSpPr>
              <p:nvPr/>
            </p:nvSpPr>
            <p:spPr bwMode="auto">
              <a:xfrm>
                <a:off x="7105968" y="3872548"/>
                <a:ext cx="771525" cy="53975"/>
              </a:xfrm>
              <a:prstGeom prst="rect">
                <a:avLst/>
              </a:prstGeom>
              <a:gradFill flip="none" rotWithShape="1">
                <a:gsLst>
                  <a:gs pos="69000">
                    <a:sysClr val="window" lastClr="FFFFFF">
                      <a:lumMod val="95000"/>
                    </a:sysClr>
                  </a:gs>
                  <a:gs pos="37000">
                    <a:sysClr val="window" lastClr="FFFFFF">
                      <a:lumMod val="85000"/>
                    </a:sysClr>
                  </a:gs>
                  <a:gs pos="0">
                    <a:sysClr val="window" lastClr="FFFFFF">
                      <a:lumMod val="75000"/>
                    </a:sysClr>
                  </a:gs>
                </a:gsLst>
                <a:lin ang="10800000" scaled="1"/>
                <a:tileRect/>
              </a:gradFill>
              <a:ln w="25400" cap="flat" cmpd="sng" algn="ctr">
                <a:noFill/>
                <a:prstDash val="solid"/>
              </a:ln>
              <a:effectLst/>
            </p:spPr>
            <p:txBody>
              <a:bodyPr anchor="ctr"/>
              <a:lstStyle/>
              <a:p>
                <a:pPr indent="-34290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 noProof="1">
                  <a:solidFill>
                    <a:sysClr val="window" lastClr="FFFFFF"/>
                  </a:solidFill>
                  <a:latin typeface="Calibri"/>
                  <a:cs typeface="+mn-cs"/>
                </a:endParaRPr>
              </a:p>
            </p:txBody>
          </p:sp>
          <p:sp>
            <p:nvSpPr>
              <p:cNvPr id="53" name="Rectangle 45"/>
              <p:cNvSpPr>
                <a:spLocks noChangeArrowheads="1"/>
              </p:cNvSpPr>
              <p:nvPr/>
            </p:nvSpPr>
            <p:spPr bwMode="auto">
              <a:xfrm>
                <a:off x="7209155" y="3837623"/>
                <a:ext cx="566737" cy="11113"/>
              </a:xfrm>
              <a:prstGeom prst="rect">
                <a:avLst/>
              </a:prstGeom>
              <a:gradFill flip="none" rotWithShape="1">
                <a:gsLst>
                  <a:gs pos="69000">
                    <a:sysClr val="window" lastClr="FFFFFF">
                      <a:lumMod val="95000"/>
                    </a:sysClr>
                  </a:gs>
                  <a:gs pos="37000">
                    <a:sysClr val="window" lastClr="FFFFFF">
                      <a:lumMod val="85000"/>
                    </a:sysClr>
                  </a:gs>
                  <a:gs pos="0">
                    <a:sysClr val="window" lastClr="FFFFFF">
                      <a:lumMod val="75000"/>
                    </a:sysClr>
                  </a:gs>
                </a:gsLst>
                <a:lin ang="10800000" scaled="1"/>
                <a:tileRect/>
              </a:gradFill>
              <a:ln w="25400" cap="flat" cmpd="sng" algn="ctr">
                <a:noFill/>
                <a:prstDash val="solid"/>
              </a:ln>
              <a:effectLst/>
            </p:spPr>
            <p:txBody>
              <a:bodyPr anchor="ctr"/>
              <a:lstStyle/>
              <a:p>
                <a:pPr indent="-34290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 noProof="1">
                  <a:solidFill>
                    <a:sysClr val="window" lastClr="FFFFFF"/>
                  </a:solidFill>
                  <a:latin typeface="Calibri"/>
                  <a:cs typeface="+mn-cs"/>
                </a:endParaRPr>
              </a:p>
            </p:txBody>
          </p:sp>
          <p:sp>
            <p:nvSpPr>
              <p:cNvPr id="54" name="Rectangle 46"/>
              <p:cNvSpPr>
                <a:spLocks noChangeArrowheads="1"/>
              </p:cNvSpPr>
              <p:nvPr/>
            </p:nvSpPr>
            <p:spPr bwMode="auto">
              <a:xfrm>
                <a:off x="7121843" y="3882073"/>
                <a:ext cx="736600" cy="26988"/>
              </a:xfrm>
              <a:prstGeom prst="rect">
                <a:avLst/>
              </a:prstGeom>
              <a:gradFill flip="none" rotWithShape="1">
                <a:gsLst>
                  <a:gs pos="69000">
                    <a:sysClr val="window" lastClr="FFFFFF">
                      <a:lumMod val="95000"/>
                    </a:sysClr>
                  </a:gs>
                  <a:gs pos="37000">
                    <a:sysClr val="window" lastClr="FFFFFF">
                      <a:lumMod val="85000"/>
                    </a:sysClr>
                  </a:gs>
                  <a:gs pos="0">
                    <a:sysClr val="window" lastClr="FFFFFF">
                      <a:lumMod val="75000"/>
                    </a:sysClr>
                  </a:gs>
                </a:gsLst>
                <a:lin ang="10800000" scaled="1"/>
                <a:tileRect/>
              </a:gradFill>
              <a:ln w="25400" cap="flat" cmpd="sng" algn="ctr">
                <a:noFill/>
                <a:prstDash val="solid"/>
              </a:ln>
              <a:effectLst/>
            </p:spPr>
            <p:txBody>
              <a:bodyPr anchor="ctr"/>
              <a:lstStyle/>
              <a:p>
                <a:pPr indent="-34290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 noProof="1">
                  <a:solidFill>
                    <a:sysClr val="window" lastClr="FFFFFF"/>
                  </a:solidFill>
                  <a:latin typeface="Calibri"/>
                  <a:cs typeface="+mn-cs"/>
                </a:endParaRPr>
              </a:p>
            </p:txBody>
          </p:sp>
        </p:grpSp>
        <p:grpSp>
          <p:nvGrpSpPr>
            <p:cNvPr id="55" name="Gruppe 50"/>
            <p:cNvGrpSpPr>
              <a:grpSpLocks/>
            </p:cNvGrpSpPr>
            <p:nvPr/>
          </p:nvGrpSpPr>
          <p:grpSpPr bwMode="auto">
            <a:xfrm>
              <a:off x="290513" y="5037138"/>
              <a:ext cx="8424862" cy="1230312"/>
              <a:chOff x="3162300" y="4521321"/>
              <a:chExt cx="5515610" cy="1229615"/>
            </a:xfrm>
          </p:grpSpPr>
          <p:sp>
            <p:nvSpPr>
              <p:cNvPr id="56" name="Ligebenet trapez 50"/>
              <p:cNvSpPr/>
              <p:nvPr/>
            </p:nvSpPr>
            <p:spPr>
              <a:xfrm>
                <a:off x="3451228" y="4851334"/>
                <a:ext cx="4950226" cy="107889"/>
              </a:xfrm>
              <a:prstGeom prst="trapezoid">
                <a:avLst>
                  <a:gd name="adj" fmla="val 160887"/>
                </a:avLst>
              </a:prstGeom>
              <a:solidFill>
                <a:srgbClr val="78C5DD">
                  <a:lumMod val="50000"/>
                </a:srgbClr>
              </a:solidFill>
              <a:ln w="9525" cap="flat" cmpd="sng" algn="ctr">
                <a:noFill/>
                <a:prstDash val="soli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anchor="ctr"/>
              <a:lstStyle/>
              <a:p>
                <a:pPr indent="-342900"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 noProof="1">
                  <a:solidFill>
                    <a:sysClr val="window" lastClr="FFFFFF"/>
                  </a:solidFill>
                  <a:latin typeface="Calibri"/>
                  <a:cs typeface="+mn-cs"/>
                </a:endParaRPr>
              </a:p>
            </p:txBody>
          </p:sp>
          <p:sp>
            <p:nvSpPr>
              <p:cNvPr id="57" name="Ligebenet trapez 51"/>
              <p:cNvSpPr/>
              <p:nvPr/>
            </p:nvSpPr>
            <p:spPr>
              <a:xfrm>
                <a:off x="3583220" y="4664115"/>
                <a:ext cx="4673771" cy="98369"/>
              </a:xfrm>
              <a:prstGeom prst="trapezoid">
                <a:avLst>
                  <a:gd name="adj" fmla="val 160887"/>
                </a:avLst>
              </a:prstGeom>
              <a:gradFill flip="none" rotWithShape="1">
                <a:gsLst>
                  <a:gs pos="69000">
                    <a:sysClr val="window" lastClr="FFFFFF">
                      <a:lumMod val="95000"/>
                    </a:sysClr>
                  </a:gs>
                  <a:gs pos="37000">
                    <a:sysClr val="window" lastClr="FFFFFF">
                      <a:lumMod val="85000"/>
                    </a:sysClr>
                  </a:gs>
                  <a:gs pos="0">
                    <a:sysClr val="window" lastClr="FFFFFF">
                      <a:lumMod val="75000"/>
                    </a:sysClr>
                  </a:gs>
                </a:gsLst>
                <a:lin ang="5400000" scaled="1"/>
                <a:tileRect/>
              </a:gradFill>
              <a:ln w="25400" cap="flat" cmpd="sng" algn="ctr">
                <a:noFill/>
                <a:prstDash val="solid"/>
              </a:ln>
              <a:effectLst/>
            </p:spPr>
            <p:txBody>
              <a:bodyPr anchor="ctr"/>
              <a:lstStyle/>
              <a:p>
                <a:pPr indent="-34290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 noProof="1">
                  <a:solidFill>
                    <a:sysClr val="window" lastClr="FFFFFF"/>
                  </a:solidFill>
                  <a:latin typeface="Calibri"/>
                  <a:cs typeface="+mn-cs"/>
                </a:endParaRPr>
              </a:p>
            </p:txBody>
          </p:sp>
          <p:sp>
            <p:nvSpPr>
              <p:cNvPr id="58" name="Rektangel 52"/>
              <p:cNvSpPr/>
              <p:nvPr/>
            </p:nvSpPr>
            <p:spPr>
              <a:xfrm>
                <a:off x="3444062" y="4959201"/>
                <a:ext cx="4951294" cy="173730"/>
              </a:xfrm>
              <a:prstGeom prst="rect">
                <a:avLst/>
              </a:prstGeom>
              <a:gradFill flip="none" rotWithShape="1">
                <a:gsLst>
                  <a:gs pos="0">
                    <a:srgbClr val="78C5DD">
                      <a:lumMod val="75000"/>
                    </a:srgbClr>
                  </a:gs>
                  <a:gs pos="25000">
                    <a:srgbClr val="208ECD"/>
                  </a:gs>
                  <a:gs pos="67000">
                    <a:srgbClr val="1971A7"/>
                  </a:gs>
                </a:gsLst>
                <a:path path="circle">
                  <a:fillToRect l="100000" t="100000"/>
                </a:path>
                <a:tileRect r="-100000" b="-100000"/>
              </a:gradFill>
              <a:ln w="9525" cap="flat" cmpd="sng" algn="ctr">
                <a:noFill/>
                <a:prstDash val="solid"/>
              </a:ln>
              <a:effectLst/>
            </p:spPr>
            <p:txBody>
              <a:bodyPr anchor="ctr"/>
              <a:lstStyle/>
              <a:p>
                <a:pPr indent="-342900"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 noProof="1">
                  <a:solidFill>
                    <a:sysClr val="window" lastClr="FFFFFF"/>
                  </a:solidFill>
                  <a:latin typeface="Calibri"/>
                  <a:cs typeface="+mn-cs"/>
                </a:endParaRPr>
              </a:p>
            </p:txBody>
          </p:sp>
          <p:sp>
            <p:nvSpPr>
              <p:cNvPr id="59" name="Rektangel 53"/>
              <p:cNvSpPr/>
              <p:nvPr/>
            </p:nvSpPr>
            <p:spPr>
              <a:xfrm>
                <a:off x="3186204" y="5251157"/>
                <a:ext cx="5491706" cy="325253"/>
              </a:xfrm>
              <a:prstGeom prst="rect">
                <a:avLst/>
              </a:prstGeom>
              <a:gradFill flip="none" rotWithShape="1">
                <a:gsLst>
                  <a:gs pos="97000">
                    <a:sysClr val="window" lastClr="FFFFFF">
                      <a:lumMod val="65000"/>
                    </a:sysClr>
                  </a:gs>
                  <a:gs pos="100000">
                    <a:srgbClr val="D7D8D9">
                      <a:lumMod val="25000"/>
                    </a:srgbClr>
                  </a:gs>
                </a:gsLst>
                <a:lin ang="5400000" scaled="0"/>
                <a:tileRect/>
              </a:gradFill>
              <a:ln w="25400" cap="flat" cmpd="sng" algn="ctr">
                <a:noFill/>
                <a:prstDash val="solid"/>
              </a:ln>
              <a:effectLst/>
            </p:spPr>
            <p:txBody>
              <a:bodyPr anchor="ctr"/>
              <a:lstStyle/>
              <a:p>
                <a:pPr indent="-34290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 noProof="1">
                  <a:solidFill>
                    <a:sysClr val="window" lastClr="FFFFFF"/>
                  </a:solidFill>
                  <a:latin typeface="Calibri"/>
                  <a:cs typeface="+mn-cs"/>
                </a:endParaRPr>
              </a:p>
            </p:txBody>
          </p:sp>
          <p:sp>
            <p:nvSpPr>
              <p:cNvPr id="60" name="Rektangel 54"/>
              <p:cNvSpPr/>
              <p:nvPr/>
            </p:nvSpPr>
            <p:spPr>
              <a:xfrm>
                <a:off x="3797317" y="4521321"/>
                <a:ext cx="4237261" cy="150727"/>
              </a:xfrm>
              <a:prstGeom prst="rect">
                <a:avLst/>
              </a:prstGeom>
              <a:gradFill flip="none" rotWithShape="1">
                <a:gsLst>
                  <a:gs pos="97000">
                    <a:sysClr val="window" lastClr="FFFFFF">
                      <a:lumMod val="65000"/>
                    </a:sysClr>
                  </a:gs>
                  <a:gs pos="100000">
                    <a:srgbClr val="D7D8D9">
                      <a:lumMod val="25000"/>
                    </a:srgbClr>
                  </a:gs>
                </a:gsLst>
                <a:lin ang="5400000" scaled="0"/>
                <a:tileRect/>
              </a:gradFill>
              <a:ln w="25400" cap="flat" cmpd="sng" algn="ctr">
                <a:noFill/>
                <a:prstDash val="solid"/>
              </a:ln>
              <a:effectLst/>
            </p:spPr>
            <p:txBody>
              <a:bodyPr anchor="ctr"/>
              <a:lstStyle/>
              <a:p>
                <a:pPr indent="-34290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 noProof="1">
                  <a:solidFill>
                    <a:sysClr val="window" lastClr="FFFFFF"/>
                  </a:solidFill>
                  <a:latin typeface="Calibri"/>
                  <a:cs typeface="+mn-cs"/>
                </a:endParaRPr>
              </a:p>
            </p:txBody>
          </p:sp>
          <p:sp>
            <p:nvSpPr>
              <p:cNvPr id="61" name="Rektangel 55"/>
              <p:cNvSpPr/>
              <p:nvPr/>
            </p:nvSpPr>
            <p:spPr>
              <a:xfrm>
                <a:off x="3186204" y="5579583"/>
                <a:ext cx="5490667" cy="171353"/>
              </a:xfrm>
              <a:prstGeom prst="rect">
                <a:avLst/>
              </a:prstGeom>
              <a:gradFill rotWithShape="1">
                <a:gsLst>
                  <a:gs pos="49000">
                    <a:srgbClr val="E6E6E6">
                      <a:tint val="100000"/>
                      <a:shade val="100000"/>
                      <a:satMod val="130000"/>
                      <a:alpha val="0"/>
                    </a:srgbClr>
                  </a:gs>
                  <a:gs pos="100000">
                    <a:srgbClr val="E6E6E6">
                      <a:lumMod val="10000"/>
                    </a:srgbClr>
                  </a:gs>
                </a:gsLst>
                <a:lin ang="16200000" scaled="0"/>
              </a:gradFill>
              <a:ln w="9525" cap="flat" cmpd="sng" algn="ctr">
                <a:noFill/>
                <a:prstDash val="solid"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</p:spPr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>
                  <a:solidFill>
                    <a:sysClr val="window" lastClr="FFFFFF"/>
                  </a:solidFill>
                  <a:latin typeface="Calibri"/>
                  <a:cs typeface="+mn-cs"/>
                </a:endParaRPr>
              </a:p>
            </p:txBody>
          </p:sp>
          <p:sp>
            <p:nvSpPr>
              <p:cNvPr id="62" name="Rektangel 56"/>
              <p:cNvSpPr/>
              <p:nvPr/>
            </p:nvSpPr>
            <p:spPr>
              <a:xfrm>
                <a:off x="3592574" y="4764070"/>
                <a:ext cx="4666495" cy="123755"/>
              </a:xfrm>
              <a:prstGeom prst="rect">
                <a:avLst/>
              </a:prstGeom>
              <a:gradFill flip="none" rotWithShape="1">
                <a:gsLst>
                  <a:gs pos="97000">
                    <a:sysClr val="window" lastClr="FFFFFF">
                      <a:lumMod val="65000"/>
                    </a:sysClr>
                  </a:gs>
                  <a:gs pos="100000">
                    <a:srgbClr val="D7D8D9">
                      <a:lumMod val="25000"/>
                    </a:srgbClr>
                  </a:gs>
                </a:gsLst>
                <a:lin ang="5400000" scaled="0"/>
                <a:tileRect/>
              </a:gradFill>
              <a:ln w="25400" cap="flat" cmpd="sng" algn="ctr">
                <a:noFill/>
                <a:prstDash val="solid"/>
              </a:ln>
              <a:effectLst/>
            </p:spPr>
            <p:txBody>
              <a:bodyPr anchor="ctr"/>
              <a:lstStyle/>
              <a:p>
                <a:pPr indent="-34290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 noProof="1">
                  <a:solidFill>
                    <a:sysClr val="window" lastClr="FFFFFF"/>
                  </a:solidFill>
                  <a:latin typeface="Calibri"/>
                  <a:cs typeface="+mn-cs"/>
                </a:endParaRPr>
              </a:p>
            </p:txBody>
          </p:sp>
          <p:sp>
            <p:nvSpPr>
              <p:cNvPr id="71" name="Ligebenet trapez 57"/>
              <p:cNvSpPr/>
              <p:nvPr/>
            </p:nvSpPr>
            <p:spPr>
              <a:xfrm>
                <a:off x="3162300" y="5081391"/>
                <a:ext cx="5515610" cy="169767"/>
              </a:xfrm>
              <a:prstGeom prst="trapezoid">
                <a:avLst>
                  <a:gd name="adj" fmla="val 160887"/>
                </a:avLst>
              </a:prstGeom>
              <a:gradFill flip="none" rotWithShape="1">
                <a:gsLst>
                  <a:gs pos="69000">
                    <a:sysClr val="window" lastClr="FFFFFF">
                      <a:lumMod val="95000"/>
                    </a:sysClr>
                  </a:gs>
                  <a:gs pos="37000">
                    <a:sysClr val="window" lastClr="FFFFFF">
                      <a:lumMod val="85000"/>
                    </a:sysClr>
                  </a:gs>
                  <a:gs pos="0">
                    <a:sysClr val="window" lastClr="FFFFFF">
                      <a:lumMod val="75000"/>
                    </a:sysClr>
                  </a:gs>
                </a:gsLst>
                <a:lin ang="5400000" scaled="1"/>
                <a:tileRect/>
              </a:gradFill>
              <a:ln w="25400" cap="flat" cmpd="sng" algn="ctr">
                <a:noFill/>
                <a:prstDash val="solid"/>
              </a:ln>
              <a:effectLst/>
            </p:spPr>
            <p:txBody>
              <a:bodyPr anchor="ctr"/>
              <a:lstStyle/>
              <a:p>
                <a:pPr indent="-34290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 noProof="1">
                  <a:solidFill>
                    <a:sysClr val="window" lastClr="FFFFFF"/>
                  </a:solidFill>
                  <a:latin typeface="Calibri"/>
                  <a:cs typeface="+mn-cs"/>
                </a:endParaRPr>
              </a:p>
            </p:txBody>
          </p:sp>
        </p:grpSp>
        <p:grpSp>
          <p:nvGrpSpPr>
            <p:cNvPr id="72" name="Gruppe 211"/>
            <p:cNvGrpSpPr>
              <a:grpSpLocks/>
            </p:cNvGrpSpPr>
            <p:nvPr/>
          </p:nvGrpSpPr>
          <p:grpSpPr bwMode="auto">
            <a:xfrm>
              <a:off x="1014413" y="1031875"/>
              <a:ext cx="6918325" cy="1309688"/>
              <a:chOff x="3666807" y="1396335"/>
              <a:chExt cx="4472911" cy="1308957"/>
            </a:xfrm>
          </p:grpSpPr>
          <p:sp>
            <p:nvSpPr>
              <p:cNvPr id="73" name="Rektangel 92"/>
              <p:cNvSpPr/>
              <p:nvPr/>
            </p:nvSpPr>
            <p:spPr>
              <a:xfrm>
                <a:off x="3837184" y="2598988"/>
                <a:ext cx="4132157" cy="106304"/>
              </a:xfrm>
              <a:prstGeom prst="rect">
                <a:avLst/>
              </a:prstGeom>
              <a:gradFill flip="none" rotWithShape="1">
                <a:gsLst>
                  <a:gs pos="69000">
                    <a:sysClr val="window" lastClr="FFFFFF">
                      <a:lumMod val="50000"/>
                    </a:sysClr>
                  </a:gs>
                  <a:gs pos="100000">
                    <a:srgbClr val="D7D8D9">
                      <a:lumMod val="25000"/>
                    </a:srgbClr>
                  </a:gs>
                  <a:gs pos="0">
                    <a:sysClr val="window" lastClr="FFFFFF">
                      <a:lumMod val="75000"/>
                    </a:sysClr>
                  </a:gs>
                </a:gsLst>
                <a:lin ang="5400000" scaled="0"/>
                <a:tileRect/>
              </a:gradFill>
              <a:ln w="25400" cap="flat" cmpd="sng" algn="ctr">
                <a:noFill/>
                <a:prstDash val="soli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anchor="ctr"/>
              <a:lstStyle/>
              <a:p>
                <a:pPr indent="-34290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 noProof="1">
                  <a:solidFill>
                    <a:sysClr val="window" lastClr="FFFFFF"/>
                  </a:solidFill>
                  <a:latin typeface="Calibri"/>
                  <a:cs typeface="+mn-cs"/>
                </a:endParaRPr>
              </a:p>
            </p:txBody>
          </p:sp>
          <p:sp>
            <p:nvSpPr>
              <p:cNvPr id="74" name="Rektangel 93"/>
              <p:cNvSpPr/>
              <p:nvPr/>
            </p:nvSpPr>
            <p:spPr>
              <a:xfrm>
                <a:off x="3666807" y="2527591"/>
                <a:ext cx="4472911" cy="65051"/>
              </a:xfrm>
              <a:prstGeom prst="rect">
                <a:avLst/>
              </a:prstGeom>
              <a:gradFill flip="none" rotWithShape="1">
                <a:gsLst>
                  <a:gs pos="69000">
                    <a:sysClr val="window" lastClr="FFFFFF">
                      <a:lumMod val="50000"/>
                    </a:sysClr>
                  </a:gs>
                  <a:gs pos="100000">
                    <a:srgbClr val="D7D8D9">
                      <a:lumMod val="25000"/>
                    </a:srgbClr>
                  </a:gs>
                  <a:gs pos="0">
                    <a:sysClr val="window" lastClr="FFFFFF">
                      <a:lumMod val="75000"/>
                    </a:sysClr>
                  </a:gs>
                </a:gsLst>
                <a:lin ang="5400000" scaled="0"/>
                <a:tileRect/>
              </a:gradFill>
              <a:ln w="25400" cap="flat" cmpd="sng" algn="ctr">
                <a:noFill/>
                <a:prstDash val="soli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anchor="ctr"/>
              <a:lstStyle/>
              <a:p>
                <a:pPr indent="-34290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 noProof="1">
                  <a:solidFill>
                    <a:sysClr val="window" lastClr="FFFFFF"/>
                  </a:solidFill>
                  <a:latin typeface="Calibri"/>
                  <a:cs typeface="+mn-cs"/>
                </a:endParaRPr>
              </a:p>
            </p:txBody>
          </p:sp>
          <p:sp>
            <p:nvSpPr>
              <p:cNvPr id="75" name="Ligebenet trekant 94"/>
              <p:cNvSpPr/>
              <p:nvPr/>
            </p:nvSpPr>
            <p:spPr>
              <a:xfrm>
                <a:off x="3708009" y="1396335"/>
                <a:ext cx="4416259" cy="843393"/>
              </a:xfrm>
              <a:prstGeom prst="triangle">
                <a:avLst>
                  <a:gd name="adj" fmla="val 50591"/>
                </a:avLst>
              </a:prstGeom>
              <a:gradFill flip="none" rotWithShape="1">
                <a:gsLst>
                  <a:gs pos="69000">
                    <a:sysClr val="window" lastClr="FFFFFF">
                      <a:lumMod val="50000"/>
                    </a:sysClr>
                  </a:gs>
                  <a:gs pos="37000">
                    <a:sysClr val="window" lastClr="FFFFFF">
                      <a:lumMod val="85000"/>
                    </a:sysClr>
                  </a:gs>
                  <a:gs pos="0">
                    <a:sysClr val="window" lastClr="FFFFFF">
                      <a:lumMod val="75000"/>
                    </a:sysClr>
                  </a:gs>
                </a:gsLst>
                <a:path path="circle">
                  <a:fillToRect l="100000" b="100000"/>
                </a:path>
                <a:tileRect t="-100000" r="-100000"/>
              </a:gradFill>
              <a:ln w="25400" cap="flat" cmpd="sng" algn="ctr">
                <a:noFill/>
                <a:prstDash val="soli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anchor="ctr"/>
              <a:lstStyle/>
              <a:p>
                <a:pPr indent="-34290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 noProof="1">
                  <a:solidFill>
                    <a:sysClr val="window" lastClr="FFFFFF"/>
                  </a:solidFill>
                  <a:latin typeface="Calibri"/>
                  <a:cs typeface="+mn-cs"/>
                </a:endParaRPr>
              </a:p>
            </p:txBody>
          </p:sp>
          <p:sp>
            <p:nvSpPr>
              <p:cNvPr id="76" name="Rektangel 95"/>
              <p:cNvSpPr/>
              <p:nvPr/>
            </p:nvSpPr>
            <p:spPr>
              <a:xfrm>
                <a:off x="3698624" y="2234067"/>
                <a:ext cx="4414408" cy="287178"/>
              </a:xfrm>
              <a:prstGeom prst="rect">
                <a:avLst/>
              </a:prstGeom>
              <a:gradFill flip="none" rotWithShape="1">
                <a:gsLst>
                  <a:gs pos="69000">
                    <a:sysClr val="window" lastClr="FFFFFF">
                      <a:lumMod val="50000"/>
                    </a:sysClr>
                  </a:gs>
                  <a:gs pos="100000">
                    <a:srgbClr val="D7D8D9">
                      <a:lumMod val="25000"/>
                    </a:srgbClr>
                  </a:gs>
                  <a:gs pos="0">
                    <a:sysClr val="window" lastClr="FFFFFF">
                      <a:lumMod val="75000"/>
                    </a:sysClr>
                  </a:gs>
                </a:gsLst>
                <a:lin ang="5400000" scaled="0"/>
                <a:tileRect/>
              </a:gradFill>
              <a:ln w="25400" cap="flat" cmpd="sng" algn="ctr">
                <a:noFill/>
                <a:prstDash val="soli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anchor="ctr"/>
              <a:lstStyle/>
              <a:p>
                <a:pPr indent="-34290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 noProof="1">
                  <a:solidFill>
                    <a:sysClr val="window" lastClr="FFFFFF"/>
                  </a:solidFill>
                  <a:latin typeface="Calibri"/>
                  <a:cs typeface="+mn-cs"/>
                </a:endParaRPr>
              </a:p>
            </p:txBody>
          </p:sp>
          <p:sp>
            <p:nvSpPr>
              <p:cNvPr id="77" name="Ligebenet trekant 96"/>
              <p:cNvSpPr/>
              <p:nvPr/>
            </p:nvSpPr>
            <p:spPr>
              <a:xfrm>
                <a:off x="3969629" y="1443319"/>
                <a:ext cx="3851031" cy="735449"/>
              </a:xfrm>
              <a:prstGeom prst="triangle">
                <a:avLst>
                  <a:gd name="adj" fmla="val 50591"/>
                </a:avLst>
              </a:prstGeom>
              <a:gradFill flip="none" rotWithShape="1">
                <a:gsLst>
                  <a:gs pos="69000">
                    <a:sysClr val="window" lastClr="FFFFFF">
                      <a:lumMod val="95000"/>
                    </a:sysClr>
                  </a:gs>
                  <a:gs pos="37000">
                    <a:sysClr val="window" lastClr="FFFFFF">
                      <a:lumMod val="85000"/>
                    </a:sysClr>
                  </a:gs>
                  <a:gs pos="0">
                    <a:sysClr val="window" lastClr="FFFFFF">
                      <a:lumMod val="75000"/>
                    </a:sysClr>
                  </a:gs>
                </a:gsLst>
                <a:path path="circle">
                  <a:fillToRect l="100000" b="100000"/>
                </a:path>
                <a:tileRect t="-100000" r="-100000"/>
              </a:gradFill>
              <a:ln w="25400" cap="flat" cmpd="sng" algn="ctr">
                <a:noFill/>
                <a:prstDash val="solid"/>
              </a:ln>
              <a:effectLst>
                <a:innerShdw dist="50800" dir="13500000">
                  <a:prstClr val="black">
                    <a:alpha val="50000"/>
                  </a:prstClr>
                </a:innerShdw>
              </a:effectLst>
            </p:spPr>
            <p:txBody>
              <a:bodyPr anchor="ctr"/>
              <a:lstStyle/>
              <a:p>
                <a:pPr indent="-34290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 noProof="1">
                  <a:solidFill>
                    <a:sysClr val="window" lastClr="FFFFFF"/>
                  </a:solidFill>
                  <a:latin typeface="Calibri"/>
                  <a:cs typeface="+mn-cs"/>
                </a:endParaRPr>
              </a:p>
            </p:txBody>
          </p:sp>
        </p:grpSp>
        <p:sp>
          <p:nvSpPr>
            <p:cNvPr id="78" name="Tekstboks 328"/>
            <p:cNvSpPr txBox="1"/>
            <p:nvPr/>
          </p:nvSpPr>
          <p:spPr>
            <a:xfrm rot="16200000">
              <a:off x="2560638" y="3567113"/>
              <a:ext cx="2193925" cy="307975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da-DK" sz="1100" b="1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n-lt"/>
                  <a:cs typeface="+mn-cs"/>
                </a:rPr>
                <a:t>CUSTOMER ORIENTED</a:t>
              </a:r>
            </a:p>
          </p:txBody>
        </p:sp>
        <p:sp>
          <p:nvSpPr>
            <p:cNvPr id="79" name="Tekstboks 329"/>
            <p:cNvSpPr txBox="1"/>
            <p:nvPr/>
          </p:nvSpPr>
          <p:spPr>
            <a:xfrm rot="16200000">
              <a:off x="4225132" y="3442494"/>
              <a:ext cx="2243137" cy="523875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da-DK" sz="1100" b="1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n-lt"/>
                  <a:cs typeface="+mn-cs"/>
                </a:rPr>
                <a:t>LEADERSHIP AND </a:t>
              </a:r>
            </a:p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da-DK" sz="1100" b="1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n-lt"/>
                  <a:cs typeface="+mn-cs"/>
                </a:rPr>
                <a:t>TARGET CONSEQUENCE</a:t>
              </a:r>
            </a:p>
          </p:txBody>
        </p:sp>
        <p:sp>
          <p:nvSpPr>
            <p:cNvPr id="80" name="Tekstboks 331"/>
            <p:cNvSpPr txBox="1"/>
            <p:nvPr/>
          </p:nvSpPr>
          <p:spPr>
            <a:xfrm rot="16200000">
              <a:off x="5845175" y="3471863"/>
              <a:ext cx="2200275" cy="523875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da-DK" sz="1100" b="1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n-lt"/>
                  <a:cs typeface="+mn-cs"/>
                </a:rPr>
                <a:t>MANAGEMENT BASED ON </a:t>
              </a:r>
            </a:p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da-DK" sz="1100" b="1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n-lt"/>
                  <a:cs typeface="+mn-cs"/>
                </a:rPr>
                <a:t>PROCESSES AND FACTS</a:t>
              </a:r>
            </a:p>
          </p:txBody>
        </p:sp>
        <p:sp>
          <p:nvSpPr>
            <p:cNvPr id="81" name="Tekstboks 336"/>
            <p:cNvSpPr txBox="1">
              <a:spLocks noChangeArrowheads="1"/>
            </p:cNvSpPr>
            <p:nvPr/>
          </p:nvSpPr>
          <p:spPr bwMode="auto">
            <a:xfrm>
              <a:off x="338138" y="5699341"/>
              <a:ext cx="8348662" cy="43426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itchFamily="-112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itchFamily="-112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itchFamily="-112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itchFamily="-112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itchFamily="-112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-112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-112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-112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-112" charset="0"/>
                </a:defRPr>
              </a:lvl9pPr>
            </a:lstStyle>
            <a:p>
              <a:pPr algn="ctr"/>
              <a:r>
                <a:rPr lang="da-DK" b="1" dirty="0"/>
                <a:t>PRINCIPLES OF BUSINESS EXCELLENCE</a:t>
              </a:r>
            </a:p>
          </p:txBody>
        </p:sp>
        <p:sp>
          <p:nvSpPr>
            <p:cNvPr id="82" name="Tekstboks 369"/>
            <p:cNvSpPr txBox="1"/>
            <p:nvPr/>
          </p:nvSpPr>
          <p:spPr>
            <a:xfrm rot="16200000">
              <a:off x="863601" y="3541712"/>
              <a:ext cx="2209800" cy="307975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da-DK" sz="1100" b="1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n-lt"/>
                  <a:cs typeface="+mn-cs"/>
                </a:rPr>
                <a:t>TARGET ORIENTED</a:t>
              </a:r>
            </a:p>
          </p:txBody>
        </p:sp>
      </p:grpSp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Your footnote</a:t>
            </a:r>
            <a:endParaRPr lang="en-US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854995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3" name="Object 7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7" name="Rectangle 206"/>
          <p:cNvSpPr/>
          <p:nvPr/>
        </p:nvSpPr>
        <p:spPr>
          <a:xfrm>
            <a:off x="5290045" y="1555247"/>
            <a:ext cx="2409059" cy="4260999"/>
          </a:xfrm>
          <a:prstGeom prst="rect">
            <a:avLst/>
          </a:prstGeom>
          <a:gradFill>
            <a:gsLst>
              <a:gs pos="0">
                <a:srgbClr val="2A9B18">
                  <a:alpha val="27000"/>
                </a:srgbClr>
              </a:gs>
              <a:gs pos="58000">
                <a:schemeClr val="accent1">
                  <a:tint val="50000"/>
                  <a:shade val="100000"/>
                  <a:satMod val="350000"/>
                  <a:alpha val="0"/>
                </a:schemeClr>
              </a:gs>
            </a:gsLst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8" name="Rectangle 207"/>
          <p:cNvSpPr/>
          <p:nvPr/>
        </p:nvSpPr>
        <p:spPr>
          <a:xfrm>
            <a:off x="1442932" y="1567610"/>
            <a:ext cx="3671431" cy="4260999"/>
          </a:xfrm>
          <a:prstGeom prst="rect">
            <a:avLst/>
          </a:prstGeom>
          <a:gradFill>
            <a:gsLst>
              <a:gs pos="0">
                <a:srgbClr val="95B3D7">
                  <a:alpha val="30000"/>
                </a:srgbClr>
              </a:gs>
              <a:gs pos="58000">
                <a:schemeClr val="accent1">
                  <a:tint val="50000"/>
                  <a:shade val="100000"/>
                  <a:satMod val="350000"/>
                  <a:alpha val="0"/>
                </a:schemeClr>
              </a:gs>
            </a:gsLst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Subtitle 5"/>
          <p:cNvSpPr>
            <a:spLocks noGrp="1"/>
          </p:cNvSpPr>
          <p:nvPr>
            <p:ph type="subTitle" idx="1"/>
          </p:nvPr>
        </p:nvSpPr>
        <p:spPr>
          <a:xfrm>
            <a:off x="628650" y="866381"/>
            <a:ext cx="7891272" cy="243785"/>
          </a:xfrm>
        </p:spPr>
        <p:txBody>
          <a:bodyPr/>
          <a:lstStyle/>
          <a:p>
            <a:pPr>
              <a:lnSpc>
                <a:spcPct val="80000"/>
              </a:lnSpc>
            </a:pPr>
            <a:r>
              <a:rPr lang="en-US"/>
              <a:t>Replace this text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5C11E9-EA40-D54F-953A-82A4C72DAAAD}" type="slidenum">
              <a:rPr lang="en-US" smtClean="0"/>
              <a:t>3</a:t>
            </a:fld>
            <a:r>
              <a:rPr lang="en-US" smtClean="0"/>
              <a:t> I</a:t>
            </a:r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28650" y="437962"/>
            <a:ext cx="7886700" cy="395173"/>
          </a:xfrm>
        </p:spPr>
        <p:txBody>
          <a:bodyPr/>
          <a:lstStyle/>
          <a:p>
            <a:pPr>
              <a:lnSpc>
                <a:spcPct val="80000"/>
              </a:lnSpc>
            </a:pPr>
            <a:r>
              <a:rPr lang="en-US"/>
              <a:t>BUSINESS EXCELLENCE MODEL</a:t>
            </a:r>
            <a:endParaRPr lang="en-US" dirty="0"/>
          </a:p>
        </p:txBody>
      </p:sp>
      <p:grpSp>
        <p:nvGrpSpPr>
          <p:cNvPr id="21" name="Gruppe 16"/>
          <p:cNvGrpSpPr/>
          <p:nvPr/>
        </p:nvGrpSpPr>
        <p:grpSpPr bwMode="auto">
          <a:xfrm>
            <a:off x="1811456" y="2074097"/>
            <a:ext cx="5355513" cy="2866200"/>
            <a:chOff x="4961114" y="1953641"/>
            <a:chExt cx="2856700" cy="1528862"/>
          </a:xfrm>
          <a:gradFill>
            <a:gsLst>
              <a:gs pos="0">
                <a:schemeClr val="bg1">
                  <a:lumMod val="75000"/>
                </a:schemeClr>
              </a:gs>
              <a:gs pos="100000">
                <a:schemeClr val="tx1">
                  <a:lumMod val="75000"/>
                  <a:lumOff val="25000"/>
                </a:schemeClr>
              </a:gs>
            </a:gsLst>
            <a:lin ang="2700000" scaled="1"/>
          </a:gradFill>
        </p:grpSpPr>
        <p:sp>
          <p:nvSpPr>
            <p:cNvPr id="28" name="Rektangel 11"/>
            <p:cNvSpPr/>
            <p:nvPr/>
          </p:nvSpPr>
          <p:spPr>
            <a:xfrm>
              <a:off x="4961114" y="2013627"/>
              <a:ext cx="2762656" cy="107004"/>
            </a:xfrm>
            <a:prstGeom prst="rect">
              <a:avLst/>
            </a:prstGeom>
            <a:grpFill/>
            <a:ln w="9525" cap="flat" cmpd="sng" algn="ctr">
              <a:noFill/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" lastClr="FFFFFF"/>
                </a:solidFill>
                <a:latin typeface="Calibri"/>
                <a:cs typeface="+mn-cs"/>
              </a:endParaRPr>
            </a:p>
          </p:txBody>
        </p:sp>
        <p:sp>
          <p:nvSpPr>
            <p:cNvPr id="29" name="Rektangel 12"/>
            <p:cNvSpPr/>
            <p:nvPr/>
          </p:nvSpPr>
          <p:spPr>
            <a:xfrm>
              <a:off x="5055158" y="2671864"/>
              <a:ext cx="2762656" cy="107004"/>
            </a:xfrm>
            <a:prstGeom prst="rect">
              <a:avLst/>
            </a:prstGeom>
            <a:grpFill/>
            <a:ln w="9525" cap="flat" cmpd="sng" algn="ctr">
              <a:noFill/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" lastClr="FFFFFF"/>
                </a:solidFill>
                <a:latin typeface="Calibri"/>
                <a:cs typeface="+mn-cs"/>
              </a:endParaRPr>
            </a:p>
          </p:txBody>
        </p:sp>
        <p:sp>
          <p:nvSpPr>
            <p:cNvPr id="30" name="Rektangel 13"/>
            <p:cNvSpPr/>
            <p:nvPr/>
          </p:nvSpPr>
          <p:spPr>
            <a:xfrm>
              <a:off x="4993549" y="3375499"/>
              <a:ext cx="2762656" cy="107004"/>
            </a:xfrm>
            <a:prstGeom prst="rect">
              <a:avLst/>
            </a:prstGeom>
            <a:grpFill/>
            <a:ln w="9525" cap="flat" cmpd="sng" algn="ctr">
              <a:noFill/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" lastClr="FFFFFF"/>
                </a:solidFill>
                <a:latin typeface="Calibri"/>
                <a:cs typeface="+mn-cs"/>
              </a:endParaRPr>
            </a:p>
          </p:txBody>
        </p:sp>
        <p:sp>
          <p:nvSpPr>
            <p:cNvPr id="31" name="Rektangel 14"/>
            <p:cNvSpPr/>
            <p:nvPr/>
          </p:nvSpPr>
          <p:spPr>
            <a:xfrm rot="5400000">
              <a:off x="6479442" y="2583513"/>
              <a:ext cx="1228928" cy="111853"/>
            </a:xfrm>
            <a:prstGeom prst="rect">
              <a:avLst/>
            </a:prstGeom>
            <a:grpFill/>
            <a:ln w="9525" cap="flat" cmpd="sng" algn="ctr">
              <a:noFill/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" lastClr="FFFFFF"/>
                </a:solidFill>
                <a:latin typeface="Calibri"/>
                <a:cs typeface="+mn-cs"/>
              </a:endParaRPr>
            </a:p>
          </p:txBody>
        </p:sp>
        <p:sp>
          <p:nvSpPr>
            <p:cNvPr id="32" name="Rektangel 15"/>
            <p:cNvSpPr/>
            <p:nvPr/>
          </p:nvSpPr>
          <p:spPr>
            <a:xfrm rot="5400000">
              <a:off x="5104600" y="2512178"/>
              <a:ext cx="1228928" cy="111853"/>
            </a:xfrm>
            <a:prstGeom prst="rect">
              <a:avLst/>
            </a:prstGeom>
            <a:grpFill/>
            <a:ln w="9525" cap="flat" cmpd="sng" algn="ctr">
              <a:noFill/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" lastClr="FFFFFF"/>
                </a:solidFill>
                <a:latin typeface="Calibri"/>
                <a:cs typeface="+mn-cs"/>
              </a:endParaRPr>
            </a:p>
          </p:txBody>
        </p:sp>
      </p:grpSp>
      <p:sp>
        <p:nvSpPr>
          <p:cNvPr id="22" name="Rektangel 2"/>
          <p:cNvSpPr/>
          <p:nvPr/>
        </p:nvSpPr>
        <p:spPr bwMode="auto">
          <a:xfrm>
            <a:off x="1442933" y="1568451"/>
            <a:ext cx="1112022" cy="3918949"/>
          </a:xfrm>
          <a:prstGeom prst="rect">
            <a:avLst/>
          </a:prstGeom>
          <a:gradFill rotWithShape="1">
            <a:gsLst>
              <a:gs pos="0">
                <a:srgbClr val="E6E6E6">
                  <a:tint val="100000"/>
                  <a:shade val="100000"/>
                  <a:satMod val="130000"/>
                </a:srgbClr>
              </a:gs>
              <a:gs pos="100000">
                <a:srgbClr val="E6E6E6">
                  <a:tint val="50000"/>
                  <a:shade val="100000"/>
                  <a:satMod val="350000"/>
                </a:srgbClr>
              </a:gs>
            </a:gsLst>
            <a:lin ang="16200000" scaled="0"/>
          </a:gradFill>
          <a:ln w="9525" cap="flat" cmpd="sng" algn="ctr">
            <a:solidFill>
              <a:sysClr val="window" lastClr="FFFFFF">
                <a:lumMod val="85000"/>
              </a:sysClr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a-DK" kern="0">
              <a:solidFill>
                <a:sysClr val="window" lastClr="FFFFFF"/>
              </a:solidFill>
              <a:latin typeface="Calibri"/>
              <a:cs typeface="+mn-cs"/>
            </a:endParaRPr>
          </a:p>
        </p:txBody>
      </p:sp>
      <p:sp>
        <p:nvSpPr>
          <p:cNvPr id="23" name="Rektangel 3"/>
          <p:cNvSpPr/>
          <p:nvPr/>
        </p:nvSpPr>
        <p:spPr bwMode="auto">
          <a:xfrm>
            <a:off x="3957729" y="1576719"/>
            <a:ext cx="1146472" cy="3910680"/>
          </a:xfrm>
          <a:prstGeom prst="rect">
            <a:avLst/>
          </a:prstGeom>
          <a:gradFill rotWithShape="1">
            <a:gsLst>
              <a:gs pos="0">
                <a:srgbClr val="E6E6E6">
                  <a:tint val="100000"/>
                  <a:shade val="100000"/>
                  <a:satMod val="130000"/>
                </a:srgbClr>
              </a:gs>
              <a:gs pos="100000">
                <a:srgbClr val="E6E6E6">
                  <a:tint val="50000"/>
                  <a:shade val="100000"/>
                  <a:satMod val="350000"/>
                </a:srgbClr>
              </a:gs>
            </a:gsLst>
            <a:lin ang="16200000" scaled="0"/>
          </a:gradFill>
          <a:ln w="9525" cap="flat" cmpd="sng" algn="ctr">
            <a:solidFill>
              <a:sysClr val="window" lastClr="FFFFFF">
                <a:lumMod val="85000"/>
              </a:sysClr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a-DK" kern="0">
              <a:solidFill>
                <a:sysClr val="window" lastClr="FFFFFF"/>
              </a:solidFill>
              <a:latin typeface="Calibri"/>
              <a:cs typeface="+mn-cs"/>
            </a:endParaRPr>
          </a:p>
        </p:txBody>
      </p:sp>
      <p:sp>
        <p:nvSpPr>
          <p:cNvPr id="24" name="Rektangel 4"/>
          <p:cNvSpPr/>
          <p:nvPr/>
        </p:nvSpPr>
        <p:spPr bwMode="auto">
          <a:xfrm>
            <a:off x="6531778" y="1576719"/>
            <a:ext cx="1150606" cy="3910681"/>
          </a:xfrm>
          <a:prstGeom prst="rect">
            <a:avLst/>
          </a:prstGeom>
          <a:gradFill rotWithShape="1">
            <a:gsLst>
              <a:gs pos="0">
                <a:srgbClr val="E6E6E6">
                  <a:tint val="100000"/>
                  <a:shade val="100000"/>
                  <a:satMod val="130000"/>
                </a:srgbClr>
              </a:gs>
              <a:gs pos="100000">
                <a:srgbClr val="E6E6E6">
                  <a:tint val="50000"/>
                  <a:shade val="100000"/>
                  <a:satMod val="350000"/>
                </a:srgbClr>
              </a:gs>
            </a:gsLst>
            <a:lin ang="16200000" scaled="0"/>
          </a:gradFill>
          <a:ln w="9525" cap="flat" cmpd="sng" algn="ctr">
            <a:solidFill>
              <a:sysClr val="window" lastClr="FFFFFF">
                <a:lumMod val="85000"/>
              </a:sysClr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a-DK" kern="0">
              <a:solidFill>
                <a:sysClr val="window" lastClr="FFFFFF"/>
              </a:solidFill>
              <a:latin typeface="Calibri"/>
              <a:cs typeface="+mn-cs"/>
            </a:endParaRPr>
          </a:p>
        </p:txBody>
      </p:sp>
      <p:sp>
        <p:nvSpPr>
          <p:cNvPr id="25" name="Rektangel 8"/>
          <p:cNvSpPr/>
          <p:nvPr/>
        </p:nvSpPr>
        <p:spPr bwMode="auto">
          <a:xfrm>
            <a:off x="2736848" y="1572583"/>
            <a:ext cx="1033479" cy="1124424"/>
          </a:xfrm>
          <a:prstGeom prst="rect">
            <a:avLst/>
          </a:prstGeom>
          <a:gradFill rotWithShape="1">
            <a:gsLst>
              <a:gs pos="0">
                <a:srgbClr val="E6E6E6">
                  <a:tint val="100000"/>
                  <a:shade val="100000"/>
                  <a:satMod val="130000"/>
                </a:srgbClr>
              </a:gs>
              <a:gs pos="100000">
                <a:srgbClr val="E6E6E6">
                  <a:tint val="50000"/>
                  <a:shade val="100000"/>
                  <a:satMod val="350000"/>
                </a:srgbClr>
              </a:gs>
            </a:gsLst>
            <a:lin ang="16200000" scaled="0"/>
          </a:gradFill>
          <a:ln w="9525" cap="flat" cmpd="sng" algn="ctr">
            <a:solidFill>
              <a:sysClr val="window" lastClr="FFFFFF">
                <a:lumMod val="85000"/>
              </a:sysClr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a-DK" kern="0">
              <a:solidFill>
                <a:sysClr val="window" lastClr="FFFFFF"/>
              </a:solidFill>
              <a:latin typeface="Calibri"/>
              <a:cs typeface="+mn-cs"/>
            </a:endParaRPr>
          </a:p>
        </p:txBody>
      </p:sp>
      <p:sp>
        <p:nvSpPr>
          <p:cNvPr id="26" name="Rektangel 9"/>
          <p:cNvSpPr/>
          <p:nvPr/>
        </p:nvSpPr>
        <p:spPr bwMode="auto">
          <a:xfrm>
            <a:off x="2729958" y="2951932"/>
            <a:ext cx="1034857" cy="1125802"/>
          </a:xfrm>
          <a:prstGeom prst="rect">
            <a:avLst/>
          </a:prstGeom>
          <a:gradFill rotWithShape="1">
            <a:gsLst>
              <a:gs pos="0">
                <a:srgbClr val="E6E6E6">
                  <a:tint val="100000"/>
                  <a:shade val="100000"/>
                  <a:satMod val="130000"/>
                </a:srgbClr>
              </a:gs>
              <a:gs pos="100000">
                <a:srgbClr val="E6E6E6">
                  <a:tint val="50000"/>
                  <a:shade val="100000"/>
                  <a:satMod val="350000"/>
                </a:srgbClr>
              </a:gs>
            </a:gsLst>
            <a:lin ang="16200000" scaled="0"/>
          </a:gradFill>
          <a:ln w="9525" cap="flat" cmpd="sng" algn="ctr">
            <a:solidFill>
              <a:sysClr val="window" lastClr="FFFFFF">
                <a:lumMod val="85000"/>
              </a:sysClr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a-DK" kern="0">
              <a:solidFill>
                <a:sysClr val="window" lastClr="FFFFFF"/>
              </a:solidFill>
              <a:latin typeface="Calibri"/>
              <a:cs typeface="+mn-cs"/>
            </a:endParaRPr>
          </a:p>
        </p:txBody>
      </p:sp>
      <p:sp>
        <p:nvSpPr>
          <p:cNvPr id="27" name="Rektangel 10"/>
          <p:cNvSpPr/>
          <p:nvPr/>
        </p:nvSpPr>
        <p:spPr bwMode="auto">
          <a:xfrm>
            <a:off x="2747871" y="4350573"/>
            <a:ext cx="1034855" cy="1124424"/>
          </a:xfrm>
          <a:prstGeom prst="rect">
            <a:avLst/>
          </a:prstGeom>
          <a:gradFill rotWithShape="1">
            <a:gsLst>
              <a:gs pos="0">
                <a:srgbClr val="E6E6E6">
                  <a:tint val="100000"/>
                  <a:shade val="100000"/>
                  <a:satMod val="130000"/>
                </a:srgbClr>
              </a:gs>
              <a:gs pos="100000">
                <a:srgbClr val="E6E6E6">
                  <a:tint val="50000"/>
                  <a:shade val="100000"/>
                  <a:satMod val="350000"/>
                </a:srgbClr>
              </a:gs>
            </a:gsLst>
            <a:lin ang="16200000" scaled="0"/>
          </a:gradFill>
          <a:ln w="9525" cap="flat" cmpd="sng" algn="ctr">
            <a:solidFill>
              <a:sysClr val="window" lastClr="FFFFFF">
                <a:lumMod val="85000"/>
              </a:sysClr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a-DK" kern="0">
              <a:solidFill>
                <a:sysClr val="window" lastClr="FFFFFF"/>
              </a:solidFill>
              <a:latin typeface="Calibri"/>
              <a:cs typeface="+mn-cs"/>
            </a:endParaRPr>
          </a:p>
        </p:txBody>
      </p:sp>
      <p:sp>
        <p:nvSpPr>
          <p:cNvPr id="18" name="Rektangel 22"/>
          <p:cNvSpPr/>
          <p:nvPr/>
        </p:nvSpPr>
        <p:spPr bwMode="auto">
          <a:xfrm>
            <a:off x="5298495" y="1572583"/>
            <a:ext cx="1033478" cy="1124424"/>
          </a:xfrm>
          <a:prstGeom prst="rect">
            <a:avLst/>
          </a:prstGeom>
          <a:gradFill rotWithShape="1">
            <a:gsLst>
              <a:gs pos="0">
                <a:srgbClr val="E6E6E6">
                  <a:tint val="100000"/>
                  <a:shade val="100000"/>
                  <a:satMod val="130000"/>
                </a:srgbClr>
              </a:gs>
              <a:gs pos="100000">
                <a:srgbClr val="E6E6E6">
                  <a:tint val="50000"/>
                  <a:shade val="100000"/>
                  <a:satMod val="350000"/>
                </a:srgbClr>
              </a:gs>
            </a:gsLst>
            <a:lin ang="16200000" scaled="0"/>
          </a:gradFill>
          <a:ln w="9525" cap="flat" cmpd="sng" algn="ctr">
            <a:solidFill>
              <a:sysClr val="window" lastClr="FFFFFF">
                <a:lumMod val="85000"/>
              </a:sysClr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a-DK" kern="0">
              <a:solidFill>
                <a:sysClr val="window" lastClr="FFFFFF"/>
              </a:solidFill>
              <a:latin typeface="Calibri"/>
              <a:cs typeface="+mn-cs"/>
            </a:endParaRPr>
          </a:p>
        </p:txBody>
      </p:sp>
      <p:sp>
        <p:nvSpPr>
          <p:cNvPr id="19" name="Rektangel 23"/>
          <p:cNvSpPr/>
          <p:nvPr/>
        </p:nvSpPr>
        <p:spPr bwMode="auto">
          <a:xfrm>
            <a:off x="5292983" y="2951932"/>
            <a:ext cx="1033478" cy="1125802"/>
          </a:xfrm>
          <a:prstGeom prst="rect">
            <a:avLst/>
          </a:prstGeom>
          <a:gradFill rotWithShape="1">
            <a:gsLst>
              <a:gs pos="0">
                <a:srgbClr val="E6E6E6">
                  <a:tint val="100000"/>
                  <a:shade val="100000"/>
                  <a:satMod val="130000"/>
                </a:srgbClr>
              </a:gs>
              <a:gs pos="100000">
                <a:srgbClr val="E6E6E6">
                  <a:tint val="50000"/>
                  <a:shade val="100000"/>
                  <a:satMod val="350000"/>
                </a:srgbClr>
              </a:gs>
            </a:gsLst>
            <a:lin ang="16200000" scaled="0"/>
          </a:gradFill>
          <a:ln w="9525" cap="flat" cmpd="sng" algn="ctr">
            <a:solidFill>
              <a:sysClr val="window" lastClr="FFFFFF">
                <a:lumMod val="85000"/>
              </a:sysClr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a-DK" kern="0">
              <a:solidFill>
                <a:sysClr val="window" lastClr="FFFFFF"/>
              </a:solidFill>
              <a:latin typeface="Calibri"/>
              <a:cs typeface="+mn-cs"/>
            </a:endParaRPr>
          </a:p>
        </p:txBody>
      </p:sp>
      <p:sp>
        <p:nvSpPr>
          <p:cNvPr id="20" name="Rektangel 24"/>
          <p:cNvSpPr/>
          <p:nvPr/>
        </p:nvSpPr>
        <p:spPr bwMode="auto">
          <a:xfrm>
            <a:off x="5310897" y="4350573"/>
            <a:ext cx="1033478" cy="1124424"/>
          </a:xfrm>
          <a:prstGeom prst="rect">
            <a:avLst/>
          </a:prstGeom>
          <a:gradFill rotWithShape="1">
            <a:gsLst>
              <a:gs pos="0">
                <a:srgbClr val="E6E6E6">
                  <a:tint val="100000"/>
                  <a:shade val="100000"/>
                  <a:satMod val="130000"/>
                </a:srgbClr>
              </a:gs>
              <a:gs pos="100000">
                <a:srgbClr val="E6E6E6">
                  <a:tint val="50000"/>
                  <a:shade val="100000"/>
                  <a:satMod val="350000"/>
                </a:srgbClr>
              </a:gs>
            </a:gsLst>
            <a:lin ang="16200000" scaled="0"/>
          </a:gradFill>
          <a:ln w="9525" cap="flat" cmpd="sng" algn="ctr">
            <a:solidFill>
              <a:sysClr val="window" lastClr="FFFFFF">
                <a:lumMod val="85000"/>
              </a:sysClr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a-DK" kern="0">
              <a:solidFill>
                <a:sysClr val="window" lastClr="FFFFFF"/>
              </a:solidFill>
              <a:latin typeface="Calibri"/>
              <a:cs typeface="+mn-cs"/>
            </a:endParaRPr>
          </a:p>
        </p:txBody>
      </p:sp>
      <p:sp>
        <p:nvSpPr>
          <p:cNvPr id="33" name="Tekstboks 21"/>
          <p:cNvSpPr txBox="1">
            <a:spLocks noChangeArrowheads="1"/>
          </p:cNvSpPr>
          <p:nvPr/>
        </p:nvSpPr>
        <p:spPr bwMode="auto">
          <a:xfrm>
            <a:off x="1431909" y="1604277"/>
            <a:ext cx="1113400" cy="2411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-112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-112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-112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-112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-112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12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12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12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12" charset="0"/>
              </a:defRPr>
            </a:lvl9pPr>
          </a:lstStyle>
          <a:p>
            <a:pPr algn="ctr"/>
            <a:r>
              <a:rPr lang="da-DK" sz="1200"/>
              <a:t>LEADERSHIP</a:t>
            </a:r>
          </a:p>
        </p:txBody>
      </p:sp>
      <p:sp>
        <p:nvSpPr>
          <p:cNvPr id="34" name="Tekstboks 26"/>
          <p:cNvSpPr txBox="1">
            <a:spLocks noChangeArrowheads="1"/>
          </p:cNvSpPr>
          <p:nvPr/>
        </p:nvSpPr>
        <p:spPr bwMode="auto">
          <a:xfrm>
            <a:off x="3941194" y="1608411"/>
            <a:ext cx="1167141" cy="2397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-112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-112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-112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-112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-112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12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12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12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12" charset="0"/>
              </a:defRPr>
            </a:lvl9pPr>
          </a:lstStyle>
          <a:p>
            <a:pPr algn="ctr"/>
            <a:r>
              <a:rPr lang="da-DK" sz="1200"/>
              <a:t>PROCESSES</a:t>
            </a:r>
          </a:p>
        </p:txBody>
      </p:sp>
      <p:sp>
        <p:nvSpPr>
          <p:cNvPr id="35" name="Tekstboks 27"/>
          <p:cNvSpPr txBox="1">
            <a:spLocks noChangeArrowheads="1"/>
          </p:cNvSpPr>
          <p:nvPr/>
        </p:nvSpPr>
        <p:spPr bwMode="auto">
          <a:xfrm>
            <a:off x="2747871" y="4338171"/>
            <a:ext cx="1033478" cy="2411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-112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-112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-112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-112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-112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12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12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12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12" charset="0"/>
              </a:defRPr>
            </a:lvl9pPr>
          </a:lstStyle>
          <a:p>
            <a:pPr algn="ctr"/>
            <a:r>
              <a:rPr lang="da-DK" sz="1200"/>
              <a:t>RESSOURCES</a:t>
            </a:r>
          </a:p>
        </p:txBody>
      </p:sp>
      <p:sp>
        <p:nvSpPr>
          <p:cNvPr id="36" name="Tekstboks 28"/>
          <p:cNvSpPr txBox="1">
            <a:spLocks noChangeArrowheads="1"/>
          </p:cNvSpPr>
          <p:nvPr/>
        </p:nvSpPr>
        <p:spPr bwMode="auto">
          <a:xfrm>
            <a:off x="2717556" y="2976736"/>
            <a:ext cx="1058282" cy="4009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-112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-112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-112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-112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-112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12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12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12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12" charset="0"/>
              </a:defRPr>
            </a:lvl9pPr>
          </a:lstStyle>
          <a:p>
            <a:pPr algn="ctr"/>
            <a:r>
              <a:rPr lang="da-DK" sz="1000" dirty="0"/>
              <a:t>POLICY &amp; STRATEGY</a:t>
            </a:r>
          </a:p>
        </p:txBody>
      </p:sp>
      <p:sp>
        <p:nvSpPr>
          <p:cNvPr id="37" name="Tekstboks 29"/>
          <p:cNvSpPr txBox="1">
            <a:spLocks noChangeArrowheads="1"/>
          </p:cNvSpPr>
          <p:nvPr/>
        </p:nvSpPr>
        <p:spPr bwMode="auto">
          <a:xfrm>
            <a:off x="2747871" y="1568450"/>
            <a:ext cx="1008675" cy="4009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-112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-112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-112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-112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-112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12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12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12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12" charset="0"/>
              </a:defRPr>
            </a:lvl9pPr>
          </a:lstStyle>
          <a:p>
            <a:pPr algn="ctr"/>
            <a:r>
              <a:rPr lang="da-DK" sz="1000" dirty="0"/>
              <a:t>PEOPLE MANAGEMENT</a:t>
            </a:r>
          </a:p>
        </p:txBody>
      </p:sp>
      <p:sp>
        <p:nvSpPr>
          <p:cNvPr id="38" name="Tekstboks 30"/>
          <p:cNvSpPr txBox="1">
            <a:spLocks noChangeArrowheads="1"/>
          </p:cNvSpPr>
          <p:nvPr/>
        </p:nvSpPr>
        <p:spPr bwMode="auto">
          <a:xfrm>
            <a:off x="6524889" y="1612545"/>
            <a:ext cx="1165763" cy="2411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-112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-112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-112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-112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-112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12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12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12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12" charset="0"/>
              </a:defRPr>
            </a:lvl9pPr>
          </a:lstStyle>
          <a:p>
            <a:pPr algn="ctr"/>
            <a:r>
              <a:rPr lang="da-DK" sz="1200" dirty="0"/>
              <a:t>BUSINESS RESULTS</a:t>
            </a:r>
          </a:p>
        </p:txBody>
      </p:sp>
      <p:sp>
        <p:nvSpPr>
          <p:cNvPr id="39" name="Tekstboks 31"/>
          <p:cNvSpPr txBox="1">
            <a:spLocks noChangeArrowheads="1"/>
          </p:cNvSpPr>
          <p:nvPr/>
        </p:nvSpPr>
        <p:spPr bwMode="auto">
          <a:xfrm>
            <a:off x="5312275" y="4335415"/>
            <a:ext cx="1036234" cy="4009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-112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-112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-112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-112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-112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12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12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12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12" charset="0"/>
              </a:defRPr>
            </a:lvl9pPr>
          </a:lstStyle>
          <a:p>
            <a:pPr algn="ctr"/>
            <a:r>
              <a:rPr lang="da-DK" sz="1000" dirty="0"/>
              <a:t>IMPACT ON SOCIETY</a:t>
            </a:r>
          </a:p>
        </p:txBody>
      </p:sp>
      <p:sp>
        <p:nvSpPr>
          <p:cNvPr id="40" name="Tekstboks 32"/>
          <p:cNvSpPr txBox="1">
            <a:spLocks noChangeArrowheads="1"/>
          </p:cNvSpPr>
          <p:nvPr/>
        </p:nvSpPr>
        <p:spPr bwMode="auto">
          <a:xfrm>
            <a:off x="5290227" y="2935397"/>
            <a:ext cx="1014186" cy="4009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-112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-112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-112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-112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-112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12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12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12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12" charset="0"/>
              </a:defRPr>
            </a:lvl9pPr>
          </a:lstStyle>
          <a:p>
            <a:pPr algn="ctr"/>
            <a:r>
              <a:rPr lang="da-DK" sz="1000" dirty="0"/>
              <a:t>CUSTOMER SATISFACTION</a:t>
            </a:r>
          </a:p>
        </p:txBody>
      </p:sp>
      <p:sp>
        <p:nvSpPr>
          <p:cNvPr id="41" name="Tekstboks 33"/>
          <p:cNvSpPr txBox="1">
            <a:spLocks noChangeArrowheads="1"/>
          </p:cNvSpPr>
          <p:nvPr/>
        </p:nvSpPr>
        <p:spPr bwMode="auto">
          <a:xfrm>
            <a:off x="5290227" y="1576718"/>
            <a:ext cx="1047258" cy="4009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-112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-112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-112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-112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-112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12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12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12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12" charset="0"/>
              </a:defRPr>
            </a:lvl9pPr>
          </a:lstStyle>
          <a:p>
            <a:pPr algn="ctr"/>
            <a:r>
              <a:rPr lang="da-DK" sz="1000" dirty="0"/>
              <a:t>PEOPLE SATISFACTION</a:t>
            </a:r>
          </a:p>
        </p:txBody>
      </p:sp>
      <p:grpSp>
        <p:nvGrpSpPr>
          <p:cNvPr id="42" name="Gruppe 130"/>
          <p:cNvGrpSpPr>
            <a:grpSpLocks/>
          </p:cNvGrpSpPr>
          <p:nvPr/>
        </p:nvGrpSpPr>
        <p:grpSpPr bwMode="auto">
          <a:xfrm>
            <a:off x="5437670" y="3328118"/>
            <a:ext cx="763396" cy="760640"/>
            <a:chOff x="-2446697" y="642918"/>
            <a:chExt cx="3661446" cy="3643320"/>
          </a:xfrm>
          <a:solidFill>
            <a:srgbClr val="17375E"/>
          </a:solidFill>
        </p:grpSpPr>
        <p:sp>
          <p:nvSpPr>
            <p:cNvPr id="43" name="Freeform 225"/>
            <p:cNvSpPr>
              <a:spLocks/>
            </p:cNvSpPr>
            <p:nvPr/>
          </p:nvSpPr>
          <p:spPr bwMode="auto">
            <a:xfrm>
              <a:off x="550130" y="1579426"/>
              <a:ext cx="18126" cy="18126"/>
            </a:xfrm>
            <a:custGeom>
              <a:avLst/>
              <a:gdLst>
                <a:gd name="T0" fmla="*/ 54758652 w 6"/>
                <a:gd name="T1" fmla="*/ 0 h 6"/>
                <a:gd name="T2" fmla="*/ 0 w 6"/>
                <a:gd name="T3" fmla="*/ 36505764 h 6"/>
                <a:gd name="T4" fmla="*/ 54758652 w 6"/>
                <a:gd name="T5" fmla="*/ 54758652 h 6"/>
                <a:gd name="T6" fmla="*/ 54758652 w 6"/>
                <a:gd name="T7" fmla="*/ 0 h 6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6"/>
                <a:gd name="T13" fmla="*/ 0 h 6"/>
                <a:gd name="T14" fmla="*/ 6 w 6"/>
                <a:gd name="T15" fmla="*/ 6 h 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6" h="6">
                  <a:moveTo>
                    <a:pt x="6" y="0"/>
                  </a:moveTo>
                  <a:lnTo>
                    <a:pt x="0" y="4"/>
                  </a:lnTo>
                  <a:lnTo>
                    <a:pt x="6" y="6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Calibri" pitchFamily="34" charset="0"/>
                <a:cs typeface="+mn-cs"/>
              </a:endParaRPr>
            </a:p>
          </p:txBody>
        </p:sp>
        <p:sp>
          <p:nvSpPr>
            <p:cNvPr id="44" name="Freeform 226"/>
            <p:cNvSpPr>
              <a:spLocks/>
            </p:cNvSpPr>
            <p:nvPr/>
          </p:nvSpPr>
          <p:spPr bwMode="auto">
            <a:xfrm>
              <a:off x="84897" y="1869442"/>
              <a:ext cx="205428" cy="72504"/>
            </a:xfrm>
            <a:custGeom>
              <a:avLst/>
              <a:gdLst>
                <a:gd name="T0" fmla="*/ 346804697 w 68"/>
                <a:gd name="T1" fmla="*/ 73011528 h 24"/>
                <a:gd name="T2" fmla="*/ 346804697 w 68"/>
                <a:gd name="T3" fmla="*/ 54758652 h 24"/>
                <a:gd name="T4" fmla="*/ 346804697 w 68"/>
                <a:gd name="T5" fmla="*/ 0 h 24"/>
                <a:gd name="T6" fmla="*/ 219034580 w 68"/>
                <a:gd name="T7" fmla="*/ 0 h 24"/>
                <a:gd name="T8" fmla="*/ 73011519 w 68"/>
                <a:gd name="T9" fmla="*/ 73011528 h 24"/>
                <a:gd name="T10" fmla="*/ 0 w 68"/>
                <a:gd name="T11" fmla="*/ 109517304 h 24"/>
                <a:gd name="T12" fmla="*/ 0 w 68"/>
                <a:gd name="T13" fmla="*/ 219034609 h 24"/>
                <a:gd name="T14" fmla="*/ 200781706 w 68"/>
                <a:gd name="T15" fmla="*/ 164275933 h 24"/>
                <a:gd name="T16" fmla="*/ 346804697 w 68"/>
                <a:gd name="T17" fmla="*/ 219034609 h 24"/>
                <a:gd name="T18" fmla="*/ 492827782 w 68"/>
                <a:gd name="T19" fmla="*/ 219034609 h 24"/>
                <a:gd name="T20" fmla="*/ 620597898 w 68"/>
                <a:gd name="T21" fmla="*/ 164275933 h 24"/>
                <a:gd name="T22" fmla="*/ 401563413 w 68"/>
                <a:gd name="T23" fmla="*/ 109517304 h 24"/>
                <a:gd name="T24" fmla="*/ 492827782 w 68"/>
                <a:gd name="T25" fmla="*/ 18252882 h 24"/>
                <a:gd name="T26" fmla="*/ 346804697 w 68"/>
                <a:gd name="T27" fmla="*/ 73011528 h 24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68"/>
                <a:gd name="T43" fmla="*/ 0 h 24"/>
                <a:gd name="T44" fmla="*/ 68 w 68"/>
                <a:gd name="T45" fmla="*/ 24 h 24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68" h="24">
                  <a:moveTo>
                    <a:pt x="38" y="8"/>
                  </a:moveTo>
                  <a:lnTo>
                    <a:pt x="38" y="6"/>
                  </a:lnTo>
                  <a:lnTo>
                    <a:pt x="38" y="0"/>
                  </a:lnTo>
                  <a:lnTo>
                    <a:pt x="24" y="0"/>
                  </a:lnTo>
                  <a:lnTo>
                    <a:pt x="8" y="8"/>
                  </a:lnTo>
                  <a:lnTo>
                    <a:pt x="0" y="12"/>
                  </a:lnTo>
                  <a:lnTo>
                    <a:pt x="0" y="24"/>
                  </a:lnTo>
                  <a:lnTo>
                    <a:pt x="22" y="18"/>
                  </a:lnTo>
                  <a:lnTo>
                    <a:pt x="38" y="24"/>
                  </a:lnTo>
                  <a:lnTo>
                    <a:pt x="54" y="24"/>
                  </a:lnTo>
                  <a:lnTo>
                    <a:pt x="68" y="18"/>
                  </a:lnTo>
                  <a:lnTo>
                    <a:pt x="44" y="12"/>
                  </a:lnTo>
                  <a:lnTo>
                    <a:pt x="54" y="2"/>
                  </a:lnTo>
                  <a:lnTo>
                    <a:pt x="38" y="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Calibri" pitchFamily="34" charset="0"/>
                <a:cs typeface="+mn-cs"/>
              </a:endParaRPr>
            </a:p>
          </p:txBody>
        </p:sp>
        <p:sp>
          <p:nvSpPr>
            <p:cNvPr id="45" name="Freeform 228"/>
            <p:cNvSpPr>
              <a:spLocks/>
            </p:cNvSpPr>
            <p:nvPr/>
          </p:nvSpPr>
          <p:spPr bwMode="auto">
            <a:xfrm>
              <a:off x="544088" y="1591510"/>
              <a:ext cx="6042" cy="6042"/>
            </a:xfrm>
            <a:custGeom>
              <a:avLst/>
              <a:gdLst>
                <a:gd name="T0" fmla="*/ 18252879 w 2"/>
                <a:gd name="T1" fmla="*/ 0 h 2"/>
                <a:gd name="T2" fmla="*/ 0 w 2"/>
                <a:gd name="T3" fmla="*/ 0 h 2"/>
                <a:gd name="T4" fmla="*/ 0 w 2"/>
                <a:gd name="T5" fmla="*/ 18252879 h 2"/>
                <a:gd name="T6" fmla="*/ 18252879 w 2"/>
                <a:gd name="T7" fmla="*/ 0 h 2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"/>
                <a:gd name="T13" fmla="*/ 0 h 2"/>
                <a:gd name="T14" fmla="*/ 2 w 2"/>
                <a:gd name="T15" fmla="*/ 2 h 2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" h="2">
                  <a:moveTo>
                    <a:pt x="2" y="0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Calibri" pitchFamily="34" charset="0"/>
                <a:cs typeface="+mn-cs"/>
              </a:endParaRPr>
            </a:p>
          </p:txBody>
        </p:sp>
        <p:sp>
          <p:nvSpPr>
            <p:cNvPr id="46" name="Freeform 256"/>
            <p:cNvSpPr>
              <a:spLocks/>
            </p:cNvSpPr>
            <p:nvPr/>
          </p:nvSpPr>
          <p:spPr bwMode="auto">
            <a:xfrm>
              <a:off x="-138657" y="642918"/>
              <a:ext cx="610241" cy="827753"/>
            </a:xfrm>
            <a:custGeom>
              <a:avLst/>
              <a:gdLst>
                <a:gd name="T0" fmla="*/ 36505705 w 202"/>
                <a:gd name="T1" fmla="*/ 456321484 h 274"/>
                <a:gd name="T2" fmla="*/ 0 w 202"/>
                <a:gd name="T3" fmla="*/ 529332892 h 274"/>
                <a:gd name="T4" fmla="*/ 0 w 202"/>
                <a:gd name="T5" fmla="*/ 584091447 h 274"/>
                <a:gd name="T6" fmla="*/ 0 w 202"/>
                <a:gd name="T7" fmla="*/ 657102854 h 274"/>
                <a:gd name="T8" fmla="*/ 18252852 w 202"/>
                <a:gd name="T9" fmla="*/ 711861410 h 274"/>
                <a:gd name="T10" fmla="*/ 36505705 w 202"/>
                <a:gd name="T11" fmla="*/ 730114261 h 274"/>
                <a:gd name="T12" fmla="*/ 109517127 w 202"/>
                <a:gd name="T13" fmla="*/ 784872817 h 274"/>
                <a:gd name="T14" fmla="*/ 127769973 w 202"/>
                <a:gd name="T15" fmla="*/ 821378709 h 274"/>
                <a:gd name="T16" fmla="*/ 109517127 w 202"/>
                <a:gd name="T17" fmla="*/ 1040412931 h 274"/>
                <a:gd name="T18" fmla="*/ 91264256 w 202"/>
                <a:gd name="T19" fmla="*/ 1095168466 h 274"/>
                <a:gd name="T20" fmla="*/ 91264256 w 202"/>
                <a:gd name="T21" fmla="*/ 1149927021 h 274"/>
                <a:gd name="T22" fmla="*/ 91264256 w 202"/>
                <a:gd name="T23" fmla="*/ 1204688598 h 274"/>
                <a:gd name="T24" fmla="*/ 109517127 w 202"/>
                <a:gd name="T25" fmla="*/ 1241194301 h 274"/>
                <a:gd name="T26" fmla="*/ 127769973 w 202"/>
                <a:gd name="T27" fmla="*/ 1277696984 h 274"/>
                <a:gd name="T28" fmla="*/ 127769973 w 202"/>
                <a:gd name="T29" fmla="*/ 1332455539 h 274"/>
                <a:gd name="T30" fmla="*/ 73011410 w 202"/>
                <a:gd name="T31" fmla="*/ 1496731206 h 274"/>
                <a:gd name="T32" fmla="*/ 54758563 w 202"/>
                <a:gd name="T33" fmla="*/ 1606248694 h 274"/>
                <a:gd name="T34" fmla="*/ 54758563 w 202"/>
                <a:gd name="T35" fmla="*/ 1642754398 h 274"/>
                <a:gd name="T36" fmla="*/ 109517127 w 202"/>
                <a:gd name="T37" fmla="*/ 1661007250 h 274"/>
                <a:gd name="T38" fmla="*/ 164275666 w 202"/>
                <a:gd name="T39" fmla="*/ 1679260101 h 274"/>
                <a:gd name="T40" fmla="*/ 200781407 w 202"/>
                <a:gd name="T41" fmla="*/ 1752271509 h 274"/>
                <a:gd name="T42" fmla="*/ 219034253 w 202"/>
                <a:gd name="T43" fmla="*/ 1807030064 h 274"/>
                <a:gd name="T44" fmla="*/ 237287100 w 202"/>
                <a:gd name="T45" fmla="*/ 1861788620 h 274"/>
                <a:gd name="T46" fmla="*/ 237287100 w 202"/>
                <a:gd name="T47" fmla="*/ 1880041471 h 274"/>
                <a:gd name="T48" fmla="*/ 292045640 w 202"/>
                <a:gd name="T49" fmla="*/ 1953052879 h 274"/>
                <a:gd name="T50" fmla="*/ 310298486 w 202"/>
                <a:gd name="T51" fmla="*/ 2007811434 h 274"/>
                <a:gd name="T52" fmla="*/ 328551333 w 202"/>
                <a:gd name="T53" fmla="*/ 2080822841 h 274"/>
                <a:gd name="T54" fmla="*/ 328551333 w 202"/>
                <a:gd name="T55" fmla="*/ 2117328545 h 274"/>
                <a:gd name="T56" fmla="*/ 346804179 w 202"/>
                <a:gd name="T57" fmla="*/ 2147483647 h 274"/>
                <a:gd name="T58" fmla="*/ 365057026 w 202"/>
                <a:gd name="T59" fmla="*/ 2147483647 h 274"/>
                <a:gd name="T60" fmla="*/ 456321353 w 202"/>
                <a:gd name="T61" fmla="*/ 2147483647 h 274"/>
                <a:gd name="T62" fmla="*/ 492827046 w 202"/>
                <a:gd name="T63" fmla="*/ 2147483647 h 274"/>
                <a:gd name="T64" fmla="*/ 620596972 w 202"/>
                <a:gd name="T65" fmla="*/ 2147483647 h 274"/>
                <a:gd name="T66" fmla="*/ 693608359 w 202"/>
                <a:gd name="T67" fmla="*/ 2147483647 h 274"/>
                <a:gd name="T68" fmla="*/ 784872591 w 202"/>
                <a:gd name="T69" fmla="*/ 2147483647 h 274"/>
                <a:gd name="T70" fmla="*/ 821378473 w 202"/>
                <a:gd name="T71" fmla="*/ 2147483647 h 274"/>
                <a:gd name="T72" fmla="*/ 857884167 w 202"/>
                <a:gd name="T73" fmla="*/ 2147483647 h 274"/>
                <a:gd name="T74" fmla="*/ 949145378 w 202"/>
                <a:gd name="T75" fmla="*/ 2147483647 h 274"/>
                <a:gd name="T76" fmla="*/ 967398225 w 202"/>
                <a:gd name="T77" fmla="*/ 2147483647 h 274"/>
                <a:gd name="T78" fmla="*/ 1003903918 w 202"/>
                <a:gd name="T79" fmla="*/ 2147483647 h 274"/>
                <a:gd name="T80" fmla="*/ 1387213696 w 202"/>
                <a:gd name="T81" fmla="*/ 2147483647 h 274"/>
                <a:gd name="T82" fmla="*/ 1624501079 w 202"/>
                <a:gd name="T83" fmla="*/ 2062569990 h 274"/>
                <a:gd name="T84" fmla="*/ 1715765312 w 202"/>
                <a:gd name="T85" fmla="*/ 1916547175 h 274"/>
                <a:gd name="T86" fmla="*/ 1752271005 w 202"/>
                <a:gd name="T87" fmla="*/ 1843535768 h 274"/>
                <a:gd name="T88" fmla="*/ 1752271005 w 202"/>
                <a:gd name="T89" fmla="*/ 1788777212 h 274"/>
                <a:gd name="T90" fmla="*/ 1752271005 w 202"/>
                <a:gd name="T91" fmla="*/ 1661007250 h 274"/>
                <a:gd name="T92" fmla="*/ 1734018159 w 202"/>
                <a:gd name="T93" fmla="*/ 1624501546 h 274"/>
                <a:gd name="T94" fmla="*/ 1752271005 w 202"/>
                <a:gd name="T95" fmla="*/ 1368961243 h 274"/>
                <a:gd name="T96" fmla="*/ 1807029545 w 202"/>
                <a:gd name="T97" fmla="*/ 1241194301 h 274"/>
                <a:gd name="T98" fmla="*/ 1843535238 w 202"/>
                <a:gd name="T99" fmla="*/ 1076918635 h 274"/>
                <a:gd name="T100" fmla="*/ 1788776698 w 202"/>
                <a:gd name="T101" fmla="*/ 657102854 h 274"/>
                <a:gd name="T102" fmla="*/ 1752271005 w 202"/>
                <a:gd name="T103" fmla="*/ 547585743 h 274"/>
                <a:gd name="T104" fmla="*/ 1514983622 w 202"/>
                <a:gd name="T105" fmla="*/ 182528565 h 274"/>
                <a:gd name="T106" fmla="*/ 1405466543 w 202"/>
                <a:gd name="T107" fmla="*/ 109517158 h 274"/>
                <a:gd name="T108" fmla="*/ 1332455157 w 202"/>
                <a:gd name="T109" fmla="*/ 91264283 h 274"/>
                <a:gd name="T110" fmla="*/ 1277696617 w 202"/>
                <a:gd name="T111" fmla="*/ 54758579 h 274"/>
                <a:gd name="T112" fmla="*/ 1204685231 w 202"/>
                <a:gd name="T113" fmla="*/ 18252858 h 274"/>
                <a:gd name="T114" fmla="*/ 1022156765 w 202"/>
                <a:gd name="T115" fmla="*/ 0 h 274"/>
                <a:gd name="T116" fmla="*/ 675355512 w 202"/>
                <a:gd name="T117" fmla="*/ 73011431 h 274"/>
                <a:gd name="T118" fmla="*/ 419815660 w 202"/>
                <a:gd name="T119" fmla="*/ 182528565 h 274"/>
                <a:gd name="T120" fmla="*/ 328551333 w 202"/>
                <a:gd name="T121" fmla="*/ 237287168 h 274"/>
                <a:gd name="T122" fmla="*/ 237287100 w 202"/>
                <a:gd name="T123" fmla="*/ 310298575 h 274"/>
                <a:gd name="T124" fmla="*/ 146022820 w 202"/>
                <a:gd name="T125" fmla="*/ 365057131 h 274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202"/>
                <a:gd name="T190" fmla="*/ 0 h 274"/>
                <a:gd name="T191" fmla="*/ 202 w 202"/>
                <a:gd name="T192" fmla="*/ 274 h 274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202" h="274">
                  <a:moveTo>
                    <a:pt x="6" y="46"/>
                  </a:moveTo>
                  <a:lnTo>
                    <a:pt x="4" y="50"/>
                  </a:lnTo>
                  <a:lnTo>
                    <a:pt x="2" y="52"/>
                  </a:lnTo>
                  <a:lnTo>
                    <a:pt x="0" y="58"/>
                  </a:lnTo>
                  <a:lnTo>
                    <a:pt x="0" y="62"/>
                  </a:lnTo>
                  <a:lnTo>
                    <a:pt x="0" y="64"/>
                  </a:lnTo>
                  <a:lnTo>
                    <a:pt x="0" y="68"/>
                  </a:lnTo>
                  <a:lnTo>
                    <a:pt x="0" y="72"/>
                  </a:lnTo>
                  <a:lnTo>
                    <a:pt x="2" y="74"/>
                  </a:lnTo>
                  <a:lnTo>
                    <a:pt x="2" y="78"/>
                  </a:lnTo>
                  <a:lnTo>
                    <a:pt x="4" y="80"/>
                  </a:lnTo>
                  <a:lnTo>
                    <a:pt x="8" y="84"/>
                  </a:lnTo>
                  <a:lnTo>
                    <a:pt x="12" y="86"/>
                  </a:lnTo>
                  <a:lnTo>
                    <a:pt x="14" y="88"/>
                  </a:lnTo>
                  <a:lnTo>
                    <a:pt x="14" y="90"/>
                  </a:lnTo>
                  <a:lnTo>
                    <a:pt x="16" y="94"/>
                  </a:lnTo>
                  <a:lnTo>
                    <a:pt x="12" y="114"/>
                  </a:lnTo>
                  <a:lnTo>
                    <a:pt x="12" y="118"/>
                  </a:lnTo>
                  <a:lnTo>
                    <a:pt x="10" y="120"/>
                  </a:lnTo>
                  <a:lnTo>
                    <a:pt x="10" y="124"/>
                  </a:lnTo>
                  <a:lnTo>
                    <a:pt x="10" y="126"/>
                  </a:lnTo>
                  <a:lnTo>
                    <a:pt x="10" y="130"/>
                  </a:lnTo>
                  <a:lnTo>
                    <a:pt x="10" y="132"/>
                  </a:lnTo>
                  <a:lnTo>
                    <a:pt x="12" y="136"/>
                  </a:lnTo>
                  <a:lnTo>
                    <a:pt x="14" y="140"/>
                  </a:lnTo>
                  <a:lnTo>
                    <a:pt x="14" y="144"/>
                  </a:lnTo>
                  <a:lnTo>
                    <a:pt x="14" y="146"/>
                  </a:lnTo>
                  <a:lnTo>
                    <a:pt x="14" y="150"/>
                  </a:lnTo>
                  <a:lnTo>
                    <a:pt x="8" y="164"/>
                  </a:lnTo>
                  <a:lnTo>
                    <a:pt x="8" y="168"/>
                  </a:lnTo>
                  <a:lnTo>
                    <a:pt x="6" y="176"/>
                  </a:lnTo>
                  <a:lnTo>
                    <a:pt x="6" y="180"/>
                  </a:lnTo>
                  <a:lnTo>
                    <a:pt x="10" y="182"/>
                  </a:lnTo>
                  <a:lnTo>
                    <a:pt x="12" y="182"/>
                  </a:lnTo>
                  <a:lnTo>
                    <a:pt x="16" y="184"/>
                  </a:lnTo>
                  <a:lnTo>
                    <a:pt x="18" y="184"/>
                  </a:lnTo>
                  <a:lnTo>
                    <a:pt x="22" y="186"/>
                  </a:lnTo>
                  <a:lnTo>
                    <a:pt x="22" y="192"/>
                  </a:lnTo>
                  <a:lnTo>
                    <a:pt x="24" y="196"/>
                  </a:lnTo>
                  <a:lnTo>
                    <a:pt x="24" y="198"/>
                  </a:lnTo>
                  <a:lnTo>
                    <a:pt x="26" y="200"/>
                  </a:lnTo>
                  <a:lnTo>
                    <a:pt x="26" y="204"/>
                  </a:lnTo>
                  <a:lnTo>
                    <a:pt x="26" y="206"/>
                  </a:lnTo>
                  <a:lnTo>
                    <a:pt x="28" y="210"/>
                  </a:lnTo>
                  <a:lnTo>
                    <a:pt x="32" y="214"/>
                  </a:lnTo>
                  <a:lnTo>
                    <a:pt x="34" y="218"/>
                  </a:lnTo>
                  <a:lnTo>
                    <a:pt x="34" y="220"/>
                  </a:lnTo>
                  <a:lnTo>
                    <a:pt x="36" y="224"/>
                  </a:lnTo>
                  <a:lnTo>
                    <a:pt x="36" y="228"/>
                  </a:lnTo>
                  <a:lnTo>
                    <a:pt x="36" y="232"/>
                  </a:lnTo>
                  <a:lnTo>
                    <a:pt x="36" y="234"/>
                  </a:lnTo>
                  <a:lnTo>
                    <a:pt x="38" y="238"/>
                  </a:lnTo>
                  <a:lnTo>
                    <a:pt x="40" y="240"/>
                  </a:lnTo>
                  <a:lnTo>
                    <a:pt x="46" y="244"/>
                  </a:lnTo>
                  <a:lnTo>
                    <a:pt x="50" y="244"/>
                  </a:lnTo>
                  <a:lnTo>
                    <a:pt x="54" y="244"/>
                  </a:lnTo>
                  <a:lnTo>
                    <a:pt x="64" y="244"/>
                  </a:lnTo>
                  <a:lnTo>
                    <a:pt x="68" y="244"/>
                  </a:lnTo>
                  <a:lnTo>
                    <a:pt x="72" y="244"/>
                  </a:lnTo>
                  <a:lnTo>
                    <a:pt x="76" y="242"/>
                  </a:lnTo>
                  <a:lnTo>
                    <a:pt x="80" y="242"/>
                  </a:lnTo>
                  <a:lnTo>
                    <a:pt x="86" y="242"/>
                  </a:lnTo>
                  <a:lnTo>
                    <a:pt x="90" y="242"/>
                  </a:lnTo>
                  <a:lnTo>
                    <a:pt x="92" y="244"/>
                  </a:lnTo>
                  <a:lnTo>
                    <a:pt x="94" y="244"/>
                  </a:lnTo>
                  <a:lnTo>
                    <a:pt x="96" y="248"/>
                  </a:lnTo>
                  <a:lnTo>
                    <a:pt x="104" y="266"/>
                  </a:lnTo>
                  <a:lnTo>
                    <a:pt x="106" y="270"/>
                  </a:lnTo>
                  <a:lnTo>
                    <a:pt x="106" y="274"/>
                  </a:lnTo>
                  <a:lnTo>
                    <a:pt x="108" y="274"/>
                  </a:lnTo>
                  <a:lnTo>
                    <a:pt x="110" y="274"/>
                  </a:lnTo>
                  <a:lnTo>
                    <a:pt x="144" y="256"/>
                  </a:lnTo>
                  <a:lnTo>
                    <a:pt x="152" y="250"/>
                  </a:lnTo>
                  <a:lnTo>
                    <a:pt x="160" y="244"/>
                  </a:lnTo>
                  <a:lnTo>
                    <a:pt x="178" y="226"/>
                  </a:lnTo>
                  <a:lnTo>
                    <a:pt x="180" y="222"/>
                  </a:lnTo>
                  <a:lnTo>
                    <a:pt x="188" y="210"/>
                  </a:lnTo>
                  <a:lnTo>
                    <a:pt x="190" y="206"/>
                  </a:lnTo>
                  <a:lnTo>
                    <a:pt x="192" y="202"/>
                  </a:lnTo>
                  <a:lnTo>
                    <a:pt x="192" y="198"/>
                  </a:lnTo>
                  <a:lnTo>
                    <a:pt x="192" y="196"/>
                  </a:lnTo>
                  <a:lnTo>
                    <a:pt x="192" y="192"/>
                  </a:lnTo>
                  <a:lnTo>
                    <a:pt x="192" y="182"/>
                  </a:lnTo>
                  <a:lnTo>
                    <a:pt x="190" y="178"/>
                  </a:lnTo>
                  <a:lnTo>
                    <a:pt x="190" y="166"/>
                  </a:lnTo>
                  <a:lnTo>
                    <a:pt x="190" y="156"/>
                  </a:lnTo>
                  <a:lnTo>
                    <a:pt x="192" y="150"/>
                  </a:lnTo>
                  <a:lnTo>
                    <a:pt x="198" y="136"/>
                  </a:lnTo>
                  <a:lnTo>
                    <a:pt x="200" y="132"/>
                  </a:lnTo>
                  <a:lnTo>
                    <a:pt x="202" y="118"/>
                  </a:lnTo>
                  <a:lnTo>
                    <a:pt x="202" y="114"/>
                  </a:lnTo>
                  <a:lnTo>
                    <a:pt x="196" y="72"/>
                  </a:lnTo>
                  <a:lnTo>
                    <a:pt x="196" y="68"/>
                  </a:lnTo>
                  <a:lnTo>
                    <a:pt x="192" y="60"/>
                  </a:lnTo>
                  <a:lnTo>
                    <a:pt x="186" y="46"/>
                  </a:lnTo>
                  <a:lnTo>
                    <a:pt x="174" y="28"/>
                  </a:lnTo>
                  <a:lnTo>
                    <a:pt x="166" y="20"/>
                  </a:lnTo>
                  <a:lnTo>
                    <a:pt x="158" y="14"/>
                  </a:lnTo>
                  <a:lnTo>
                    <a:pt x="154" y="12"/>
                  </a:lnTo>
                  <a:lnTo>
                    <a:pt x="150" y="10"/>
                  </a:lnTo>
                  <a:lnTo>
                    <a:pt x="146" y="10"/>
                  </a:lnTo>
                  <a:lnTo>
                    <a:pt x="142" y="8"/>
                  </a:lnTo>
                  <a:lnTo>
                    <a:pt x="140" y="6"/>
                  </a:lnTo>
                  <a:lnTo>
                    <a:pt x="136" y="4"/>
                  </a:lnTo>
                  <a:lnTo>
                    <a:pt x="132" y="2"/>
                  </a:lnTo>
                  <a:lnTo>
                    <a:pt x="128" y="2"/>
                  </a:lnTo>
                  <a:lnTo>
                    <a:pt x="112" y="0"/>
                  </a:lnTo>
                  <a:lnTo>
                    <a:pt x="102" y="0"/>
                  </a:lnTo>
                  <a:lnTo>
                    <a:pt x="88" y="2"/>
                  </a:lnTo>
                  <a:lnTo>
                    <a:pt x="74" y="8"/>
                  </a:lnTo>
                  <a:lnTo>
                    <a:pt x="56" y="14"/>
                  </a:lnTo>
                  <a:lnTo>
                    <a:pt x="46" y="20"/>
                  </a:lnTo>
                  <a:lnTo>
                    <a:pt x="42" y="22"/>
                  </a:lnTo>
                  <a:lnTo>
                    <a:pt x="36" y="26"/>
                  </a:lnTo>
                  <a:lnTo>
                    <a:pt x="34" y="28"/>
                  </a:lnTo>
                  <a:lnTo>
                    <a:pt x="26" y="34"/>
                  </a:lnTo>
                  <a:lnTo>
                    <a:pt x="24" y="36"/>
                  </a:lnTo>
                  <a:lnTo>
                    <a:pt x="16" y="40"/>
                  </a:lnTo>
                  <a:lnTo>
                    <a:pt x="6" y="4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Calibri" pitchFamily="34" charset="0"/>
                <a:cs typeface="+mn-cs"/>
              </a:endParaRPr>
            </a:p>
          </p:txBody>
        </p:sp>
        <p:sp>
          <p:nvSpPr>
            <p:cNvPr id="47" name="Freeform 257"/>
            <p:cNvSpPr>
              <a:spLocks/>
            </p:cNvSpPr>
            <p:nvPr/>
          </p:nvSpPr>
          <p:spPr bwMode="auto">
            <a:xfrm>
              <a:off x="-289706" y="1247117"/>
              <a:ext cx="1226524" cy="2422838"/>
            </a:xfrm>
            <a:custGeom>
              <a:avLst/>
              <a:gdLst>
                <a:gd name="T0" fmla="*/ 2147483647 w 406"/>
                <a:gd name="T1" fmla="*/ 91264255 h 802"/>
                <a:gd name="T2" fmla="*/ 2147483647 w 406"/>
                <a:gd name="T3" fmla="*/ 36505704 h 802"/>
                <a:gd name="T4" fmla="*/ 2147483647 w 406"/>
                <a:gd name="T5" fmla="*/ 0 h 802"/>
                <a:gd name="T6" fmla="*/ 1916546643 w 406"/>
                <a:gd name="T7" fmla="*/ 146022818 h 802"/>
                <a:gd name="T8" fmla="*/ 1569742177 w 406"/>
                <a:gd name="T9" fmla="*/ 492827039 h 802"/>
                <a:gd name="T10" fmla="*/ 1441972250 w 406"/>
                <a:gd name="T11" fmla="*/ 602344117 h 802"/>
                <a:gd name="T12" fmla="*/ 1368960863 w 406"/>
                <a:gd name="T13" fmla="*/ 730114041 h 802"/>
                <a:gd name="T14" fmla="*/ 1295949476 w 406"/>
                <a:gd name="T15" fmla="*/ 894389847 h 802"/>
                <a:gd name="T16" fmla="*/ 1259443782 w 406"/>
                <a:gd name="T17" fmla="*/ 985651057 h 802"/>
                <a:gd name="T18" fmla="*/ 1149926702 w 406"/>
                <a:gd name="T19" fmla="*/ 1204685213 h 802"/>
                <a:gd name="T20" fmla="*/ 894389868 w 406"/>
                <a:gd name="T21" fmla="*/ 1715765287 h 802"/>
                <a:gd name="T22" fmla="*/ 784872599 w 406"/>
                <a:gd name="T23" fmla="*/ 2099075060 h 802"/>
                <a:gd name="T24" fmla="*/ 584091285 w 406"/>
                <a:gd name="T25" fmla="*/ 2147483647 h 802"/>
                <a:gd name="T26" fmla="*/ 492827051 w 406"/>
                <a:gd name="T27" fmla="*/ 2147483647 h 802"/>
                <a:gd name="T28" fmla="*/ 292045642 w 406"/>
                <a:gd name="T29" fmla="*/ 2147483647 h 802"/>
                <a:gd name="T30" fmla="*/ 346804183 w 406"/>
                <a:gd name="T31" fmla="*/ 2147483647 h 802"/>
                <a:gd name="T32" fmla="*/ 292045642 w 406"/>
                <a:gd name="T33" fmla="*/ 2147483647 h 802"/>
                <a:gd name="T34" fmla="*/ 237287102 w 406"/>
                <a:gd name="T35" fmla="*/ 2147483647 h 802"/>
                <a:gd name="T36" fmla="*/ 182528515 w 406"/>
                <a:gd name="T37" fmla="*/ 2147483647 h 802"/>
                <a:gd name="T38" fmla="*/ 91264257 w 406"/>
                <a:gd name="T39" fmla="*/ 2147483647 h 802"/>
                <a:gd name="T40" fmla="*/ 54758564 w 406"/>
                <a:gd name="T41" fmla="*/ 2147483647 h 802"/>
                <a:gd name="T42" fmla="*/ 18252853 w 406"/>
                <a:gd name="T43" fmla="*/ 2147483647 h 802"/>
                <a:gd name="T44" fmla="*/ 0 w 406"/>
                <a:gd name="T45" fmla="*/ 2147483647 h 802"/>
                <a:gd name="T46" fmla="*/ 529332745 w 406"/>
                <a:gd name="T47" fmla="*/ 2147483647 h 802"/>
                <a:gd name="T48" fmla="*/ 620596978 w 406"/>
                <a:gd name="T49" fmla="*/ 2147483647 h 802"/>
                <a:gd name="T50" fmla="*/ 930892541 w 406"/>
                <a:gd name="T51" fmla="*/ 2147483647 h 802"/>
                <a:gd name="T52" fmla="*/ 1040409621 w 406"/>
                <a:gd name="T53" fmla="*/ 2147483647 h 802"/>
                <a:gd name="T54" fmla="*/ 2147483647 w 406"/>
                <a:gd name="T55" fmla="*/ 2147483647 h 802"/>
                <a:gd name="T56" fmla="*/ 2147483647 w 406"/>
                <a:gd name="T57" fmla="*/ 2147483647 h 802"/>
                <a:gd name="T58" fmla="*/ 2147483647 w 406"/>
                <a:gd name="T59" fmla="*/ 2147483647 h 802"/>
                <a:gd name="T60" fmla="*/ 2147483647 w 406"/>
                <a:gd name="T61" fmla="*/ 2147483647 h 802"/>
                <a:gd name="T62" fmla="*/ 2147483647 w 406"/>
                <a:gd name="T63" fmla="*/ 2147483647 h 802"/>
                <a:gd name="T64" fmla="*/ 2147483647 w 406"/>
                <a:gd name="T65" fmla="*/ 2147483647 h 802"/>
                <a:gd name="T66" fmla="*/ 2147483647 w 406"/>
                <a:gd name="T67" fmla="*/ 2147483647 h 802"/>
                <a:gd name="T68" fmla="*/ 2147483647 w 406"/>
                <a:gd name="T69" fmla="*/ 2147483647 h 802"/>
                <a:gd name="T70" fmla="*/ 2147483647 w 406"/>
                <a:gd name="T71" fmla="*/ 2147483647 h 802"/>
                <a:gd name="T72" fmla="*/ 2147483647 w 406"/>
                <a:gd name="T73" fmla="*/ 2147483647 h 802"/>
                <a:gd name="T74" fmla="*/ 2147483647 w 406"/>
                <a:gd name="T75" fmla="*/ 2147483647 h 802"/>
                <a:gd name="T76" fmla="*/ 2147483647 w 406"/>
                <a:gd name="T77" fmla="*/ 2147483647 h 802"/>
                <a:gd name="T78" fmla="*/ 2147483647 w 406"/>
                <a:gd name="T79" fmla="*/ 2147483647 h 802"/>
                <a:gd name="T80" fmla="*/ 2147483647 w 406"/>
                <a:gd name="T81" fmla="*/ 2147483647 h 802"/>
                <a:gd name="T82" fmla="*/ 2147483647 w 406"/>
                <a:gd name="T83" fmla="*/ 2147483647 h 802"/>
                <a:gd name="T84" fmla="*/ 2147483647 w 406"/>
                <a:gd name="T85" fmla="*/ 2147483647 h 802"/>
                <a:gd name="T86" fmla="*/ 2147483647 w 406"/>
                <a:gd name="T87" fmla="*/ 2147483647 h 802"/>
                <a:gd name="T88" fmla="*/ 2147483647 w 406"/>
                <a:gd name="T89" fmla="*/ 2147483647 h 802"/>
                <a:gd name="T90" fmla="*/ 2147483647 w 406"/>
                <a:gd name="T91" fmla="*/ 2147483647 h 802"/>
                <a:gd name="T92" fmla="*/ 2147483647 w 406"/>
                <a:gd name="T93" fmla="*/ 1569742139 h 802"/>
                <a:gd name="T94" fmla="*/ 2147483647 w 406"/>
                <a:gd name="T95" fmla="*/ 1332455137 h 802"/>
                <a:gd name="T96" fmla="*/ 2147483647 w 406"/>
                <a:gd name="T97" fmla="*/ 1113420981 h 802"/>
                <a:gd name="T98" fmla="*/ 2147483647 w 406"/>
                <a:gd name="T99" fmla="*/ 711861195 h 802"/>
                <a:gd name="T100" fmla="*/ 2147483647 w 406"/>
                <a:gd name="T101" fmla="*/ 401562808 h 802"/>
                <a:gd name="T102" fmla="*/ 2147483647 w 406"/>
                <a:gd name="T103" fmla="*/ 237287096 h 80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406"/>
                <a:gd name="T157" fmla="*/ 0 h 802"/>
                <a:gd name="T158" fmla="*/ 406 w 406"/>
                <a:gd name="T159" fmla="*/ 802 h 80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406" h="802">
                  <a:moveTo>
                    <a:pt x="254" y="16"/>
                  </a:moveTo>
                  <a:lnTo>
                    <a:pt x="254" y="16"/>
                  </a:lnTo>
                  <a:lnTo>
                    <a:pt x="248" y="12"/>
                  </a:lnTo>
                  <a:lnTo>
                    <a:pt x="246" y="10"/>
                  </a:lnTo>
                  <a:lnTo>
                    <a:pt x="242" y="8"/>
                  </a:lnTo>
                  <a:lnTo>
                    <a:pt x="238" y="4"/>
                  </a:lnTo>
                  <a:lnTo>
                    <a:pt x="238" y="2"/>
                  </a:lnTo>
                  <a:lnTo>
                    <a:pt x="240" y="0"/>
                  </a:lnTo>
                  <a:lnTo>
                    <a:pt x="236" y="2"/>
                  </a:lnTo>
                  <a:lnTo>
                    <a:pt x="214" y="14"/>
                  </a:lnTo>
                  <a:lnTo>
                    <a:pt x="210" y="16"/>
                  </a:lnTo>
                  <a:lnTo>
                    <a:pt x="188" y="38"/>
                  </a:lnTo>
                  <a:lnTo>
                    <a:pt x="184" y="42"/>
                  </a:lnTo>
                  <a:lnTo>
                    <a:pt x="172" y="54"/>
                  </a:lnTo>
                  <a:lnTo>
                    <a:pt x="170" y="58"/>
                  </a:lnTo>
                  <a:lnTo>
                    <a:pt x="158" y="66"/>
                  </a:lnTo>
                  <a:lnTo>
                    <a:pt x="154" y="70"/>
                  </a:lnTo>
                  <a:lnTo>
                    <a:pt x="150" y="76"/>
                  </a:lnTo>
                  <a:lnTo>
                    <a:pt x="150" y="80"/>
                  </a:lnTo>
                  <a:lnTo>
                    <a:pt x="148" y="90"/>
                  </a:lnTo>
                  <a:lnTo>
                    <a:pt x="146" y="94"/>
                  </a:lnTo>
                  <a:lnTo>
                    <a:pt x="142" y="98"/>
                  </a:lnTo>
                  <a:lnTo>
                    <a:pt x="140" y="102"/>
                  </a:lnTo>
                  <a:lnTo>
                    <a:pt x="138" y="108"/>
                  </a:lnTo>
                  <a:lnTo>
                    <a:pt x="136" y="112"/>
                  </a:lnTo>
                  <a:lnTo>
                    <a:pt x="128" y="128"/>
                  </a:lnTo>
                  <a:lnTo>
                    <a:pt x="126" y="132"/>
                  </a:lnTo>
                  <a:lnTo>
                    <a:pt x="114" y="160"/>
                  </a:lnTo>
                  <a:lnTo>
                    <a:pt x="114" y="164"/>
                  </a:lnTo>
                  <a:lnTo>
                    <a:pt x="98" y="188"/>
                  </a:lnTo>
                  <a:lnTo>
                    <a:pt x="96" y="190"/>
                  </a:lnTo>
                  <a:lnTo>
                    <a:pt x="86" y="230"/>
                  </a:lnTo>
                  <a:lnTo>
                    <a:pt x="74" y="282"/>
                  </a:lnTo>
                  <a:lnTo>
                    <a:pt x="68" y="304"/>
                  </a:lnTo>
                  <a:lnTo>
                    <a:pt x="64" y="318"/>
                  </a:lnTo>
                  <a:lnTo>
                    <a:pt x="58" y="332"/>
                  </a:lnTo>
                  <a:lnTo>
                    <a:pt x="54" y="344"/>
                  </a:lnTo>
                  <a:lnTo>
                    <a:pt x="48" y="380"/>
                  </a:lnTo>
                  <a:lnTo>
                    <a:pt x="48" y="384"/>
                  </a:lnTo>
                  <a:lnTo>
                    <a:pt x="32" y="450"/>
                  </a:lnTo>
                  <a:lnTo>
                    <a:pt x="32" y="454"/>
                  </a:lnTo>
                  <a:lnTo>
                    <a:pt x="38" y="494"/>
                  </a:lnTo>
                  <a:lnTo>
                    <a:pt x="38" y="498"/>
                  </a:lnTo>
                  <a:lnTo>
                    <a:pt x="34" y="510"/>
                  </a:lnTo>
                  <a:lnTo>
                    <a:pt x="32" y="514"/>
                  </a:lnTo>
                  <a:lnTo>
                    <a:pt x="30" y="538"/>
                  </a:lnTo>
                  <a:lnTo>
                    <a:pt x="30" y="542"/>
                  </a:lnTo>
                  <a:lnTo>
                    <a:pt x="26" y="600"/>
                  </a:lnTo>
                  <a:lnTo>
                    <a:pt x="26" y="604"/>
                  </a:lnTo>
                  <a:lnTo>
                    <a:pt x="20" y="646"/>
                  </a:lnTo>
                  <a:lnTo>
                    <a:pt x="20" y="650"/>
                  </a:lnTo>
                  <a:lnTo>
                    <a:pt x="10" y="712"/>
                  </a:lnTo>
                  <a:lnTo>
                    <a:pt x="10" y="716"/>
                  </a:lnTo>
                  <a:lnTo>
                    <a:pt x="10" y="728"/>
                  </a:lnTo>
                  <a:lnTo>
                    <a:pt x="8" y="732"/>
                  </a:lnTo>
                  <a:lnTo>
                    <a:pt x="6" y="742"/>
                  </a:lnTo>
                  <a:lnTo>
                    <a:pt x="4" y="746"/>
                  </a:lnTo>
                  <a:lnTo>
                    <a:pt x="2" y="764"/>
                  </a:lnTo>
                  <a:lnTo>
                    <a:pt x="2" y="768"/>
                  </a:lnTo>
                  <a:lnTo>
                    <a:pt x="0" y="778"/>
                  </a:lnTo>
                  <a:lnTo>
                    <a:pt x="0" y="782"/>
                  </a:lnTo>
                  <a:lnTo>
                    <a:pt x="4" y="790"/>
                  </a:lnTo>
                  <a:lnTo>
                    <a:pt x="8" y="792"/>
                  </a:lnTo>
                  <a:lnTo>
                    <a:pt x="58" y="792"/>
                  </a:lnTo>
                  <a:lnTo>
                    <a:pt x="62" y="792"/>
                  </a:lnTo>
                  <a:lnTo>
                    <a:pt x="68" y="792"/>
                  </a:lnTo>
                  <a:lnTo>
                    <a:pt x="82" y="790"/>
                  </a:lnTo>
                  <a:lnTo>
                    <a:pt x="90" y="792"/>
                  </a:lnTo>
                  <a:lnTo>
                    <a:pt x="96" y="792"/>
                  </a:lnTo>
                  <a:lnTo>
                    <a:pt x="102" y="796"/>
                  </a:lnTo>
                  <a:lnTo>
                    <a:pt x="102" y="800"/>
                  </a:lnTo>
                  <a:lnTo>
                    <a:pt x="106" y="802"/>
                  </a:lnTo>
                  <a:lnTo>
                    <a:pt x="114" y="802"/>
                  </a:lnTo>
                  <a:lnTo>
                    <a:pt x="138" y="800"/>
                  </a:lnTo>
                  <a:lnTo>
                    <a:pt x="178" y="794"/>
                  </a:lnTo>
                  <a:lnTo>
                    <a:pt x="252" y="784"/>
                  </a:lnTo>
                  <a:lnTo>
                    <a:pt x="256" y="782"/>
                  </a:lnTo>
                  <a:lnTo>
                    <a:pt x="268" y="780"/>
                  </a:lnTo>
                  <a:lnTo>
                    <a:pt x="272" y="780"/>
                  </a:lnTo>
                  <a:lnTo>
                    <a:pt x="282" y="780"/>
                  </a:lnTo>
                  <a:lnTo>
                    <a:pt x="286" y="780"/>
                  </a:lnTo>
                  <a:lnTo>
                    <a:pt x="304" y="780"/>
                  </a:lnTo>
                  <a:lnTo>
                    <a:pt x="308" y="780"/>
                  </a:lnTo>
                  <a:lnTo>
                    <a:pt x="322" y="780"/>
                  </a:lnTo>
                  <a:lnTo>
                    <a:pt x="326" y="778"/>
                  </a:lnTo>
                  <a:lnTo>
                    <a:pt x="334" y="776"/>
                  </a:lnTo>
                  <a:lnTo>
                    <a:pt x="338" y="776"/>
                  </a:lnTo>
                  <a:lnTo>
                    <a:pt x="346" y="774"/>
                  </a:lnTo>
                  <a:lnTo>
                    <a:pt x="350" y="772"/>
                  </a:lnTo>
                  <a:lnTo>
                    <a:pt x="354" y="772"/>
                  </a:lnTo>
                  <a:lnTo>
                    <a:pt x="358" y="772"/>
                  </a:lnTo>
                  <a:lnTo>
                    <a:pt x="376" y="770"/>
                  </a:lnTo>
                  <a:lnTo>
                    <a:pt x="380" y="768"/>
                  </a:lnTo>
                  <a:lnTo>
                    <a:pt x="396" y="766"/>
                  </a:lnTo>
                  <a:lnTo>
                    <a:pt x="398" y="764"/>
                  </a:lnTo>
                  <a:lnTo>
                    <a:pt x="390" y="662"/>
                  </a:lnTo>
                  <a:lnTo>
                    <a:pt x="384" y="580"/>
                  </a:lnTo>
                  <a:lnTo>
                    <a:pt x="380" y="546"/>
                  </a:lnTo>
                  <a:lnTo>
                    <a:pt x="376" y="522"/>
                  </a:lnTo>
                  <a:lnTo>
                    <a:pt x="370" y="508"/>
                  </a:lnTo>
                  <a:lnTo>
                    <a:pt x="370" y="504"/>
                  </a:lnTo>
                  <a:lnTo>
                    <a:pt x="374" y="484"/>
                  </a:lnTo>
                  <a:lnTo>
                    <a:pt x="374" y="480"/>
                  </a:lnTo>
                  <a:lnTo>
                    <a:pt x="382" y="450"/>
                  </a:lnTo>
                  <a:lnTo>
                    <a:pt x="382" y="446"/>
                  </a:lnTo>
                  <a:lnTo>
                    <a:pt x="382" y="434"/>
                  </a:lnTo>
                  <a:lnTo>
                    <a:pt x="382" y="430"/>
                  </a:lnTo>
                  <a:lnTo>
                    <a:pt x="384" y="414"/>
                  </a:lnTo>
                  <a:lnTo>
                    <a:pt x="384" y="410"/>
                  </a:lnTo>
                  <a:lnTo>
                    <a:pt x="386" y="390"/>
                  </a:lnTo>
                  <a:lnTo>
                    <a:pt x="386" y="386"/>
                  </a:lnTo>
                  <a:lnTo>
                    <a:pt x="386" y="376"/>
                  </a:lnTo>
                  <a:lnTo>
                    <a:pt x="386" y="372"/>
                  </a:lnTo>
                  <a:lnTo>
                    <a:pt x="386" y="364"/>
                  </a:lnTo>
                  <a:lnTo>
                    <a:pt x="386" y="360"/>
                  </a:lnTo>
                  <a:lnTo>
                    <a:pt x="386" y="356"/>
                  </a:lnTo>
                  <a:lnTo>
                    <a:pt x="386" y="352"/>
                  </a:lnTo>
                  <a:lnTo>
                    <a:pt x="388" y="340"/>
                  </a:lnTo>
                  <a:lnTo>
                    <a:pt x="390" y="336"/>
                  </a:lnTo>
                  <a:lnTo>
                    <a:pt x="396" y="322"/>
                  </a:lnTo>
                  <a:lnTo>
                    <a:pt x="398" y="318"/>
                  </a:lnTo>
                  <a:lnTo>
                    <a:pt x="402" y="300"/>
                  </a:lnTo>
                  <a:lnTo>
                    <a:pt x="406" y="278"/>
                  </a:lnTo>
                  <a:lnTo>
                    <a:pt x="406" y="244"/>
                  </a:lnTo>
                  <a:lnTo>
                    <a:pt x="406" y="214"/>
                  </a:lnTo>
                  <a:lnTo>
                    <a:pt x="402" y="184"/>
                  </a:lnTo>
                  <a:lnTo>
                    <a:pt x="396" y="172"/>
                  </a:lnTo>
                  <a:lnTo>
                    <a:pt x="394" y="168"/>
                  </a:lnTo>
                  <a:lnTo>
                    <a:pt x="390" y="150"/>
                  </a:lnTo>
                  <a:lnTo>
                    <a:pt x="388" y="146"/>
                  </a:lnTo>
                  <a:lnTo>
                    <a:pt x="382" y="126"/>
                  </a:lnTo>
                  <a:lnTo>
                    <a:pt x="380" y="122"/>
                  </a:lnTo>
                  <a:lnTo>
                    <a:pt x="376" y="116"/>
                  </a:lnTo>
                  <a:lnTo>
                    <a:pt x="366" y="102"/>
                  </a:lnTo>
                  <a:lnTo>
                    <a:pt x="352" y="84"/>
                  </a:lnTo>
                  <a:lnTo>
                    <a:pt x="344" y="78"/>
                  </a:lnTo>
                  <a:lnTo>
                    <a:pt x="334" y="70"/>
                  </a:lnTo>
                  <a:lnTo>
                    <a:pt x="306" y="52"/>
                  </a:lnTo>
                  <a:lnTo>
                    <a:pt x="296" y="44"/>
                  </a:lnTo>
                  <a:lnTo>
                    <a:pt x="292" y="42"/>
                  </a:lnTo>
                  <a:lnTo>
                    <a:pt x="270" y="26"/>
                  </a:lnTo>
                  <a:lnTo>
                    <a:pt x="268" y="22"/>
                  </a:lnTo>
                  <a:lnTo>
                    <a:pt x="254" y="1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Calibri" pitchFamily="34" charset="0"/>
                <a:cs typeface="+mn-cs"/>
              </a:endParaRPr>
            </a:p>
          </p:txBody>
        </p:sp>
        <p:sp>
          <p:nvSpPr>
            <p:cNvPr id="48" name="Freeform 258"/>
            <p:cNvSpPr>
              <a:spLocks/>
            </p:cNvSpPr>
            <p:nvPr/>
          </p:nvSpPr>
          <p:spPr bwMode="auto">
            <a:xfrm>
              <a:off x="-688478" y="2262171"/>
              <a:ext cx="628367" cy="737123"/>
            </a:xfrm>
            <a:custGeom>
              <a:avLst/>
              <a:gdLst>
                <a:gd name="T0" fmla="*/ 1715765408 w 208"/>
                <a:gd name="T1" fmla="*/ 328551442 h 244"/>
                <a:gd name="T2" fmla="*/ 1898293884 w 208"/>
                <a:gd name="T3" fmla="*/ 0 h 244"/>
                <a:gd name="T4" fmla="*/ 1788776799 w 208"/>
                <a:gd name="T5" fmla="*/ 109517163 h 244"/>
                <a:gd name="T6" fmla="*/ 1496730859 w 208"/>
                <a:gd name="T7" fmla="*/ 401562948 h 244"/>
                <a:gd name="T8" fmla="*/ 1478478012 w 208"/>
                <a:gd name="T9" fmla="*/ 438068653 h 244"/>
                <a:gd name="T10" fmla="*/ 1405466622 w 208"/>
                <a:gd name="T11" fmla="*/ 492827211 h 244"/>
                <a:gd name="T12" fmla="*/ 1222938146 w 208"/>
                <a:gd name="T13" fmla="*/ 657102885 h 244"/>
                <a:gd name="T14" fmla="*/ 1186432450 w 208"/>
                <a:gd name="T15" fmla="*/ 675355738 h 244"/>
                <a:gd name="T16" fmla="*/ 1058662517 w 208"/>
                <a:gd name="T17" fmla="*/ 766620001 h 244"/>
                <a:gd name="T18" fmla="*/ 912642757 w 208"/>
                <a:gd name="T19" fmla="*/ 876137306 h 244"/>
                <a:gd name="T20" fmla="*/ 876137062 w 208"/>
                <a:gd name="T21" fmla="*/ 894390159 h 244"/>
                <a:gd name="T22" fmla="*/ 784872635 w 208"/>
                <a:gd name="T23" fmla="*/ 949148717 h 244"/>
                <a:gd name="T24" fmla="*/ 602344159 w 208"/>
                <a:gd name="T25" fmla="*/ 1040412980 h 244"/>
                <a:gd name="T26" fmla="*/ 584091312 w 208"/>
                <a:gd name="T27" fmla="*/ 1058665833 h 244"/>
                <a:gd name="T28" fmla="*/ 492827074 w 208"/>
                <a:gd name="T29" fmla="*/ 1113424391 h 244"/>
                <a:gd name="T30" fmla="*/ 292045656 w 208"/>
                <a:gd name="T31" fmla="*/ 1222941507 h 244"/>
                <a:gd name="T32" fmla="*/ 273792808 w 208"/>
                <a:gd name="T33" fmla="*/ 1241194359 h 244"/>
                <a:gd name="T34" fmla="*/ 200781418 w 208"/>
                <a:gd name="T35" fmla="*/ 1277700065 h 244"/>
                <a:gd name="T36" fmla="*/ 109517133 w 208"/>
                <a:gd name="T37" fmla="*/ 1314202749 h 244"/>
                <a:gd name="T38" fmla="*/ 91264262 w 208"/>
                <a:gd name="T39" fmla="*/ 1332455602 h 244"/>
                <a:gd name="T40" fmla="*/ 36505707 w 208"/>
                <a:gd name="T41" fmla="*/ 1332455602 h 244"/>
                <a:gd name="T42" fmla="*/ 0 w 208"/>
                <a:gd name="T43" fmla="*/ 1350708454 h 244"/>
                <a:gd name="T44" fmla="*/ 0 w 208"/>
                <a:gd name="T45" fmla="*/ 1387214160 h 244"/>
                <a:gd name="T46" fmla="*/ 18252853 w 208"/>
                <a:gd name="T47" fmla="*/ 1697513033 h 244"/>
                <a:gd name="T48" fmla="*/ 36505707 w 208"/>
                <a:gd name="T49" fmla="*/ 1770524443 h 244"/>
                <a:gd name="T50" fmla="*/ 36505707 w 208"/>
                <a:gd name="T51" fmla="*/ 1825283001 h 244"/>
                <a:gd name="T52" fmla="*/ 36505707 w 208"/>
                <a:gd name="T53" fmla="*/ 1861788707 h 244"/>
                <a:gd name="T54" fmla="*/ 91264262 w 208"/>
                <a:gd name="T55" fmla="*/ 2099075792 h 244"/>
                <a:gd name="T56" fmla="*/ 109517133 w 208"/>
                <a:gd name="T57" fmla="*/ 2135581497 h 244"/>
                <a:gd name="T58" fmla="*/ 127769980 w 208"/>
                <a:gd name="T59" fmla="*/ 2147483647 h 244"/>
                <a:gd name="T60" fmla="*/ 182528523 w 208"/>
                <a:gd name="T61" fmla="*/ 2147483647 h 244"/>
                <a:gd name="T62" fmla="*/ 219034266 w 208"/>
                <a:gd name="T63" fmla="*/ 2147483647 h 244"/>
                <a:gd name="T64" fmla="*/ 365057046 w 208"/>
                <a:gd name="T65" fmla="*/ 2147483647 h 244"/>
                <a:gd name="T66" fmla="*/ 474574226 w 208"/>
                <a:gd name="T67" fmla="*/ 2147483647 h 244"/>
                <a:gd name="T68" fmla="*/ 492827074 w 208"/>
                <a:gd name="T69" fmla="*/ 2147483647 h 244"/>
                <a:gd name="T70" fmla="*/ 492827074 w 208"/>
                <a:gd name="T71" fmla="*/ 2135581497 h 244"/>
                <a:gd name="T72" fmla="*/ 529332769 w 208"/>
                <a:gd name="T73" fmla="*/ 2099075792 h 244"/>
                <a:gd name="T74" fmla="*/ 584091312 w 208"/>
                <a:gd name="T75" fmla="*/ 2062570086 h 244"/>
                <a:gd name="T76" fmla="*/ 620597007 w 208"/>
                <a:gd name="T77" fmla="*/ 2026064381 h 244"/>
                <a:gd name="T78" fmla="*/ 693608397 w 208"/>
                <a:gd name="T79" fmla="*/ 2007811528 h 244"/>
                <a:gd name="T80" fmla="*/ 821378519 w 208"/>
                <a:gd name="T81" fmla="*/ 1971305823 h 244"/>
                <a:gd name="T82" fmla="*/ 839631367 w 208"/>
                <a:gd name="T83" fmla="*/ 1953052970 h 244"/>
                <a:gd name="T84" fmla="*/ 1204685298 w 208"/>
                <a:gd name="T85" fmla="*/ 1770524443 h 244"/>
                <a:gd name="T86" fmla="*/ 1241190993 w 208"/>
                <a:gd name="T87" fmla="*/ 1752271591 h 244"/>
                <a:gd name="T88" fmla="*/ 1496730859 w 208"/>
                <a:gd name="T89" fmla="*/ 1679260180 h 244"/>
                <a:gd name="T90" fmla="*/ 1533236555 w 208"/>
                <a:gd name="T91" fmla="*/ 1661007327 h 244"/>
                <a:gd name="T92" fmla="*/ 1624501170 w 208"/>
                <a:gd name="T93" fmla="*/ 1661007327 h 244"/>
                <a:gd name="T94" fmla="*/ 1661006865 w 208"/>
                <a:gd name="T95" fmla="*/ 1642754475 h 244"/>
                <a:gd name="T96" fmla="*/ 1715765408 w 208"/>
                <a:gd name="T97" fmla="*/ 1533236981 h 244"/>
                <a:gd name="T98" fmla="*/ 1825282494 w 208"/>
                <a:gd name="T99" fmla="*/ 1149927075 h 244"/>
                <a:gd name="T100" fmla="*/ 1843535341 w 208"/>
                <a:gd name="T101" fmla="*/ 1003907275 h 244"/>
                <a:gd name="T102" fmla="*/ 1843535341 w 208"/>
                <a:gd name="T103" fmla="*/ 602344327 h 244"/>
                <a:gd name="T104" fmla="*/ 1770523951 w 208"/>
                <a:gd name="T105" fmla="*/ 456321506 h 244"/>
                <a:gd name="T106" fmla="*/ 1715765408 w 208"/>
                <a:gd name="T107" fmla="*/ 328551442 h 244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208"/>
                <a:gd name="T163" fmla="*/ 0 h 244"/>
                <a:gd name="T164" fmla="*/ 208 w 208"/>
                <a:gd name="T165" fmla="*/ 244 h 244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208" h="244">
                  <a:moveTo>
                    <a:pt x="188" y="36"/>
                  </a:moveTo>
                  <a:lnTo>
                    <a:pt x="188" y="36"/>
                  </a:lnTo>
                  <a:lnTo>
                    <a:pt x="184" y="36"/>
                  </a:lnTo>
                  <a:lnTo>
                    <a:pt x="208" y="0"/>
                  </a:lnTo>
                  <a:lnTo>
                    <a:pt x="196" y="12"/>
                  </a:lnTo>
                  <a:lnTo>
                    <a:pt x="172" y="38"/>
                  </a:lnTo>
                  <a:lnTo>
                    <a:pt x="164" y="44"/>
                  </a:lnTo>
                  <a:lnTo>
                    <a:pt x="162" y="48"/>
                  </a:lnTo>
                  <a:lnTo>
                    <a:pt x="154" y="54"/>
                  </a:lnTo>
                  <a:lnTo>
                    <a:pt x="150" y="56"/>
                  </a:lnTo>
                  <a:lnTo>
                    <a:pt x="134" y="72"/>
                  </a:lnTo>
                  <a:lnTo>
                    <a:pt x="130" y="74"/>
                  </a:lnTo>
                  <a:lnTo>
                    <a:pt x="116" y="84"/>
                  </a:lnTo>
                  <a:lnTo>
                    <a:pt x="112" y="86"/>
                  </a:lnTo>
                  <a:lnTo>
                    <a:pt x="100" y="96"/>
                  </a:lnTo>
                  <a:lnTo>
                    <a:pt x="96" y="98"/>
                  </a:lnTo>
                  <a:lnTo>
                    <a:pt x="86" y="104"/>
                  </a:lnTo>
                  <a:lnTo>
                    <a:pt x="66" y="114"/>
                  </a:lnTo>
                  <a:lnTo>
                    <a:pt x="64" y="116"/>
                  </a:lnTo>
                  <a:lnTo>
                    <a:pt x="54" y="122"/>
                  </a:lnTo>
                  <a:lnTo>
                    <a:pt x="50" y="124"/>
                  </a:lnTo>
                  <a:lnTo>
                    <a:pt x="32" y="134"/>
                  </a:lnTo>
                  <a:lnTo>
                    <a:pt x="30" y="136"/>
                  </a:lnTo>
                  <a:lnTo>
                    <a:pt x="22" y="140"/>
                  </a:lnTo>
                  <a:lnTo>
                    <a:pt x="18" y="140"/>
                  </a:lnTo>
                  <a:lnTo>
                    <a:pt x="12" y="144"/>
                  </a:lnTo>
                  <a:lnTo>
                    <a:pt x="10" y="146"/>
                  </a:lnTo>
                  <a:lnTo>
                    <a:pt x="4" y="146"/>
                  </a:lnTo>
                  <a:lnTo>
                    <a:pt x="0" y="148"/>
                  </a:lnTo>
                  <a:lnTo>
                    <a:pt x="0" y="152"/>
                  </a:lnTo>
                  <a:lnTo>
                    <a:pt x="0" y="168"/>
                  </a:lnTo>
                  <a:lnTo>
                    <a:pt x="2" y="186"/>
                  </a:lnTo>
                  <a:lnTo>
                    <a:pt x="4" y="194"/>
                  </a:lnTo>
                  <a:lnTo>
                    <a:pt x="4" y="200"/>
                  </a:lnTo>
                  <a:lnTo>
                    <a:pt x="4" y="204"/>
                  </a:lnTo>
                  <a:lnTo>
                    <a:pt x="6" y="216"/>
                  </a:lnTo>
                  <a:lnTo>
                    <a:pt x="10" y="230"/>
                  </a:lnTo>
                  <a:lnTo>
                    <a:pt x="12" y="234"/>
                  </a:lnTo>
                  <a:lnTo>
                    <a:pt x="14" y="236"/>
                  </a:lnTo>
                  <a:lnTo>
                    <a:pt x="18" y="240"/>
                  </a:lnTo>
                  <a:lnTo>
                    <a:pt x="20" y="242"/>
                  </a:lnTo>
                  <a:lnTo>
                    <a:pt x="24" y="244"/>
                  </a:lnTo>
                  <a:lnTo>
                    <a:pt x="32" y="244"/>
                  </a:lnTo>
                  <a:lnTo>
                    <a:pt x="40" y="244"/>
                  </a:lnTo>
                  <a:lnTo>
                    <a:pt x="52" y="240"/>
                  </a:lnTo>
                  <a:lnTo>
                    <a:pt x="54" y="236"/>
                  </a:lnTo>
                  <a:lnTo>
                    <a:pt x="54" y="234"/>
                  </a:lnTo>
                  <a:lnTo>
                    <a:pt x="58" y="230"/>
                  </a:lnTo>
                  <a:lnTo>
                    <a:pt x="64" y="226"/>
                  </a:lnTo>
                  <a:lnTo>
                    <a:pt x="68" y="222"/>
                  </a:lnTo>
                  <a:lnTo>
                    <a:pt x="76" y="220"/>
                  </a:lnTo>
                  <a:lnTo>
                    <a:pt x="86" y="216"/>
                  </a:lnTo>
                  <a:lnTo>
                    <a:pt x="90" y="216"/>
                  </a:lnTo>
                  <a:lnTo>
                    <a:pt x="92" y="214"/>
                  </a:lnTo>
                  <a:lnTo>
                    <a:pt x="112" y="202"/>
                  </a:lnTo>
                  <a:lnTo>
                    <a:pt x="132" y="194"/>
                  </a:lnTo>
                  <a:lnTo>
                    <a:pt x="136" y="192"/>
                  </a:lnTo>
                  <a:lnTo>
                    <a:pt x="164" y="184"/>
                  </a:lnTo>
                  <a:lnTo>
                    <a:pt x="168" y="182"/>
                  </a:lnTo>
                  <a:lnTo>
                    <a:pt x="178" y="182"/>
                  </a:lnTo>
                  <a:lnTo>
                    <a:pt x="180" y="180"/>
                  </a:lnTo>
                  <a:lnTo>
                    <a:pt x="182" y="180"/>
                  </a:lnTo>
                  <a:lnTo>
                    <a:pt x="188" y="168"/>
                  </a:lnTo>
                  <a:lnTo>
                    <a:pt x="196" y="152"/>
                  </a:lnTo>
                  <a:lnTo>
                    <a:pt x="200" y="126"/>
                  </a:lnTo>
                  <a:lnTo>
                    <a:pt x="202" y="110"/>
                  </a:lnTo>
                  <a:lnTo>
                    <a:pt x="204" y="90"/>
                  </a:lnTo>
                  <a:lnTo>
                    <a:pt x="202" y="66"/>
                  </a:lnTo>
                  <a:lnTo>
                    <a:pt x="194" y="50"/>
                  </a:lnTo>
                  <a:lnTo>
                    <a:pt x="188" y="3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Calibri" pitchFamily="34" charset="0"/>
                <a:cs typeface="+mn-cs"/>
              </a:endParaRPr>
            </a:p>
          </p:txBody>
        </p:sp>
        <p:sp>
          <p:nvSpPr>
            <p:cNvPr id="49" name="Freeform 259"/>
            <p:cNvSpPr>
              <a:spLocks/>
            </p:cNvSpPr>
            <p:nvPr/>
          </p:nvSpPr>
          <p:spPr bwMode="auto">
            <a:xfrm>
              <a:off x="-2380235" y="1482755"/>
              <a:ext cx="827753" cy="1818639"/>
            </a:xfrm>
            <a:custGeom>
              <a:avLst/>
              <a:gdLst>
                <a:gd name="T0" fmla="*/ 1131674169 w 274"/>
                <a:gd name="T1" fmla="*/ 0 h 602"/>
                <a:gd name="T2" fmla="*/ 1058665783 w 274"/>
                <a:gd name="T3" fmla="*/ 36505701 h 602"/>
                <a:gd name="T4" fmla="*/ 985654376 w 274"/>
                <a:gd name="T5" fmla="*/ 365056984 h 602"/>
                <a:gd name="T6" fmla="*/ 894390117 w 274"/>
                <a:gd name="T7" fmla="*/ 584091212 h 602"/>
                <a:gd name="T8" fmla="*/ 876137265 w 274"/>
                <a:gd name="T9" fmla="*/ 620596901 h 602"/>
                <a:gd name="T10" fmla="*/ 730114261 w 274"/>
                <a:gd name="T11" fmla="*/ 803125535 h 602"/>
                <a:gd name="T12" fmla="*/ 474574336 w 274"/>
                <a:gd name="T13" fmla="*/ 1277696471 h 602"/>
                <a:gd name="T14" fmla="*/ 456321484 w 274"/>
                <a:gd name="T15" fmla="*/ 1314202160 h 602"/>
                <a:gd name="T16" fmla="*/ 419815781 w 274"/>
                <a:gd name="T17" fmla="*/ 1387213538 h 602"/>
                <a:gd name="T18" fmla="*/ 419815781 w 274"/>
                <a:gd name="T19" fmla="*/ 1405466382 h 602"/>
                <a:gd name="T20" fmla="*/ 401562929 w 274"/>
                <a:gd name="T21" fmla="*/ 1569741983 h 602"/>
                <a:gd name="T22" fmla="*/ 383309983 w 274"/>
                <a:gd name="T23" fmla="*/ 1770523650 h 602"/>
                <a:gd name="T24" fmla="*/ 383309983 w 274"/>
                <a:gd name="T25" fmla="*/ 2147483647 h 602"/>
                <a:gd name="T26" fmla="*/ 383309983 w 274"/>
                <a:gd name="T27" fmla="*/ 2147483647 h 602"/>
                <a:gd name="T28" fmla="*/ 383309983 w 274"/>
                <a:gd name="T29" fmla="*/ 2147483647 h 602"/>
                <a:gd name="T30" fmla="*/ 401562929 w 274"/>
                <a:gd name="T31" fmla="*/ 2147483647 h 602"/>
                <a:gd name="T32" fmla="*/ 401562929 w 274"/>
                <a:gd name="T33" fmla="*/ 2147483647 h 602"/>
                <a:gd name="T34" fmla="*/ 438068632 w 274"/>
                <a:gd name="T35" fmla="*/ 2147483647 h 602"/>
                <a:gd name="T36" fmla="*/ 438068632 w 274"/>
                <a:gd name="T37" fmla="*/ 2147483647 h 602"/>
                <a:gd name="T38" fmla="*/ 438068632 w 274"/>
                <a:gd name="T39" fmla="*/ 2147483647 h 602"/>
                <a:gd name="T40" fmla="*/ 383309983 w 274"/>
                <a:gd name="T41" fmla="*/ 2147483647 h 602"/>
                <a:gd name="T42" fmla="*/ 328551427 w 274"/>
                <a:gd name="T43" fmla="*/ 2147483647 h 602"/>
                <a:gd name="T44" fmla="*/ 328551427 w 274"/>
                <a:gd name="T45" fmla="*/ 2147483647 h 602"/>
                <a:gd name="T46" fmla="*/ 292045723 w 274"/>
                <a:gd name="T47" fmla="*/ 2147483647 h 602"/>
                <a:gd name="T48" fmla="*/ 219034316 w 274"/>
                <a:gd name="T49" fmla="*/ 2147483647 h 602"/>
                <a:gd name="T50" fmla="*/ 219034316 w 274"/>
                <a:gd name="T51" fmla="*/ 2147483647 h 602"/>
                <a:gd name="T52" fmla="*/ 164275714 w 274"/>
                <a:gd name="T53" fmla="*/ 2147483647 h 602"/>
                <a:gd name="T54" fmla="*/ 109517158 w 274"/>
                <a:gd name="T55" fmla="*/ 2147483647 h 602"/>
                <a:gd name="T56" fmla="*/ 54758579 w 274"/>
                <a:gd name="T57" fmla="*/ 2147483647 h 602"/>
                <a:gd name="T58" fmla="*/ 0 w 274"/>
                <a:gd name="T59" fmla="*/ 2147483647 h 602"/>
                <a:gd name="T60" fmla="*/ 0 w 274"/>
                <a:gd name="T61" fmla="*/ 2147483647 h 602"/>
                <a:gd name="T62" fmla="*/ 0 w 274"/>
                <a:gd name="T63" fmla="*/ 2147483647 h 602"/>
                <a:gd name="T64" fmla="*/ 584091447 w 274"/>
                <a:gd name="T65" fmla="*/ 2147483647 h 602"/>
                <a:gd name="T66" fmla="*/ 1314202687 w 274"/>
                <a:gd name="T67" fmla="*/ 2147483647 h 602"/>
                <a:gd name="T68" fmla="*/ 1898294323 w 274"/>
                <a:gd name="T69" fmla="*/ 2147483647 h 602"/>
                <a:gd name="T70" fmla="*/ 1934800027 w 274"/>
                <a:gd name="T71" fmla="*/ 2147483647 h 602"/>
                <a:gd name="T72" fmla="*/ 2099075693 w 274"/>
                <a:gd name="T73" fmla="*/ 2147483647 h 602"/>
                <a:gd name="T74" fmla="*/ 2147483647 w 274"/>
                <a:gd name="T75" fmla="*/ 2147483647 h 602"/>
                <a:gd name="T76" fmla="*/ 2147483647 w 274"/>
                <a:gd name="T77" fmla="*/ 2147483647 h 602"/>
                <a:gd name="T78" fmla="*/ 2147483647 w 274"/>
                <a:gd name="T79" fmla="*/ 2147483647 h 602"/>
                <a:gd name="T80" fmla="*/ 2147483647 w 274"/>
                <a:gd name="T81" fmla="*/ 2147483647 h 602"/>
                <a:gd name="T82" fmla="*/ 2147483647 w 274"/>
                <a:gd name="T83" fmla="*/ 2147483647 h 602"/>
                <a:gd name="T84" fmla="*/ 2147483647 w 274"/>
                <a:gd name="T85" fmla="*/ 2147483647 h 602"/>
                <a:gd name="T86" fmla="*/ 2147483647 w 274"/>
                <a:gd name="T87" fmla="*/ 2147483647 h 602"/>
                <a:gd name="T88" fmla="*/ 2147483647 w 274"/>
                <a:gd name="T89" fmla="*/ 2147483647 h 602"/>
                <a:gd name="T90" fmla="*/ 2147483647 w 274"/>
                <a:gd name="T91" fmla="*/ 2147483647 h 602"/>
                <a:gd name="T92" fmla="*/ 2147483647 w 274"/>
                <a:gd name="T93" fmla="*/ 2147483647 h 602"/>
                <a:gd name="T94" fmla="*/ 2147483647 w 274"/>
                <a:gd name="T95" fmla="*/ 2147483647 h 602"/>
                <a:gd name="T96" fmla="*/ 2147483647 w 274"/>
                <a:gd name="T97" fmla="*/ 2147483647 h 602"/>
                <a:gd name="T98" fmla="*/ 2147483647 w 274"/>
                <a:gd name="T99" fmla="*/ 2147483647 h 602"/>
                <a:gd name="T100" fmla="*/ 2147483647 w 274"/>
                <a:gd name="T101" fmla="*/ 2147483647 h 602"/>
                <a:gd name="T102" fmla="*/ 2147483647 w 274"/>
                <a:gd name="T103" fmla="*/ 1697512272 h 602"/>
                <a:gd name="T104" fmla="*/ 2147483647 w 274"/>
                <a:gd name="T105" fmla="*/ 1661006583 h 602"/>
                <a:gd name="T106" fmla="*/ 2147483647 w 274"/>
                <a:gd name="T107" fmla="*/ 1441972071 h 602"/>
                <a:gd name="T108" fmla="*/ 1861788620 w 274"/>
                <a:gd name="T109" fmla="*/ 930892426 h 602"/>
                <a:gd name="T110" fmla="*/ 1843535768 w 274"/>
                <a:gd name="T111" fmla="*/ 912639581 h 602"/>
                <a:gd name="T112" fmla="*/ 1642754398 w 274"/>
                <a:gd name="T113" fmla="*/ 638849746 h 602"/>
                <a:gd name="T114" fmla="*/ 1496731206 w 274"/>
                <a:gd name="T115" fmla="*/ 529332679 h 602"/>
                <a:gd name="T116" fmla="*/ 1478478354 w 274"/>
                <a:gd name="T117" fmla="*/ 511079834 h 602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274"/>
                <a:gd name="T178" fmla="*/ 0 h 602"/>
                <a:gd name="T179" fmla="*/ 274 w 274"/>
                <a:gd name="T180" fmla="*/ 602 h 602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274" h="602">
                  <a:moveTo>
                    <a:pt x="124" y="0"/>
                  </a:moveTo>
                  <a:lnTo>
                    <a:pt x="124" y="0"/>
                  </a:lnTo>
                  <a:lnTo>
                    <a:pt x="120" y="2"/>
                  </a:lnTo>
                  <a:lnTo>
                    <a:pt x="116" y="4"/>
                  </a:lnTo>
                  <a:lnTo>
                    <a:pt x="108" y="40"/>
                  </a:lnTo>
                  <a:lnTo>
                    <a:pt x="108" y="44"/>
                  </a:lnTo>
                  <a:lnTo>
                    <a:pt x="98" y="64"/>
                  </a:lnTo>
                  <a:lnTo>
                    <a:pt x="96" y="68"/>
                  </a:lnTo>
                  <a:lnTo>
                    <a:pt x="80" y="88"/>
                  </a:lnTo>
                  <a:lnTo>
                    <a:pt x="52" y="140"/>
                  </a:lnTo>
                  <a:lnTo>
                    <a:pt x="50" y="144"/>
                  </a:lnTo>
                  <a:lnTo>
                    <a:pt x="46" y="152"/>
                  </a:lnTo>
                  <a:lnTo>
                    <a:pt x="46" y="154"/>
                  </a:lnTo>
                  <a:lnTo>
                    <a:pt x="44" y="172"/>
                  </a:lnTo>
                  <a:lnTo>
                    <a:pt x="42" y="180"/>
                  </a:lnTo>
                  <a:lnTo>
                    <a:pt x="42" y="194"/>
                  </a:lnTo>
                  <a:lnTo>
                    <a:pt x="42" y="238"/>
                  </a:lnTo>
                  <a:lnTo>
                    <a:pt x="42" y="256"/>
                  </a:lnTo>
                  <a:lnTo>
                    <a:pt x="42" y="268"/>
                  </a:lnTo>
                  <a:lnTo>
                    <a:pt x="44" y="282"/>
                  </a:lnTo>
                  <a:lnTo>
                    <a:pt x="44" y="294"/>
                  </a:lnTo>
                  <a:lnTo>
                    <a:pt x="44" y="298"/>
                  </a:lnTo>
                  <a:lnTo>
                    <a:pt x="48" y="328"/>
                  </a:lnTo>
                  <a:lnTo>
                    <a:pt x="48" y="360"/>
                  </a:lnTo>
                  <a:lnTo>
                    <a:pt x="48" y="386"/>
                  </a:lnTo>
                  <a:lnTo>
                    <a:pt x="46" y="394"/>
                  </a:lnTo>
                  <a:lnTo>
                    <a:pt x="42" y="404"/>
                  </a:lnTo>
                  <a:lnTo>
                    <a:pt x="36" y="460"/>
                  </a:lnTo>
                  <a:lnTo>
                    <a:pt x="36" y="464"/>
                  </a:lnTo>
                  <a:lnTo>
                    <a:pt x="32" y="476"/>
                  </a:lnTo>
                  <a:lnTo>
                    <a:pt x="24" y="494"/>
                  </a:lnTo>
                  <a:lnTo>
                    <a:pt x="24" y="498"/>
                  </a:lnTo>
                  <a:lnTo>
                    <a:pt x="18" y="514"/>
                  </a:lnTo>
                  <a:lnTo>
                    <a:pt x="12" y="534"/>
                  </a:lnTo>
                  <a:lnTo>
                    <a:pt x="6" y="580"/>
                  </a:lnTo>
                  <a:lnTo>
                    <a:pt x="4" y="584"/>
                  </a:lnTo>
                  <a:lnTo>
                    <a:pt x="0" y="594"/>
                  </a:lnTo>
                  <a:lnTo>
                    <a:pt x="0" y="596"/>
                  </a:lnTo>
                  <a:lnTo>
                    <a:pt x="64" y="596"/>
                  </a:lnTo>
                  <a:lnTo>
                    <a:pt x="144" y="596"/>
                  </a:lnTo>
                  <a:lnTo>
                    <a:pt x="148" y="596"/>
                  </a:lnTo>
                  <a:lnTo>
                    <a:pt x="208" y="600"/>
                  </a:lnTo>
                  <a:lnTo>
                    <a:pt x="212" y="600"/>
                  </a:lnTo>
                  <a:lnTo>
                    <a:pt x="230" y="600"/>
                  </a:lnTo>
                  <a:lnTo>
                    <a:pt x="234" y="598"/>
                  </a:lnTo>
                  <a:lnTo>
                    <a:pt x="268" y="602"/>
                  </a:lnTo>
                  <a:lnTo>
                    <a:pt x="270" y="600"/>
                  </a:lnTo>
                  <a:lnTo>
                    <a:pt x="274" y="586"/>
                  </a:lnTo>
                  <a:lnTo>
                    <a:pt x="274" y="582"/>
                  </a:lnTo>
                  <a:lnTo>
                    <a:pt x="264" y="550"/>
                  </a:lnTo>
                  <a:lnTo>
                    <a:pt x="264" y="546"/>
                  </a:lnTo>
                  <a:lnTo>
                    <a:pt x="260" y="460"/>
                  </a:lnTo>
                  <a:lnTo>
                    <a:pt x="260" y="456"/>
                  </a:lnTo>
                  <a:lnTo>
                    <a:pt x="256" y="400"/>
                  </a:lnTo>
                  <a:lnTo>
                    <a:pt x="256" y="396"/>
                  </a:lnTo>
                  <a:lnTo>
                    <a:pt x="254" y="386"/>
                  </a:lnTo>
                  <a:lnTo>
                    <a:pt x="256" y="374"/>
                  </a:lnTo>
                  <a:lnTo>
                    <a:pt x="258" y="366"/>
                  </a:lnTo>
                  <a:lnTo>
                    <a:pt x="258" y="360"/>
                  </a:lnTo>
                  <a:lnTo>
                    <a:pt x="260" y="352"/>
                  </a:lnTo>
                  <a:lnTo>
                    <a:pt x="268" y="318"/>
                  </a:lnTo>
                  <a:lnTo>
                    <a:pt x="274" y="290"/>
                  </a:lnTo>
                  <a:lnTo>
                    <a:pt x="274" y="286"/>
                  </a:lnTo>
                  <a:lnTo>
                    <a:pt x="252" y="186"/>
                  </a:lnTo>
                  <a:lnTo>
                    <a:pt x="250" y="182"/>
                  </a:lnTo>
                  <a:lnTo>
                    <a:pt x="238" y="158"/>
                  </a:lnTo>
                  <a:lnTo>
                    <a:pt x="236" y="154"/>
                  </a:lnTo>
                  <a:lnTo>
                    <a:pt x="204" y="102"/>
                  </a:lnTo>
                  <a:lnTo>
                    <a:pt x="202" y="100"/>
                  </a:lnTo>
                  <a:lnTo>
                    <a:pt x="180" y="70"/>
                  </a:lnTo>
                  <a:lnTo>
                    <a:pt x="178" y="68"/>
                  </a:lnTo>
                  <a:lnTo>
                    <a:pt x="164" y="58"/>
                  </a:lnTo>
                  <a:lnTo>
                    <a:pt x="162" y="56"/>
                  </a:lnTo>
                  <a:lnTo>
                    <a:pt x="124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Calibri" pitchFamily="34" charset="0"/>
                <a:cs typeface="+mn-cs"/>
              </a:endParaRPr>
            </a:p>
          </p:txBody>
        </p:sp>
        <p:sp>
          <p:nvSpPr>
            <p:cNvPr id="50" name="Freeform 260"/>
            <p:cNvSpPr>
              <a:spLocks/>
            </p:cNvSpPr>
            <p:nvPr/>
          </p:nvSpPr>
          <p:spPr bwMode="auto">
            <a:xfrm>
              <a:off x="-1709574" y="2455515"/>
              <a:ext cx="839837" cy="586073"/>
            </a:xfrm>
            <a:custGeom>
              <a:avLst/>
              <a:gdLst>
                <a:gd name="T0" fmla="*/ 18252858 w 278"/>
                <a:gd name="T1" fmla="*/ 36505702 h 194"/>
                <a:gd name="T2" fmla="*/ 0 w 278"/>
                <a:gd name="T3" fmla="*/ 54758559 h 194"/>
                <a:gd name="T4" fmla="*/ 182528570 w 278"/>
                <a:gd name="T5" fmla="*/ 657102613 h 194"/>
                <a:gd name="T6" fmla="*/ 273792878 w 278"/>
                <a:gd name="T7" fmla="*/ 1076915218 h 194"/>
                <a:gd name="T8" fmla="*/ 292045730 w 278"/>
                <a:gd name="T9" fmla="*/ 1113420909 h 194"/>
                <a:gd name="T10" fmla="*/ 474574347 w 278"/>
                <a:gd name="T11" fmla="*/ 1186432289 h 194"/>
                <a:gd name="T12" fmla="*/ 766619983 w 278"/>
                <a:gd name="T13" fmla="*/ 1295949360 h 194"/>
                <a:gd name="T14" fmla="*/ 784872836 w 278"/>
                <a:gd name="T15" fmla="*/ 1314202205 h 194"/>
                <a:gd name="T16" fmla="*/ 894390138 w 278"/>
                <a:gd name="T17" fmla="*/ 1350707895 h 194"/>
                <a:gd name="T18" fmla="*/ 1022160104 w 278"/>
                <a:gd name="T19" fmla="*/ 1405466430 h 194"/>
                <a:gd name="T20" fmla="*/ 1295949866 w 278"/>
                <a:gd name="T21" fmla="*/ 1496730656 h 194"/>
                <a:gd name="T22" fmla="*/ 1332455571 w 278"/>
                <a:gd name="T23" fmla="*/ 1496730656 h 194"/>
                <a:gd name="T24" fmla="*/ 1624501585 w 278"/>
                <a:gd name="T25" fmla="*/ 1587995259 h 194"/>
                <a:gd name="T26" fmla="*/ 1661007289 w 278"/>
                <a:gd name="T27" fmla="*/ 1606248104 h 194"/>
                <a:gd name="T28" fmla="*/ 2147483647 w 278"/>
                <a:gd name="T29" fmla="*/ 1770523710 h 194"/>
                <a:gd name="T30" fmla="*/ 2147483647 w 278"/>
                <a:gd name="T31" fmla="*/ 1770523710 h 194"/>
                <a:gd name="T32" fmla="*/ 2147483647 w 278"/>
                <a:gd name="T33" fmla="*/ 1679259485 h 194"/>
                <a:gd name="T34" fmla="*/ 2147483647 w 278"/>
                <a:gd name="T35" fmla="*/ 1587995259 h 194"/>
                <a:gd name="T36" fmla="*/ 2147483647 w 278"/>
                <a:gd name="T37" fmla="*/ 1241190824 h 194"/>
                <a:gd name="T38" fmla="*/ 2147483647 w 278"/>
                <a:gd name="T39" fmla="*/ 1204685134 h 194"/>
                <a:gd name="T40" fmla="*/ 2147483647 w 278"/>
                <a:gd name="T41" fmla="*/ 1131673754 h 194"/>
                <a:gd name="T42" fmla="*/ 1441972684 w 278"/>
                <a:gd name="T43" fmla="*/ 748366838 h 194"/>
                <a:gd name="T44" fmla="*/ 1405466980 w 278"/>
                <a:gd name="T45" fmla="*/ 730113993 h 194"/>
                <a:gd name="T46" fmla="*/ 1277697014 w 278"/>
                <a:gd name="T47" fmla="*/ 675355458 h 194"/>
                <a:gd name="T48" fmla="*/ 967401547 w 278"/>
                <a:gd name="T49" fmla="*/ 547585542 h 194"/>
                <a:gd name="T50" fmla="*/ 949148695 w 278"/>
                <a:gd name="T51" fmla="*/ 529332697 h 194"/>
                <a:gd name="T52" fmla="*/ 821378729 w 278"/>
                <a:gd name="T53" fmla="*/ 419815626 h 194"/>
                <a:gd name="T54" fmla="*/ 748367131 w 278"/>
                <a:gd name="T55" fmla="*/ 401562781 h 194"/>
                <a:gd name="T56" fmla="*/ 711861427 w 278"/>
                <a:gd name="T57" fmla="*/ 401562781 h 194"/>
                <a:gd name="T58" fmla="*/ 638850018 w 278"/>
                <a:gd name="T59" fmla="*/ 365056997 h 194"/>
                <a:gd name="T60" fmla="*/ 584091461 w 278"/>
                <a:gd name="T61" fmla="*/ 310298461 h 194"/>
                <a:gd name="T62" fmla="*/ 511080052 w 278"/>
                <a:gd name="T63" fmla="*/ 219034236 h 194"/>
                <a:gd name="T64" fmla="*/ 456321495 w 278"/>
                <a:gd name="T65" fmla="*/ 146022808 h 194"/>
                <a:gd name="T66" fmla="*/ 346804287 w 278"/>
                <a:gd name="T67" fmla="*/ 18252851 h 194"/>
                <a:gd name="T68" fmla="*/ 310298583 w 278"/>
                <a:gd name="T69" fmla="*/ 0 h 194"/>
                <a:gd name="T70" fmla="*/ 310298583 w 278"/>
                <a:gd name="T71" fmla="*/ 0 h 194"/>
                <a:gd name="T72" fmla="*/ 18252858 w 278"/>
                <a:gd name="T73" fmla="*/ 36505702 h 194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278"/>
                <a:gd name="T112" fmla="*/ 0 h 194"/>
                <a:gd name="T113" fmla="*/ 278 w 278"/>
                <a:gd name="T114" fmla="*/ 194 h 194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278" h="194">
                  <a:moveTo>
                    <a:pt x="2" y="4"/>
                  </a:moveTo>
                  <a:lnTo>
                    <a:pt x="2" y="4"/>
                  </a:lnTo>
                  <a:lnTo>
                    <a:pt x="0" y="6"/>
                  </a:lnTo>
                  <a:lnTo>
                    <a:pt x="20" y="72"/>
                  </a:lnTo>
                  <a:lnTo>
                    <a:pt x="20" y="76"/>
                  </a:lnTo>
                  <a:lnTo>
                    <a:pt x="30" y="118"/>
                  </a:lnTo>
                  <a:lnTo>
                    <a:pt x="32" y="122"/>
                  </a:lnTo>
                  <a:lnTo>
                    <a:pt x="52" y="130"/>
                  </a:lnTo>
                  <a:lnTo>
                    <a:pt x="56" y="130"/>
                  </a:lnTo>
                  <a:lnTo>
                    <a:pt x="84" y="142"/>
                  </a:lnTo>
                  <a:lnTo>
                    <a:pt x="86" y="144"/>
                  </a:lnTo>
                  <a:lnTo>
                    <a:pt x="98" y="148"/>
                  </a:lnTo>
                  <a:lnTo>
                    <a:pt x="112" y="154"/>
                  </a:lnTo>
                  <a:lnTo>
                    <a:pt x="128" y="158"/>
                  </a:lnTo>
                  <a:lnTo>
                    <a:pt x="142" y="164"/>
                  </a:lnTo>
                  <a:lnTo>
                    <a:pt x="146" y="164"/>
                  </a:lnTo>
                  <a:lnTo>
                    <a:pt x="178" y="174"/>
                  </a:lnTo>
                  <a:lnTo>
                    <a:pt x="182" y="176"/>
                  </a:lnTo>
                  <a:lnTo>
                    <a:pt x="216" y="184"/>
                  </a:lnTo>
                  <a:lnTo>
                    <a:pt x="256" y="194"/>
                  </a:lnTo>
                  <a:lnTo>
                    <a:pt x="258" y="192"/>
                  </a:lnTo>
                  <a:lnTo>
                    <a:pt x="262" y="184"/>
                  </a:lnTo>
                  <a:lnTo>
                    <a:pt x="266" y="174"/>
                  </a:lnTo>
                  <a:lnTo>
                    <a:pt x="266" y="170"/>
                  </a:lnTo>
                  <a:lnTo>
                    <a:pt x="278" y="136"/>
                  </a:lnTo>
                  <a:lnTo>
                    <a:pt x="278" y="132"/>
                  </a:lnTo>
                  <a:lnTo>
                    <a:pt x="278" y="124"/>
                  </a:lnTo>
                  <a:lnTo>
                    <a:pt x="278" y="122"/>
                  </a:lnTo>
                  <a:lnTo>
                    <a:pt x="158" y="82"/>
                  </a:lnTo>
                  <a:lnTo>
                    <a:pt x="154" y="80"/>
                  </a:lnTo>
                  <a:lnTo>
                    <a:pt x="140" y="74"/>
                  </a:lnTo>
                  <a:lnTo>
                    <a:pt x="136" y="72"/>
                  </a:lnTo>
                  <a:lnTo>
                    <a:pt x="106" y="60"/>
                  </a:lnTo>
                  <a:lnTo>
                    <a:pt x="104" y="58"/>
                  </a:lnTo>
                  <a:lnTo>
                    <a:pt x="90" y="46"/>
                  </a:lnTo>
                  <a:lnTo>
                    <a:pt x="86" y="46"/>
                  </a:lnTo>
                  <a:lnTo>
                    <a:pt x="82" y="44"/>
                  </a:lnTo>
                  <a:lnTo>
                    <a:pt x="78" y="44"/>
                  </a:lnTo>
                  <a:lnTo>
                    <a:pt x="70" y="40"/>
                  </a:lnTo>
                  <a:lnTo>
                    <a:pt x="66" y="36"/>
                  </a:lnTo>
                  <a:lnTo>
                    <a:pt x="64" y="34"/>
                  </a:lnTo>
                  <a:lnTo>
                    <a:pt x="56" y="24"/>
                  </a:lnTo>
                  <a:lnTo>
                    <a:pt x="50" y="16"/>
                  </a:lnTo>
                  <a:lnTo>
                    <a:pt x="48" y="12"/>
                  </a:lnTo>
                  <a:lnTo>
                    <a:pt x="38" y="2"/>
                  </a:lnTo>
                  <a:lnTo>
                    <a:pt x="34" y="0"/>
                  </a:lnTo>
                  <a:lnTo>
                    <a:pt x="30" y="0"/>
                  </a:lnTo>
                  <a:lnTo>
                    <a:pt x="2" y="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Calibri" pitchFamily="34" charset="0"/>
                <a:cs typeface="+mn-cs"/>
              </a:endParaRPr>
            </a:p>
          </p:txBody>
        </p:sp>
        <p:sp>
          <p:nvSpPr>
            <p:cNvPr id="51" name="Freeform 261"/>
            <p:cNvSpPr>
              <a:spLocks/>
            </p:cNvSpPr>
            <p:nvPr/>
          </p:nvSpPr>
          <p:spPr bwMode="auto">
            <a:xfrm>
              <a:off x="-912031" y="2727405"/>
              <a:ext cx="314183" cy="332309"/>
            </a:xfrm>
            <a:custGeom>
              <a:avLst/>
              <a:gdLst>
                <a:gd name="T0" fmla="*/ 675351454 w 104"/>
                <a:gd name="T1" fmla="*/ 0 h 110"/>
                <a:gd name="T2" fmla="*/ 638845817 w 104"/>
                <a:gd name="T3" fmla="*/ 0 h 110"/>
                <a:gd name="T4" fmla="*/ 511076087 w 104"/>
                <a:gd name="T5" fmla="*/ 18252828 h 110"/>
                <a:gd name="T6" fmla="*/ 438067834 w 104"/>
                <a:gd name="T7" fmla="*/ 0 h 110"/>
                <a:gd name="T8" fmla="*/ 383309284 w 104"/>
                <a:gd name="T9" fmla="*/ 0 h 110"/>
                <a:gd name="T10" fmla="*/ 328550828 w 104"/>
                <a:gd name="T11" fmla="*/ 18252828 h 110"/>
                <a:gd name="T12" fmla="*/ 255539554 w 104"/>
                <a:gd name="T13" fmla="*/ 54758490 h 110"/>
                <a:gd name="T14" fmla="*/ 127769777 w 104"/>
                <a:gd name="T15" fmla="*/ 164275445 h 110"/>
                <a:gd name="T16" fmla="*/ 36505649 w 104"/>
                <a:gd name="T17" fmla="*/ 273792425 h 110"/>
                <a:gd name="T18" fmla="*/ 36505649 w 104"/>
                <a:gd name="T19" fmla="*/ 328550891 h 110"/>
                <a:gd name="T20" fmla="*/ 36505649 w 104"/>
                <a:gd name="T21" fmla="*/ 438067917 h 110"/>
                <a:gd name="T22" fmla="*/ 18252824 w 104"/>
                <a:gd name="T23" fmla="*/ 511076184 h 110"/>
                <a:gd name="T24" fmla="*/ 0 w 104"/>
                <a:gd name="T25" fmla="*/ 584087472 h 110"/>
                <a:gd name="T26" fmla="*/ 0 w 104"/>
                <a:gd name="T27" fmla="*/ 657098760 h 110"/>
                <a:gd name="T28" fmla="*/ 54758479 w 104"/>
                <a:gd name="T29" fmla="*/ 730110048 h 110"/>
                <a:gd name="T30" fmla="*/ 127769777 w 104"/>
                <a:gd name="T31" fmla="*/ 803121525 h 110"/>
                <a:gd name="T32" fmla="*/ 127769777 w 104"/>
                <a:gd name="T33" fmla="*/ 839627169 h 110"/>
                <a:gd name="T34" fmla="*/ 146022596 w 104"/>
                <a:gd name="T35" fmla="*/ 894385635 h 110"/>
                <a:gd name="T36" fmla="*/ 200781098 w 104"/>
                <a:gd name="T37" fmla="*/ 912638457 h 110"/>
                <a:gd name="T38" fmla="*/ 255539554 w 104"/>
                <a:gd name="T39" fmla="*/ 930891279 h 110"/>
                <a:gd name="T40" fmla="*/ 273792373 w 104"/>
                <a:gd name="T41" fmla="*/ 930891279 h 110"/>
                <a:gd name="T42" fmla="*/ 346803647 w 104"/>
                <a:gd name="T43" fmla="*/ 967396923 h 110"/>
                <a:gd name="T44" fmla="*/ 474573471 w 104"/>
                <a:gd name="T45" fmla="*/ 1003902567 h 110"/>
                <a:gd name="T46" fmla="*/ 511076087 w 104"/>
                <a:gd name="T47" fmla="*/ 1003902567 h 110"/>
                <a:gd name="T48" fmla="*/ 584087361 w 104"/>
                <a:gd name="T49" fmla="*/ 912638457 h 110"/>
                <a:gd name="T50" fmla="*/ 638845817 w 104"/>
                <a:gd name="T51" fmla="*/ 839627169 h 110"/>
                <a:gd name="T52" fmla="*/ 711857091 w 104"/>
                <a:gd name="T53" fmla="*/ 784868514 h 110"/>
                <a:gd name="T54" fmla="*/ 894385465 w 104"/>
                <a:gd name="T55" fmla="*/ 711857226 h 110"/>
                <a:gd name="T56" fmla="*/ 930891103 w 104"/>
                <a:gd name="T57" fmla="*/ 657098760 h 110"/>
                <a:gd name="T58" fmla="*/ 949143921 w 104"/>
                <a:gd name="T59" fmla="*/ 547581828 h 110"/>
                <a:gd name="T60" fmla="*/ 930891103 w 104"/>
                <a:gd name="T61" fmla="*/ 419815095 h 110"/>
                <a:gd name="T62" fmla="*/ 857879828 w 104"/>
                <a:gd name="T63" fmla="*/ 219033959 h 110"/>
                <a:gd name="T64" fmla="*/ 821374191 w 104"/>
                <a:gd name="T65" fmla="*/ 146022623 h 110"/>
                <a:gd name="T66" fmla="*/ 766615547 w 104"/>
                <a:gd name="T67" fmla="*/ 54758490 h 110"/>
                <a:gd name="T68" fmla="*/ 730109910 w 104"/>
                <a:gd name="T69" fmla="*/ 18252828 h 110"/>
                <a:gd name="T70" fmla="*/ 675351454 w 104"/>
                <a:gd name="T71" fmla="*/ 0 h 110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104"/>
                <a:gd name="T109" fmla="*/ 0 h 110"/>
                <a:gd name="T110" fmla="*/ 104 w 104"/>
                <a:gd name="T111" fmla="*/ 110 h 110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104" h="110">
                  <a:moveTo>
                    <a:pt x="74" y="0"/>
                  </a:moveTo>
                  <a:lnTo>
                    <a:pt x="74" y="0"/>
                  </a:lnTo>
                  <a:lnTo>
                    <a:pt x="70" y="0"/>
                  </a:lnTo>
                  <a:lnTo>
                    <a:pt x="64" y="2"/>
                  </a:lnTo>
                  <a:lnTo>
                    <a:pt x="56" y="2"/>
                  </a:lnTo>
                  <a:lnTo>
                    <a:pt x="48" y="0"/>
                  </a:lnTo>
                  <a:lnTo>
                    <a:pt x="46" y="0"/>
                  </a:lnTo>
                  <a:lnTo>
                    <a:pt x="42" y="0"/>
                  </a:lnTo>
                  <a:lnTo>
                    <a:pt x="36" y="2"/>
                  </a:lnTo>
                  <a:lnTo>
                    <a:pt x="28" y="6"/>
                  </a:lnTo>
                  <a:lnTo>
                    <a:pt x="14" y="18"/>
                  </a:lnTo>
                  <a:lnTo>
                    <a:pt x="6" y="26"/>
                  </a:lnTo>
                  <a:lnTo>
                    <a:pt x="4" y="30"/>
                  </a:lnTo>
                  <a:lnTo>
                    <a:pt x="4" y="36"/>
                  </a:lnTo>
                  <a:lnTo>
                    <a:pt x="4" y="42"/>
                  </a:lnTo>
                  <a:lnTo>
                    <a:pt x="4" y="48"/>
                  </a:lnTo>
                  <a:lnTo>
                    <a:pt x="2" y="56"/>
                  </a:lnTo>
                  <a:lnTo>
                    <a:pt x="0" y="64"/>
                  </a:lnTo>
                  <a:lnTo>
                    <a:pt x="0" y="68"/>
                  </a:lnTo>
                  <a:lnTo>
                    <a:pt x="0" y="72"/>
                  </a:lnTo>
                  <a:lnTo>
                    <a:pt x="6" y="80"/>
                  </a:lnTo>
                  <a:lnTo>
                    <a:pt x="14" y="88"/>
                  </a:lnTo>
                  <a:lnTo>
                    <a:pt x="14" y="92"/>
                  </a:lnTo>
                  <a:lnTo>
                    <a:pt x="16" y="98"/>
                  </a:lnTo>
                  <a:lnTo>
                    <a:pt x="22" y="100"/>
                  </a:lnTo>
                  <a:lnTo>
                    <a:pt x="28" y="102"/>
                  </a:lnTo>
                  <a:lnTo>
                    <a:pt x="30" y="102"/>
                  </a:lnTo>
                  <a:lnTo>
                    <a:pt x="38" y="106"/>
                  </a:lnTo>
                  <a:lnTo>
                    <a:pt x="44" y="110"/>
                  </a:lnTo>
                  <a:lnTo>
                    <a:pt x="52" y="110"/>
                  </a:lnTo>
                  <a:lnTo>
                    <a:pt x="56" y="110"/>
                  </a:lnTo>
                  <a:lnTo>
                    <a:pt x="58" y="106"/>
                  </a:lnTo>
                  <a:lnTo>
                    <a:pt x="64" y="100"/>
                  </a:lnTo>
                  <a:lnTo>
                    <a:pt x="70" y="92"/>
                  </a:lnTo>
                  <a:lnTo>
                    <a:pt x="78" y="86"/>
                  </a:lnTo>
                  <a:lnTo>
                    <a:pt x="92" y="80"/>
                  </a:lnTo>
                  <a:lnTo>
                    <a:pt x="98" y="78"/>
                  </a:lnTo>
                  <a:lnTo>
                    <a:pt x="102" y="72"/>
                  </a:lnTo>
                  <a:lnTo>
                    <a:pt x="104" y="66"/>
                  </a:lnTo>
                  <a:lnTo>
                    <a:pt x="104" y="60"/>
                  </a:lnTo>
                  <a:lnTo>
                    <a:pt x="102" y="46"/>
                  </a:lnTo>
                  <a:lnTo>
                    <a:pt x="100" y="34"/>
                  </a:lnTo>
                  <a:lnTo>
                    <a:pt x="94" y="24"/>
                  </a:lnTo>
                  <a:lnTo>
                    <a:pt x="90" y="16"/>
                  </a:lnTo>
                  <a:lnTo>
                    <a:pt x="84" y="6"/>
                  </a:lnTo>
                  <a:lnTo>
                    <a:pt x="80" y="2"/>
                  </a:lnTo>
                  <a:lnTo>
                    <a:pt x="78" y="2"/>
                  </a:lnTo>
                  <a:lnTo>
                    <a:pt x="74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Calibri" pitchFamily="34" charset="0"/>
                <a:cs typeface="+mn-cs"/>
              </a:endParaRPr>
            </a:p>
          </p:txBody>
        </p:sp>
        <p:sp>
          <p:nvSpPr>
            <p:cNvPr id="52" name="Freeform 262"/>
            <p:cNvSpPr>
              <a:spLocks/>
            </p:cNvSpPr>
            <p:nvPr/>
          </p:nvSpPr>
          <p:spPr bwMode="auto">
            <a:xfrm>
              <a:off x="-2398361" y="987311"/>
              <a:ext cx="791501" cy="906299"/>
            </a:xfrm>
            <a:custGeom>
              <a:avLst/>
              <a:gdLst>
                <a:gd name="T0" fmla="*/ 2147483647 w 262"/>
                <a:gd name="T1" fmla="*/ 912643099 h 300"/>
                <a:gd name="T2" fmla="*/ 2147483647 w 262"/>
                <a:gd name="T3" fmla="*/ 803125973 h 300"/>
                <a:gd name="T4" fmla="*/ 2147483647 w 262"/>
                <a:gd name="T5" fmla="*/ 657102948 h 300"/>
                <a:gd name="T6" fmla="*/ 2026064132 w 262"/>
                <a:gd name="T7" fmla="*/ 346804329 h 300"/>
                <a:gd name="T8" fmla="*/ 1953052731 w 262"/>
                <a:gd name="T9" fmla="*/ 255540056 h 300"/>
                <a:gd name="T10" fmla="*/ 1916547030 w 262"/>
                <a:gd name="T11" fmla="*/ 164275737 h 300"/>
                <a:gd name="T12" fmla="*/ 1788777077 w 262"/>
                <a:gd name="T13" fmla="*/ 18252860 h 300"/>
                <a:gd name="T14" fmla="*/ 1478478242 w 262"/>
                <a:gd name="T15" fmla="*/ 0 h 300"/>
                <a:gd name="T16" fmla="*/ 1168182805 w 262"/>
                <a:gd name="T17" fmla="*/ 36505721 h 300"/>
                <a:gd name="T18" fmla="*/ 748367057 w 262"/>
                <a:gd name="T19" fmla="*/ 419815841 h 300"/>
                <a:gd name="T20" fmla="*/ 730114206 w 262"/>
                <a:gd name="T21" fmla="*/ 565838676 h 300"/>
                <a:gd name="T22" fmla="*/ 693608505 w 262"/>
                <a:gd name="T23" fmla="*/ 711861512 h 300"/>
                <a:gd name="T24" fmla="*/ 638849954 w 262"/>
                <a:gd name="T25" fmla="*/ 876137390 h 300"/>
                <a:gd name="T26" fmla="*/ 438068599 w 262"/>
                <a:gd name="T27" fmla="*/ 876137390 h 300"/>
                <a:gd name="T28" fmla="*/ 292045701 w 262"/>
                <a:gd name="T29" fmla="*/ 949148808 h 300"/>
                <a:gd name="T30" fmla="*/ 146022851 w 262"/>
                <a:gd name="T31" fmla="*/ 1095171644 h 300"/>
                <a:gd name="T32" fmla="*/ 73011425 w 262"/>
                <a:gd name="T33" fmla="*/ 1441972857 h 300"/>
                <a:gd name="T34" fmla="*/ 91264276 w 262"/>
                <a:gd name="T35" fmla="*/ 1715766051 h 300"/>
                <a:gd name="T36" fmla="*/ 127770000 w 262"/>
                <a:gd name="T37" fmla="*/ 1843536032 h 300"/>
                <a:gd name="T38" fmla="*/ 255540000 w 262"/>
                <a:gd name="T39" fmla="*/ 2147483647 h 300"/>
                <a:gd name="T40" fmla="*/ 273792851 w 262"/>
                <a:gd name="T41" fmla="*/ 2147483647 h 300"/>
                <a:gd name="T42" fmla="*/ 219034300 w 262"/>
                <a:gd name="T43" fmla="*/ 2147483647 h 300"/>
                <a:gd name="T44" fmla="*/ 146022851 w 262"/>
                <a:gd name="T45" fmla="*/ 2147483647 h 300"/>
                <a:gd name="T46" fmla="*/ 18252856 w 262"/>
                <a:gd name="T47" fmla="*/ 2147483647 h 300"/>
                <a:gd name="T48" fmla="*/ 18252856 w 262"/>
                <a:gd name="T49" fmla="*/ 2147483647 h 300"/>
                <a:gd name="T50" fmla="*/ 255540000 w 262"/>
                <a:gd name="T51" fmla="*/ 2147483647 h 300"/>
                <a:gd name="T52" fmla="*/ 419815749 w 262"/>
                <a:gd name="T53" fmla="*/ 2147483647 h 300"/>
                <a:gd name="T54" fmla="*/ 529332851 w 262"/>
                <a:gd name="T55" fmla="*/ 2147483647 h 300"/>
                <a:gd name="T56" fmla="*/ 584091403 w 262"/>
                <a:gd name="T57" fmla="*/ 2147483647 h 300"/>
                <a:gd name="T58" fmla="*/ 584091403 w 262"/>
                <a:gd name="T59" fmla="*/ 1788777469 h 300"/>
                <a:gd name="T60" fmla="*/ 511080001 w 262"/>
                <a:gd name="T61" fmla="*/ 1423720002 h 300"/>
                <a:gd name="T62" fmla="*/ 456321450 w 262"/>
                <a:gd name="T63" fmla="*/ 1277700188 h 300"/>
                <a:gd name="T64" fmla="*/ 456321450 w 262"/>
                <a:gd name="T65" fmla="*/ 1186435916 h 300"/>
                <a:gd name="T66" fmla="*/ 547585702 w 262"/>
                <a:gd name="T67" fmla="*/ 1095171644 h 300"/>
                <a:gd name="T68" fmla="*/ 675355655 w 262"/>
                <a:gd name="T69" fmla="*/ 1095171644 h 300"/>
                <a:gd name="T70" fmla="*/ 711861356 w 262"/>
                <a:gd name="T71" fmla="*/ 1295953042 h 300"/>
                <a:gd name="T72" fmla="*/ 930895750 w 262"/>
                <a:gd name="T73" fmla="*/ 1624501779 h 300"/>
                <a:gd name="T74" fmla="*/ 1095168383 w 262"/>
                <a:gd name="T75" fmla="*/ 1642754633 h 300"/>
                <a:gd name="T76" fmla="*/ 1131674084 w 262"/>
                <a:gd name="T77" fmla="*/ 1898294595 h 300"/>
                <a:gd name="T78" fmla="*/ 1405466840 w 262"/>
                <a:gd name="T79" fmla="*/ 1953053159 h 300"/>
                <a:gd name="T80" fmla="*/ 1277696887 w 262"/>
                <a:gd name="T81" fmla="*/ 2147483647 h 300"/>
                <a:gd name="T82" fmla="*/ 1587995722 w 262"/>
                <a:gd name="T83" fmla="*/ 2147483647 h 300"/>
                <a:gd name="T84" fmla="*/ 1916547030 w 262"/>
                <a:gd name="T85" fmla="*/ 1788777469 h 300"/>
                <a:gd name="T86" fmla="*/ 2062569833 w 262"/>
                <a:gd name="T87" fmla="*/ 1697513197 h 300"/>
                <a:gd name="T88" fmla="*/ 2147483647 w 262"/>
                <a:gd name="T89" fmla="*/ 1661007488 h 300"/>
                <a:gd name="T90" fmla="*/ 2147483647 w 262"/>
                <a:gd name="T91" fmla="*/ 1460225711 h 300"/>
                <a:gd name="T92" fmla="*/ 2147483647 w 262"/>
                <a:gd name="T93" fmla="*/ 1368964460 h 300"/>
                <a:gd name="T94" fmla="*/ 2147483647 w 262"/>
                <a:gd name="T95" fmla="*/ 1314205897 h 300"/>
                <a:gd name="T96" fmla="*/ 2147483647 w 262"/>
                <a:gd name="T97" fmla="*/ 1222941625 h 300"/>
                <a:gd name="T98" fmla="*/ 2147483647 w 262"/>
                <a:gd name="T99" fmla="*/ 1186435916 h 300"/>
                <a:gd name="T100" fmla="*/ 2147483647 w 262"/>
                <a:gd name="T101" fmla="*/ 1113424498 h 300"/>
                <a:gd name="T102" fmla="*/ 2147483647 w 262"/>
                <a:gd name="T103" fmla="*/ 1058665935 h 30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262"/>
                <a:gd name="T157" fmla="*/ 0 h 300"/>
                <a:gd name="T158" fmla="*/ 262 w 262"/>
                <a:gd name="T159" fmla="*/ 300 h 300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262" h="300">
                  <a:moveTo>
                    <a:pt x="262" y="114"/>
                  </a:moveTo>
                  <a:lnTo>
                    <a:pt x="252" y="102"/>
                  </a:lnTo>
                  <a:lnTo>
                    <a:pt x="250" y="100"/>
                  </a:lnTo>
                  <a:lnTo>
                    <a:pt x="246" y="96"/>
                  </a:lnTo>
                  <a:lnTo>
                    <a:pt x="244" y="94"/>
                  </a:lnTo>
                  <a:lnTo>
                    <a:pt x="240" y="88"/>
                  </a:lnTo>
                  <a:lnTo>
                    <a:pt x="240" y="84"/>
                  </a:lnTo>
                  <a:lnTo>
                    <a:pt x="240" y="72"/>
                  </a:lnTo>
                  <a:lnTo>
                    <a:pt x="238" y="60"/>
                  </a:lnTo>
                  <a:lnTo>
                    <a:pt x="222" y="38"/>
                  </a:lnTo>
                  <a:lnTo>
                    <a:pt x="218" y="30"/>
                  </a:lnTo>
                  <a:lnTo>
                    <a:pt x="214" y="28"/>
                  </a:lnTo>
                  <a:lnTo>
                    <a:pt x="212" y="22"/>
                  </a:lnTo>
                  <a:lnTo>
                    <a:pt x="210" y="18"/>
                  </a:lnTo>
                  <a:lnTo>
                    <a:pt x="208" y="12"/>
                  </a:lnTo>
                  <a:lnTo>
                    <a:pt x="202" y="6"/>
                  </a:lnTo>
                  <a:lnTo>
                    <a:pt x="196" y="2"/>
                  </a:lnTo>
                  <a:lnTo>
                    <a:pt x="192" y="0"/>
                  </a:lnTo>
                  <a:lnTo>
                    <a:pt x="162" y="0"/>
                  </a:lnTo>
                  <a:lnTo>
                    <a:pt x="130" y="2"/>
                  </a:lnTo>
                  <a:lnTo>
                    <a:pt x="128" y="4"/>
                  </a:lnTo>
                  <a:lnTo>
                    <a:pt x="88" y="32"/>
                  </a:lnTo>
                  <a:lnTo>
                    <a:pt x="86" y="36"/>
                  </a:lnTo>
                  <a:lnTo>
                    <a:pt x="82" y="46"/>
                  </a:lnTo>
                  <a:lnTo>
                    <a:pt x="80" y="50"/>
                  </a:lnTo>
                  <a:lnTo>
                    <a:pt x="80" y="62"/>
                  </a:lnTo>
                  <a:lnTo>
                    <a:pt x="80" y="66"/>
                  </a:lnTo>
                  <a:lnTo>
                    <a:pt x="78" y="74"/>
                  </a:lnTo>
                  <a:lnTo>
                    <a:pt x="76" y="78"/>
                  </a:lnTo>
                  <a:lnTo>
                    <a:pt x="74" y="90"/>
                  </a:lnTo>
                  <a:lnTo>
                    <a:pt x="72" y="94"/>
                  </a:lnTo>
                  <a:lnTo>
                    <a:pt x="70" y="96"/>
                  </a:lnTo>
                  <a:lnTo>
                    <a:pt x="48" y="96"/>
                  </a:lnTo>
                  <a:lnTo>
                    <a:pt x="44" y="98"/>
                  </a:lnTo>
                  <a:lnTo>
                    <a:pt x="32" y="104"/>
                  </a:lnTo>
                  <a:lnTo>
                    <a:pt x="28" y="108"/>
                  </a:lnTo>
                  <a:lnTo>
                    <a:pt x="22" y="112"/>
                  </a:lnTo>
                  <a:lnTo>
                    <a:pt x="16" y="120"/>
                  </a:lnTo>
                  <a:lnTo>
                    <a:pt x="12" y="126"/>
                  </a:lnTo>
                  <a:lnTo>
                    <a:pt x="12" y="130"/>
                  </a:lnTo>
                  <a:lnTo>
                    <a:pt x="8" y="158"/>
                  </a:lnTo>
                  <a:lnTo>
                    <a:pt x="8" y="176"/>
                  </a:lnTo>
                  <a:lnTo>
                    <a:pt x="10" y="188"/>
                  </a:lnTo>
                  <a:lnTo>
                    <a:pt x="10" y="196"/>
                  </a:lnTo>
                  <a:lnTo>
                    <a:pt x="14" y="202"/>
                  </a:lnTo>
                  <a:lnTo>
                    <a:pt x="16" y="208"/>
                  </a:lnTo>
                  <a:lnTo>
                    <a:pt x="18" y="214"/>
                  </a:lnTo>
                  <a:lnTo>
                    <a:pt x="28" y="244"/>
                  </a:lnTo>
                  <a:lnTo>
                    <a:pt x="30" y="260"/>
                  </a:lnTo>
                  <a:lnTo>
                    <a:pt x="30" y="268"/>
                  </a:lnTo>
                  <a:lnTo>
                    <a:pt x="28" y="272"/>
                  </a:lnTo>
                  <a:lnTo>
                    <a:pt x="24" y="278"/>
                  </a:lnTo>
                  <a:lnTo>
                    <a:pt x="18" y="286"/>
                  </a:lnTo>
                  <a:lnTo>
                    <a:pt x="16" y="288"/>
                  </a:lnTo>
                  <a:lnTo>
                    <a:pt x="14" y="290"/>
                  </a:lnTo>
                  <a:lnTo>
                    <a:pt x="10" y="292"/>
                  </a:lnTo>
                  <a:lnTo>
                    <a:pt x="2" y="294"/>
                  </a:lnTo>
                  <a:lnTo>
                    <a:pt x="0" y="294"/>
                  </a:lnTo>
                  <a:lnTo>
                    <a:pt x="2" y="294"/>
                  </a:lnTo>
                  <a:lnTo>
                    <a:pt x="8" y="298"/>
                  </a:lnTo>
                  <a:lnTo>
                    <a:pt x="18" y="300"/>
                  </a:lnTo>
                  <a:lnTo>
                    <a:pt x="28" y="298"/>
                  </a:lnTo>
                  <a:lnTo>
                    <a:pt x="34" y="294"/>
                  </a:lnTo>
                  <a:lnTo>
                    <a:pt x="36" y="292"/>
                  </a:lnTo>
                  <a:lnTo>
                    <a:pt x="46" y="282"/>
                  </a:lnTo>
                  <a:lnTo>
                    <a:pt x="52" y="274"/>
                  </a:lnTo>
                  <a:lnTo>
                    <a:pt x="58" y="266"/>
                  </a:lnTo>
                  <a:lnTo>
                    <a:pt x="62" y="258"/>
                  </a:lnTo>
                  <a:lnTo>
                    <a:pt x="64" y="250"/>
                  </a:lnTo>
                  <a:lnTo>
                    <a:pt x="64" y="246"/>
                  </a:lnTo>
                  <a:lnTo>
                    <a:pt x="64" y="238"/>
                  </a:lnTo>
                  <a:lnTo>
                    <a:pt x="64" y="218"/>
                  </a:lnTo>
                  <a:lnTo>
                    <a:pt x="64" y="196"/>
                  </a:lnTo>
                  <a:lnTo>
                    <a:pt x="62" y="182"/>
                  </a:lnTo>
                  <a:lnTo>
                    <a:pt x="56" y="156"/>
                  </a:lnTo>
                  <a:lnTo>
                    <a:pt x="52" y="150"/>
                  </a:lnTo>
                  <a:lnTo>
                    <a:pt x="50" y="146"/>
                  </a:lnTo>
                  <a:lnTo>
                    <a:pt x="50" y="140"/>
                  </a:lnTo>
                  <a:lnTo>
                    <a:pt x="48" y="134"/>
                  </a:lnTo>
                  <a:lnTo>
                    <a:pt x="48" y="132"/>
                  </a:lnTo>
                  <a:lnTo>
                    <a:pt x="50" y="130"/>
                  </a:lnTo>
                  <a:lnTo>
                    <a:pt x="56" y="124"/>
                  </a:lnTo>
                  <a:lnTo>
                    <a:pt x="60" y="120"/>
                  </a:lnTo>
                  <a:lnTo>
                    <a:pt x="66" y="118"/>
                  </a:lnTo>
                  <a:lnTo>
                    <a:pt x="74" y="118"/>
                  </a:lnTo>
                  <a:lnTo>
                    <a:pt x="74" y="120"/>
                  </a:lnTo>
                  <a:lnTo>
                    <a:pt x="76" y="124"/>
                  </a:lnTo>
                  <a:lnTo>
                    <a:pt x="76" y="134"/>
                  </a:lnTo>
                  <a:lnTo>
                    <a:pt x="78" y="142"/>
                  </a:lnTo>
                  <a:lnTo>
                    <a:pt x="80" y="152"/>
                  </a:lnTo>
                  <a:lnTo>
                    <a:pt x="84" y="162"/>
                  </a:lnTo>
                  <a:lnTo>
                    <a:pt x="92" y="170"/>
                  </a:lnTo>
                  <a:lnTo>
                    <a:pt x="102" y="178"/>
                  </a:lnTo>
                  <a:lnTo>
                    <a:pt x="108" y="180"/>
                  </a:lnTo>
                  <a:lnTo>
                    <a:pt x="116" y="180"/>
                  </a:lnTo>
                  <a:lnTo>
                    <a:pt x="120" y="180"/>
                  </a:lnTo>
                  <a:lnTo>
                    <a:pt x="122" y="184"/>
                  </a:lnTo>
                  <a:lnTo>
                    <a:pt x="120" y="198"/>
                  </a:lnTo>
                  <a:lnTo>
                    <a:pt x="124" y="208"/>
                  </a:lnTo>
                  <a:lnTo>
                    <a:pt x="152" y="212"/>
                  </a:lnTo>
                  <a:lnTo>
                    <a:pt x="154" y="214"/>
                  </a:lnTo>
                  <a:lnTo>
                    <a:pt x="146" y="242"/>
                  </a:lnTo>
                  <a:lnTo>
                    <a:pt x="142" y="262"/>
                  </a:lnTo>
                  <a:lnTo>
                    <a:pt x="140" y="270"/>
                  </a:lnTo>
                  <a:lnTo>
                    <a:pt x="156" y="266"/>
                  </a:lnTo>
                  <a:lnTo>
                    <a:pt x="172" y="262"/>
                  </a:lnTo>
                  <a:lnTo>
                    <a:pt x="174" y="262"/>
                  </a:lnTo>
                  <a:lnTo>
                    <a:pt x="176" y="262"/>
                  </a:lnTo>
                  <a:lnTo>
                    <a:pt x="196" y="218"/>
                  </a:lnTo>
                  <a:lnTo>
                    <a:pt x="210" y="196"/>
                  </a:lnTo>
                  <a:lnTo>
                    <a:pt x="220" y="188"/>
                  </a:lnTo>
                  <a:lnTo>
                    <a:pt x="226" y="186"/>
                  </a:lnTo>
                  <a:lnTo>
                    <a:pt x="238" y="184"/>
                  </a:lnTo>
                  <a:lnTo>
                    <a:pt x="246" y="184"/>
                  </a:lnTo>
                  <a:lnTo>
                    <a:pt x="252" y="182"/>
                  </a:lnTo>
                  <a:lnTo>
                    <a:pt x="254" y="180"/>
                  </a:lnTo>
                  <a:lnTo>
                    <a:pt x="256" y="178"/>
                  </a:lnTo>
                  <a:lnTo>
                    <a:pt x="256" y="160"/>
                  </a:lnTo>
                  <a:lnTo>
                    <a:pt x="256" y="156"/>
                  </a:lnTo>
                  <a:lnTo>
                    <a:pt x="256" y="150"/>
                  </a:lnTo>
                  <a:lnTo>
                    <a:pt x="258" y="150"/>
                  </a:lnTo>
                  <a:lnTo>
                    <a:pt x="258" y="146"/>
                  </a:lnTo>
                  <a:lnTo>
                    <a:pt x="256" y="144"/>
                  </a:lnTo>
                  <a:lnTo>
                    <a:pt x="258" y="140"/>
                  </a:lnTo>
                  <a:lnTo>
                    <a:pt x="258" y="136"/>
                  </a:lnTo>
                  <a:lnTo>
                    <a:pt x="256" y="134"/>
                  </a:lnTo>
                  <a:lnTo>
                    <a:pt x="256" y="130"/>
                  </a:lnTo>
                  <a:lnTo>
                    <a:pt x="254" y="126"/>
                  </a:lnTo>
                  <a:lnTo>
                    <a:pt x="256" y="124"/>
                  </a:lnTo>
                  <a:lnTo>
                    <a:pt x="258" y="122"/>
                  </a:lnTo>
                  <a:lnTo>
                    <a:pt x="260" y="120"/>
                  </a:lnTo>
                  <a:lnTo>
                    <a:pt x="262" y="116"/>
                  </a:lnTo>
                  <a:lnTo>
                    <a:pt x="262" y="11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Calibri" pitchFamily="34" charset="0"/>
                <a:cs typeface="+mn-cs"/>
              </a:endParaRPr>
            </a:p>
          </p:txBody>
        </p:sp>
        <p:sp>
          <p:nvSpPr>
            <p:cNvPr id="53" name="Freeform 263"/>
            <p:cNvSpPr>
              <a:spLocks/>
            </p:cNvSpPr>
            <p:nvPr/>
          </p:nvSpPr>
          <p:spPr bwMode="auto">
            <a:xfrm>
              <a:off x="-66153" y="1247117"/>
              <a:ext cx="543779" cy="851921"/>
            </a:xfrm>
            <a:custGeom>
              <a:avLst/>
              <a:gdLst>
                <a:gd name="T0" fmla="*/ 1514983263 w 180"/>
                <a:gd name="T1" fmla="*/ 0 h 282"/>
                <a:gd name="T2" fmla="*/ 949145153 w 180"/>
                <a:gd name="T3" fmla="*/ 547585769 h 282"/>
                <a:gd name="T4" fmla="*/ 876133784 w 180"/>
                <a:gd name="T5" fmla="*/ 529332916 h 282"/>
                <a:gd name="T6" fmla="*/ 766619563 w 180"/>
                <a:gd name="T7" fmla="*/ 602344327 h 282"/>
                <a:gd name="T8" fmla="*/ 748366721 w 180"/>
                <a:gd name="T9" fmla="*/ 638850032 h 282"/>
                <a:gd name="T10" fmla="*/ 711861036 w 180"/>
                <a:gd name="T11" fmla="*/ 748367148 h 282"/>
                <a:gd name="T12" fmla="*/ 657102510 w 180"/>
                <a:gd name="T13" fmla="*/ 857884453 h 282"/>
                <a:gd name="T14" fmla="*/ 657102510 w 180"/>
                <a:gd name="T15" fmla="*/ 857884453 h 282"/>
                <a:gd name="T16" fmla="*/ 620596825 w 180"/>
                <a:gd name="T17" fmla="*/ 912643011 h 282"/>
                <a:gd name="T18" fmla="*/ 584091141 w 180"/>
                <a:gd name="T19" fmla="*/ 985654422 h 282"/>
                <a:gd name="T20" fmla="*/ 584091141 w 180"/>
                <a:gd name="T21" fmla="*/ 985654422 h 282"/>
                <a:gd name="T22" fmla="*/ 565838298 w 180"/>
                <a:gd name="T23" fmla="*/ 1022160127 h 282"/>
                <a:gd name="T24" fmla="*/ 547585456 w 180"/>
                <a:gd name="T25" fmla="*/ 1076918685 h 282"/>
                <a:gd name="T26" fmla="*/ 511079772 w 180"/>
                <a:gd name="T27" fmla="*/ 1131674222 h 282"/>
                <a:gd name="T28" fmla="*/ 492826929 w 180"/>
                <a:gd name="T29" fmla="*/ 1168182949 h 282"/>
                <a:gd name="T30" fmla="*/ 492826929 w 180"/>
                <a:gd name="T31" fmla="*/ 1168182949 h 282"/>
                <a:gd name="T32" fmla="*/ 474574087 w 180"/>
                <a:gd name="T33" fmla="*/ 1186435801 h 282"/>
                <a:gd name="T34" fmla="*/ 438068403 w 180"/>
                <a:gd name="T35" fmla="*/ 1241194359 h 282"/>
                <a:gd name="T36" fmla="*/ 419815560 w 180"/>
                <a:gd name="T37" fmla="*/ 1332455602 h 282"/>
                <a:gd name="T38" fmla="*/ 310298413 w 180"/>
                <a:gd name="T39" fmla="*/ 1460225570 h 282"/>
                <a:gd name="T40" fmla="*/ 310298413 w 180"/>
                <a:gd name="T41" fmla="*/ 1460225570 h 282"/>
                <a:gd name="T42" fmla="*/ 273792728 w 180"/>
                <a:gd name="T43" fmla="*/ 1496731276 h 282"/>
                <a:gd name="T44" fmla="*/ 237287044 w 180"/>
                <a:gd name="T45" fmla="*/ 1569742687 h 282"/>
                <a:gd name="T46" fmla="*/ 237287044 w 180"/>
                <a:gd name="T47" fmla="*/ 1569742687 h 282"/>
                <a:gd name="T48" fmla="*/ 237287044 w 180"/>
                <a:gd name="T49" fmla="*/ 1624501622 h 282"/>
                <a:gd name="T50" fmla="*/ 273792728 w 180"/>
                <a:gd name="T51" fmla="*/ 1697513033 h 282"/>
                <a:gd name="T52" fmla="*/ 310298413 w 180"/>
                <a:gd name="T53" fmla="*/ 1807030149 h 282"/>
                <a:gd name="T54" fmla="*/ 182528470 w 180"/>
                <a:gd name="T55" fmla="*/ 1971305823 h 282"/>
                <a:gd name="T56" fmla="*/ 182528470 w 180"/>
                <a:gd name="T57" fmla="*/ 2147483647 h 282"/>
                <a:gd name="T58" fmla="*/ 0 w 180"/>
                <a:gd name="T59" fmla="*/ 2147483647 h 282"/>
                <a:gd name="T60" fmla="*/ 474574087 w 180"/>
                <a:gd name="T61" fmla="*/ 1770524444 h 282"/>
                <a:gd name="T62" fmla="*/ 474574087 w 180"/>
                <a:gd name="T63" fmla="*/ 1770524444 h 282"/>
                <a:gd name="T64" fmla="*/ 638849667 w 180"/>
                <a:gd name="T65" fmla="*/ 1478478423 h 282"/>
                <a:gd name="T66" fmla="*/ 839628100 w 180"/>
                <a:gd name="T67" fmla="*/ 1168182949 h 282"/>
                <a:gd name="T68" fmla="*/ 839628100 w 180"/>
                <a:gd name="T69" fmla="*/ 1168182949 h 282"/>
                <a:gd name="T70" fmla="*/ 930892311 w 180"/>
                <a:gd name="T71" fmla="*/ 857884453 h 282"/>
                <a:gd name="T72" fmla="*/ 1022156522 w 180"/>
                <a:gd name="T73" fmla="*/ 748367148 h 282"/>
                <a:gd name="T74" fmla="*/ 1095167891 w 180"/>
                <a:gd name="T75" fmla="*/ 711861443 h 282"/>
                <a:gd name="T76" fmla="*/ 1222937787 w 180"/>
                <a:gd name="T77" fmla="*/ 547585769 h 282"/>
                <a:gd name="T78" fmla="*/ 1642753536 w 180"/>
                <a:gd name="T79" fmla="*/ 146022869 h 282"/>
                <a:gd name="T80" fmla="*/ 1514983263 w 180"/>
                <a:gd name="T81" fmla="*/ 0 h 282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180"/>
                <a:gd name="T124" fmla="*/ 0 h 282"/>
                <a:gd name="T125" fmla="*/ 180 w 180"/>
                <a:gd name="T126" fmla="*/ 282 h 282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180" h="282">
                  <a:moveTo>
                    <a:pt x="166" y="0"/>
                  </a:moveTo>
                  <a:lnTo>
                    <a:pt x="104" y="60"/>
                  </a:lnTo>
                  <a:lnTo>
                    <a:pt x="96" y="58"/>
                  </a:lnTo>
                  <a:lnTo>
                    <a:pt x="84" y="66"/>
                  </a:lnTo>
                  <a:lnTo>
                    <a:pt x="82" y="70"/>
                  </a:lnTo>
                  <a:lnTo>
                    <a:pt x="78" y="82"/>
                  </a:lnTo>
                  <a:lnTo>
                    <a:pt x="72" y="94"/>
                  </a:lnTo>
                  <a:lnTo>
                    <a:pt x="68" y="100"/>
                  </a:lnTo>
                  <a:lnTo>
                    <a:pt x="64" y="108"/>
                  </a:lnTo>
                  <a:lnTo>
                    <a:pt x="62" y="112"/>
                  </a:lnTo>
                  <a:lnTo>
                    <a:pt x="60" y="118"/>
                  </a:lnTo>
                  <a:lnTo>
                    <a:pt x="56" y="124"/>
                  </a:lnTo>
                  <a:lnTo>
                    <a:pt x="54" y="128"/>
                  </a:lnTo>
                  <a:lnTo>
                    <a:pt x="52" y="130"/>
                  </a:lnTo>
                  <a:lnTo>
                    <a:pt x="48" y="136"/>
                  </a:lnTo>
                  <a:lnTo>
                    <a:pt x="46" y="146"/>
                  </a:lnTo>
                  <a:lnTo>
                    <a:pt x="34" y="160"/>
                  </a:lnTo>
                  <a:lnTo>
                    <a:pt x="30" y="164"/>
                  </a:lnTo>
                  <a:lnTo>
                    <a:pt x="26" y="172"/>
                  </a:lnTo>
                  <a:lnTo>
                    <a:pt x="26" y="178"/>
                  </a:lnTo>
                  <a:lnTo>
                    <a:pt x="30" y="186"/>
                  </a:lnTo>
                  <a:lnTo>
                    <a:pt x="34" y="198"/>
                  </a:lnTo>
                  <a:lnTo>
                    <a:pt x="20" y="216"/>
                  </a:lnTo>
                  <a:lnTo>
                    <a:pt x="20" y="244"/>
                  </a:lnTo>
                  <a:lnTo>
                    <a:pt x="0" y="282"/>
                  </a:lnTo>
                  <a:lnTo>
                    <a:pt x="52" y="194"/>
                  </a:lnTo>
                  <a:lnTo>
                    <a:pt x="70" y="162"/>
                  </a:lnTo>
                  <a:lnTo>
                    <a:pt x="92" y="128"/>
                  </a:lnTo>
                  <a:lnTo>
                    <a:pt x="102" y="94"/>
                  </a:lnTo>
                  <a:lnTo>
                    <a:pt x="112" y="82"/>
                  </a:lnTo>
                  <a:lnTo>
                    <a:pt x="120" y="78"/>
                  </a:lnTo>
                  <a:lnTo>
                    <a:pt x="134" y="60"/>
                  </a:lnTo>
                  <a:lnTo>
                    <a:pt x="180" y="16"/>
                  </a:lnTo>
                  <a:lnTo>
                    <a:pt x="16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Calibri" pitchFamily="34" charset="0"/>
                <a:cs typeface="+mn-cs"/>
              </a:endParaRPr>
            </a:p>
          </p:txBody>
        </p:sp>
        <p:sp>
          <p:nvSpPr>
            <p:cNvPr id="54" name="Freeform 264"/>
            <p:cNvSpPr>
              <a:spLocks/>
            </p:cNvSpPr>
            <p:nvPr/>
          </p:nvSpPr>
          <p:spPr bwMode="auto">
            <a:xfrm>
              <a:off x="-90321" y="1392125"/>
              <a:ext cx="320225" cy="809627"/>
            </a:xfrm>
            <a:custGeom>
              <a:avLst/>
              <a:gdLst>
                <a:gd name="T0" fmla="*/ 821374245 w 106"/>
                <a:gd name="T1" fmla="*/ 36505714 h 268"/>
                <a:gd name="T2" fmla="*/ 821374245 w 106"/>
                <a:gd name="T3" fmla="*/ 36505714 h 268"/>
                <a:gd name="T4" fmla="*/ 784868417 w 106"/>
                <a:gd name="T5" fmla="*/ 91264279 h 268"/>
                <a:gd name="T6" fmla="*/ 730109958 w 106"/>
                <a:gd name="T7" fmla="*/ 146022856 h 268"/>
                <a:gd name="T8" fmla="*/ 693604318 w 106"/>
                <a:gd name="T9" fmla="*/ 219034308 h 268"/>
                <a:gd name="T10" fmla="*/ 675351498 w 106"/>
                <a:gd name="T11" fmla="*/ 273792862 h 268"/>
                <a:gd name="T12" fmla="*/ 675351498 w 106"/>
                <a:gd name="T13" fmla="*/ 328551415 h 268"/>
                <a:gd name="T14" fmla="*/ 675351498 w 106"/>
                <a:gd name="T15" fmla="*/ 328551415 h 268"/>
                <a:gd name="T16" fmla="*/ 675351498 w 106"/>
                <a:gd name="T17" fmla="*/ 383309968 h 268"/>
                <a:gd name="T18" fmla="*/ 657098679 w 106"/>
                <a:gd name="T19" fmla="*/ 456321467 h 268"/>
                <a:gd name="T20" fmla="*/ 584087400 w 106"/>
                <a:gd name="T21" fmla="*/ 584091425 h 268"/>
                <a:gd name="T22" fmla="*/ 511076121 w 106"/>
                <a:gd name="T23" fmla="*/ 711861383 h 268"/>
                <a:gd name="T24" fmla="*/ 438067863 w 106"/>
                <a:gd name="T25" fmla="*/ 839631530 h 268"/>
                <a:gd name="T26" fmla="*/ 438067863 w 106"/>
                <a:gd name="T27" fmla="*/ 839631530 h 268"/>
                <a:gd name="T28" fmla="*/ 273792391 w 106"/>
                <a:gd name="T29" fmla="*/ 1204688553 h 268"/>
                <a:gd name="T30" fmla="*/ 127769785 w 106"/>
                <a:gd name="T31" fmla="*/ 1624501486 h 268"/>
                <a:gd name="T32" fmla="*/ 73011303 w 106"/>
                <a:gd name="T33" fmla="*/ 1825282848 h 268"/>
                <a:gd name="T34" fmla="*/ 36505651 w 106"/>
                <a:gd name="T35" fmla="*/ 2044317062 h 268"/>
                <a:gd name="T36" fmla="*/ 0 w 106"/>
                <a:gd name="T37" fmla="*/ 2147483647 h 268"/>
                <a:gd name="T38" fmla="*/ 0 w 106"/>
                <a:gd name="T39" fmla="*/ 2147483647 h 268"/>
                <a:gd name="T40" fmla="*/ 0 w 106"/>
                <a:gd name="T41" fmla="*/ 2147483647 h 268"/>
                <a:gd name="T42" fmla="*/ 200781112 w 106"/>
                <a:gd name="T43" fmla="*/ 2099075616 h 268"/>
                <a:gd name="T44" fmla="*/ 419815043 w 106"/>
                <a:gd name="T45" fmla="*/ 1788777146 h 268"/>
                <a:gd name="T46" fmla="*/ 419815043 w 106"/>
                <a:gd name="T47" fmla="*/ 1788777146 h 268"/>
                <a:gd name="T48" fmla="*/ 474573502 w 106"/>
                <a:gd name="T49" fmla="*/ 1697512890 h 268"/>
                <a:gd name="T50" fmla="*/ 529328940 w 106"/>
                <a:gd name="T51" fmla="*/ 1587995784 h 268"/>
                <a:gd name="T52" fmla="*/ 602340219 w 106"/>
                <a:gd name="T53" fmla="*/ 1368961192 h 268"/>
                <a:gd name="T54" fmla="*/ 657098679 w 106"/>
                <a:gd name="T55" fmla="*/ 1149926979 h 268"/>
                <a:gd name="T56" fmla="*/ 693604318 w 106"/>
                <a:gd name="T57" fmla="*/ 930895786 h 268"/>
                <a:gd name="T58" fmla="*/ 693604318 w 106"/>
                <a:gd name="T59" fmla="*/ 930895786 h 268"/>
                <a:gd name="T60" fmla="*/ 711857138 w 106"/>
                <a:gd name="T61" fmla="*/ 766619937 h 268"/>
                <a:gd name="T62" fmla="*/ 711857138 w 106"/>
                <a:gd name="T63" fmla="*/ 711861383 h 268"/>
                <a:gd name="T64" fmla="*/ 748362777 w 106"/>
                <a:gd name="T65" fmla="*/ 620597128 h 268"/>
                <a:gd name="T66" fmla="*/ 748362777 w 106"/>
                <a:gd name="T67" fmla="*/ 620597128 h 268"/>
                <a:gd name="T68" fmla="*/ 784868417 w 106"/>
                <a:gd name="T69" fmla="*/ 511080021 h 268"/>
                <a:gd name="T70" fmla="*/ 784868417 w 106"/>
                <a:gd name="T71" fmla="*/ 438068616 h 268"/>
                <a:gd name="T72" fmla="*/ 821374245 w 106"/>
                <a:gd name="T73" fmla="*/ 401562914 h 268"/>
                <a:gd name="T74" fmla="*/ 821374245 w 106"/>
                <a:gd name="T75" fmla="*/ 401562914 h 268"/>
                <a:gd name="T76" fmla="*/ 876132704 w 106"/>
                <a:gd name="T77" fmla="*/ 346804266 h 268"/>
                <a:gd name="T78" fmla="*/ 930891164 w 106"/>
                <a:gd name="T79" fmla="*/ 292045713 h 268"/>
                <a:gd name="T80" fmla="*/ 949143983 w 106"/>
                <a:gd name="T81" fmla="*/ 255540010 h 268"/>
                <a:gd name="T82" fmla="*/ 967396803 w 106"/>
                <a:gd name="T83" fmla="*/ 200781457 h 268"/>
                <a:gd name="T84" fmla="*/ 967396803 w 106"/>
                <a:gd name="T85" fmla="*/ 109517154 h 268"/>
                <a:gd name="T86" fmla="*/ 949143983 w 106"/>
                <a:gd name="T87" fmla="*/ 0 h 268"/>
                <a:gd name="T88" fmla="*/ 821374245 w 106"/>
                <a:gd name="T89" fmla="*/ 36505714 h 268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106"/>
                <a:gd name="T136" fmla="*/ 0 h 268"/>
                <a:gd name="T137" fmla="*/ 106 w 106"/>
                <a:gd name="T138" fmla="*/ 268 h 268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106" h="268">
                  <a:moveTo>
                    <a:pt x="90" y="4"/>
                  </a:moveTo>
                  <a:lnTo>
                    <a:pt x="90" y="4"/>
                  </a:lnTo>
                  <a:lnTo>
                    <a:pt x="86" y="10"/>
                  </a:lnTo>
                  <a:lnTo>
                    <a:pt x="80" y="16"/>
                  </a:lnTo>
                  <a:lnTo>
                    <a:pt x="76" y="24"/>
                  </a:lnTo>
                  <a:lnTo>
                    <a:pt x="74" y="30"/>
                  </a:lnTo>
                  <a:lnTo>
                    <a:pt x="74" y="36"/>
                  </a:lnTo>
                  <a:lnTo>
                    <a:pt x="74" y="42"/>
                  </a:lnTo>
                  <a:lnTo>
                    <a:pt x="72" y="50"/>
                  </a:lnTo>
                  <a:lnTo>
                    <a:pt x="64" y="64"/>
                  </a:lnTo>
                  <a:lnTo>
                    <a:pt x="56" y="78"/>
                  </a:lnTo>
                  <a:lnTo>
                    <a:pt x="48" y="92"/>
                  </a:lnTo>
                  <a:lnTo>
                    <a:pt x="30" y="132"/>
                  </a:lnTo>
                  <a:lnTo>
                    <a:pt x="14" y="178"/>
                  </a:lnTo>
                  <a:lnTo>
                    <a:pt x="8" y="200"/>
                  </a:lnTo>
                  <a:lnTo>
                    <a:pt x="4" y="224"/>
                  </a:lnTo>
                  <a:lnTo>
                    <a:pt x="0" y="246"/>
                  </a:lnTo>
                  <a:lnTo>
                    <a:pt x="0" y="268"/>
                  </a:lnTo>
                  <a:lnTo>
                    <a:pt x="22" y="230"/>
                  </a:lnTo>
                  <a:lnTo>
                    <a:pt x="46" y="196"/>
                  </a:lnTo>
                  <a:lnTo>
                    <a:pt x="52" y="186"/>
                  </a:lnTo>
                  <a:lnTo>
                    <a:pt x="58" y="174"/>
                  </a:lnTo>
                  <a:lnTo>
                    <a:pt x="66" y="150"/>
                  </a:lnTo>
                  <a:lnTo>
                    <a:pt x="72" y="126"/>
                  </a:lnTo>
                  <a:lnTo>
                    <a:pt x="76" y="102"/>
                  </a:lnTo>
                  <a:lnTo>
                    <a:pt x="78" y="84"/>
                  </a:lnTo>
                  <a:lnTo>
                    <a:pt x="78" y="78"/>
                  </a:lnTo>
                  <a:lnTo>
                    <a:pt x="82" y="68"/>
                  </a:lnTo>
                  <a:lnTo>
                    <a:pt x="86" y="56"/>
                  </a:lnTo>
                  <a:lnTo>
                    <a:pt x="86" y="48"/>
                  </a:lnTo>
                  <a:lnTo>
                    <a:pt x="90" y="44"/>
                  </a:lnTo>
                  <a:lnTo>
                    <a:pt x="96" y="38"/>
                  </a:lnTo>
                  <a:lnTo>
                    <a:pt x="102" y="32"/>
                  </a:lnTo>
                  <a:lnTo>
                    <a:pt x="104" y="28"/>
                  </a:lnTo>
                  <a:lnTo>
                    <a:pt x="106" y="22"/>
                  </a:lnTo>
                  <a:lnTo>
                    <a:pt x="106" y="12"/>
                  </a:lnTo>
                  <a:lnTo>
                    <a:pt x="104" y="0"/>
                  </a:lnTo>
                  <a:lnTo>
                    <a:pt x="90" y="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Calibri" pitchFamily="34" charset="0"/>
                <a:cs typeface="+mn-cs"/>
              </a:endParaRPr>
            </a:p>
          </p:txBody>
        </p:sp>
        <p:sp>
          <p:nvSpPr>
            <p:cNvPr id="55" name="Freeform 265"/>
            <p:cNvSpPr>
              <a:spLocks/>
            </p:cNvSpPr>
            <p:nvPr/>
          </p:nvSpPr>
          <p:spPr bwMode="auto">
            <a:xfrm>
              <a:off x="-126573" y="3555157"/>
              <a:ext cx="1341322" cy="731081"/>
            </a:xfrm>
            <a:custGeom>
              <a:avLst/>
              <a:gdLst>
                <a:gd name="T0" fmla="*/ 2147483647 w 444"/>
                <a:gd name="T1" fmla="*/ 438068647 h 242"/>
                <a:gd name="T2" fmla="*/ 2147483647 w 444"/>
                <a:gd name="T3" fmla="*/ 255540028 h 242"/>
                <a:gd name="T4" fmla="*/ 2147483647 w 444"/>
                <a:gd name="T5" fmla="*/ 255540028 h 242"/>
                <a:gd name="T6" fmla="*/ 2147483647 w 444"/>
                <a:gd name="T7" fmla="*/ 255540028 h 242"/>
                <a:gd name="T8" fmla="*/ 2147483647 w 444"/>
                <a:gd name="T9" fmla="*/ 310298586 h 242"/>
                <a:gd name="T10" fmla="*/ 2147483647 w 444"/>
                <a:gd name="T11" fmla="*/ 18252858 h 242"/>
                <a:gd name="T12" fmla="*/ 2147483647 w 444"/>
                <a:gd name="T13" fmla="*/ 18252858 h 242"/>
                <a:gd name="T14" fmla="*/ 2147483647 w 444"/>
                <a:gd name="T15" fmla="*/ 0 h 242"/>
                <a:gd name="T16" fmla="*/ 255539991 w 444"/>
                <a:gd name="T17" fmla="*/ 36505717 h 242"/>
                <a:gd name="T18" fmla="*/ 255539991 w 444"/>
                <a:gd name="T19" fmla="*/ 36505717 h 242"/>
                <a:gd name="T20" fmla="*/ 237287141 w 444"/>
                <a:gd name="T21" fmla="*/ 54758581 h 242"/>
                <a:gd name="T22" fmla="*/ 237287141 w 444"/>
                <a:gd name="T23" fmla="*/ 383309995 h 242"/>
                <a:gd name="T24" fmla="*/ 219034292 w 444"/>
                <a:gd name="T25" fmla="*/ 383309995 h 242"/>
                <a:gd name="T26" fmla="*/ 219034292 w 444"/>
                <a:gd name="T27" fmla="*/ 383309995 h 242"/>
                <a:gd name="T28" fmla="*/ 182528545 w 444"/>
                <a:gd name="T29" fmla="*/ 401562942 h 242"/>
                <a:gd name="T30" fmla="*/ 0 w 444"/>
                <a:gd name="T31" fmla="*/ 602344319 h 242"/>
                <a:gd name="T32" fmla="*/ 0 w 444"/>
                <a:gd name="T33" fmla="*/ 602344319 h 242"/>
                <a:gd name="T34" fmla="*/ 0 w 444"/>
                <a:gd name="T35" fmla="*/ 638850024 h 242"/>
                <a:gd name="T36" fmla="*/ 54758573 w 444"/>
                <a:gd name="T37" fmla="*/ 2147483647 h 242"/>
                <a:gd name="T38" fmla="*/ 2147483647 w 444"/>
                <a:gd name="T39" fmla="*/ 2147483647 h 242"/>
                <a:gd name="T40" fmla="*/ 2147483647 w 444"/>
                <a:gd name="T41" fmla="*/ 474574352 h 242"/>
                <a:gd name="T42" fmla="*/ 2147483647 w 444"/>
                <a:gd name="T43" fmla="*/ 474574352 h 242"/>
                <a:gd name="T44" fmla="*/ 2147483647 w 444"/>
                <a:gd name="T45" fmla="*/ 438068647 h 242"/>
                <a:gd name="T46" fmla="*/ 2147483647 w 444"/>
                <a:gd name="T47" fmla="*/ 438068647 h 242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444"/>
                <a:gd name="T73" fmla="*/ 0 h 242"/>
                <a:gd name="T74" fmla="*/ 444 w 444"/>
                <a:gd name="T75" fmla="*/ 242 h 242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444" h="242">
                  <a:moveTo>
                    <a:pt x="436" y="48"/>
                  </a:moveTo>
                  <a:lnTo>
                    <a:pt x="414" y="28"/>
                  </a:lnTo>
                  <a:lnTo>
                    <a:pt x="410" y="28"/>
                  </a:lnTo>
                  <a:lnTo>
                    <a:pt x="258" y="34"/>
                  </a:lnTo>
                  <a:lnTo>
                    <a:pt x="256" y="2"/>
                  </a:lnTo>
                  <a:lnTo>
                    <a:pt x="254" y="0"/>
                  </a:lnTo>
                  <a:lnTo>
                    <a:pt x="28" y="4"/>
                  </a:lnTo>
                  <a:lnTo>
                    <a:pt x="26" y="6"/>
                  </a:lnTo>
                  <a:lnTo>
                    <a:pt x="26" y="42"/>
                  </a:lnTo>
                  <a:lnTo>
                    <a:pt x="24" y="42"/>
                  </a:lnTo>
                  <a:lnTo>
                    <a:pt x="20" y="44"/>
                  </a:lnTo>
                  <a:lnTo>
                    <a:pt x="0" y="66"/>
                  </a:lnTo>
                  <a:lnTo>
                    <a:pt x="0" y="70"/>
                  </a:lnTo>
                  <a:lnTo>
                    <a:pt x="6" y="242"/>
                  </a:lnTo>
                  <a:lnTo>
                    <a:pt x="444" y="242"/>
                  </a:lnTo>
                  <a:lnTo>
                    <a:pt x="436" y="52"/>
                  </a:lnTo>
                  <a:lnTo>
                    <a:pt x="436" y="4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Calibri" pitchFamily="34" charset="0"/>
                <a:cs typeface="+mn-cs"/>
              </a:endParaRPr>
            </a:p>
          </p:txBody>
        </p:sp>
        <p:sp>
          <p:nvSpPr>
            <p:cNvPr id="56" name="Freeform 266"/>
            <p:cNvSpPr>
              <a:spLocks/>
            </p:cNvSpPr>
            <p:nvPr/>
          </p:nvSpPr>
          <p:spPr bwMode="auto">
            <a:xfrm>
              <a:off x="-2446697" y="3017420"/>
              <a:ext cx="1129852" cy="1268818"/>
            </a:xfrm>
            <a:custGeom>
              <a:avLst/>
              <a:gdLst>
                <a:gd name="T0" fmla="*/ 2147483647 w 374"/>
                <a:gd name="T1" fmla="*/ 2147483647 h 420"/>
                <a:gd name="T2" fmla="*/ 2147483647 w 374"/>
                <a:gd name="T3" fmla="*/ 1953052462 h 420"/>
                <a:gd name="T4" fmla="*/ 2147483647 w 374"/>
                <a:gd name="T5" fmla="*/ 1953052462 h 420"/>
                <a:gd name="T6" fmla="*/ 2147483647 w 374"/>
                <a:gd name="T7" fmla="*/ 1953052462 h 420"/>
                <a:gd name="T8" fmla="*/ 2147483647 w 374"/>
                <a:gd name="T9" fmla="*/ 1916546766 h 420"/>
                <a:gd name="T10" fmla="*/ 2147483647 w 374"/>
                <a:gd name="T11" fmla="*/ 1916546766 h 420"/>
                <a:gd name="T12" fmla="*/ 2147483647 w 374"/>
                <a:gd name="T13" fmla="*/ 1734018287 h 420"/>
                <a:gd name="T14" fmla="*/ 2147483647 w 374"/>
                <a:gd name="T15" fmla="*/ 1734018287 h 420"/>
                <a:gd name="T16" fmla="*/ 2147483647 w 374"/>
                <a:gd name="T17" fmla="*/ 1697512591 h 420"/>
                <a:gd name="T18" fmla="*/ 2147483647 w 374"/>
                <a:gd name="T19" fmla="*/ 1186432472 h 420"/>
                <a:gd name="T20" fmla="*/ 2147483647 w 374"/>
                <a:gd name="T21" fmla="*/ 1186432472 h 420"/>
                <a:gd name="T22" fmla="*/ 2147483647 w 374"/>
                <a:gd name="T23" fmla="*/ 1149926776 h 420"/>
                <a:gd name="T24" fmla="*/ 2147483647 w 374"/>
                <a:gd name="T25" fmla="*/ 912642774 h 420"/>
                <a:gd name="T26" fmla="*/ 2147483647 w 374"/>
                <a:gd name="T27" fmla="*/ 912642774 h 420"/>
                <a:gd name="T28" fmla="*/ 2147483647 w 374"/>
                <a:gd name="T29" fmla="*/ 894389926 h 420"/>
                <a:gd name="T30" fmla="*/ 2147483647 w 374"/>
                <a:gd name="T31" fmla="*/ 584091322 h 420"/>
                <a:gd name="T32" fmla="*/ 2147483647 w 374"/>
                <a:gd name="T33" fmla="*/ 584091322 h 420"/>
                <a:gd name="T34" fmla="*/ 2147483647 w 374"/>
                <a:gd name="T35" fmla="*/ 565838474 h 420"/>
                <a:gd name="T36" fmla="*/ 2147483647 w 374"/>
                <a:gd name="T37" fmla="*/ 383309901 h 420"/>
                <a:gd name="T38" fmla="*/ 2147483647 w 374"/>
                <a:gd name="T39" fmla="*/ 383309901 h 420"/>
                <a:gd name="T40" fmla="*/ 2147483647 w 374"/>
                <a:gd name="T41" fmla="*/ 365057053 h 420"/>
                <a:gd name="T42" fmla="*/ 2147483647 w 374"/>
                <a:gd name="T43" fmla="*/ 310298509 h 420"/>
                <a:gd name="T44" fmla="*/ 2147483647 w 374"/>
                <a:gd name="T45" fmla="*/ 310298509 h 420"/>
                <a:gd name="T46" fmla="*/ 2147483647 w 374"/>
                <a:gd name="T47" fmla="*/ 292045661 h 420"/>
                <a:gd name="T48" fmla="*/ 620596876 w 374"/>
                <a:gd name="T49" fmla="*/ 0 h 420"/>
                <a:gd name="T50" fmla="*/ 620596876 w 374"/>
                <a:gd name="T51" fmla="*/ 0 h 420"/>
                <a:gd name="T52" fmla="*/ 584091188 w 374"/>
                <a:gd name="T53" fmla="*/ 0 h 420"/>
                <a:gd name="T54" fmla="*/ 584091188 w 374"/>
                <a:gd name="T55" fmla="*/ 0 h 420"/>
                <a:gd name="T56" fmla="*/ 529332657 w 374"/>
                <a:gd name="T57" fmla="*/ 146022831 h 420"/>
                <a:gd name="T58" fmla="*/ 474574126 w 374"/>
                <a:gd name="T59" fmla="*/ 292045661 h 420"/>
                <a:gd name="T60" fmla="*/ 419815595 w 374"/>
                <a:gd name="T61" fmla="*/ 492827083 h 420"/>
                <a:gd name="T62" fmla="*/ 401562751 w 374"/>
                <a:gd name="T63" fmla="*/ 693608410 h 420"/>
                <a:gd name="T64" fmla="*/ 401562751 w 374"/>
                <a:gd name="T65" fmla="*/ 803125686 h 420"/>
                <a:gd name="T66" fmla="*/ 419815595 w 374"/>
                <a:gd name="T67" fmla="*/ 930895622 h 420"/>
                <a:gd name="T68" fmla="*/ 456321282 w 374"/>
                <a:gd name="T69" fmla="*/ 1040409688 h 420"/>
                <a:gd name="T70" fmla="*/ 492826970 w 374"/>
                <a:gd name="T71" fmla="*/ 1149926776 h 420"/>
                <a:gd name="T72" fmla="*/ 565838345 w 374"/>
                <a:gd name="T73" fmla="*/ 1259443863 h 420"/>
                <a:gd name="T74" fmla="*/ 638849719 w 374"/>
                <a:gd name="T75" fmla="*/ 1350708103 h 420"/>
                <a:gd name="T76" fmla="*/ 693608251 w 374"/>
                <a:gd name="T77" fmla="*/ 1496730886 h 420"/>
                <a:gd name="T78" fmla="*/ 693608251 w 374"/>
                <a:gd name="T79" fmla="*/ 1496730886 h 420"/>
                <a:gd name="T80" fmla="*/ 711861094 w 374"/>
                <a:gd name="T81" fmla="*/ 1514983734 h 420"/>
                <a:gd name="T82" fmla="*/ 766619626 w 374"/>
                <a:gd name="T83" fmla="*/ 1642754047 h 420"/>
                <a:gd name="T84" fmla="*/ 766619626 w 374"/>
                <a:gd name="T85" fmla="*/ 1642754047 h 420"/>
                <a:gd name="T86" fmla="*/ 784872469 w 374"/>
                <a:gd name="T87" fmla="*/ 1679259743 h 420"/>
                <a:gd name="T88" fmla="*/ 784872469 w 374"/>
                <a:gd name="T89" fmla="*/ 1825282527 h 420"/>
                <a:gd name="T90" fmla="*/ 784872469 w 374"/>
                <a:gd name="T91" fmla="*/ 1825282527 h 420"/>
                <a:gd name="T92" fmla="*/ 784872469 w 374"/>
                <a:gd name="T93" fmla="*/ 1861788222 h 420"/>
                <a:gd name="T94" fmla="*/ 784872469 w 374"/>
                <a:gd name="T95" fmla="*/ 1861788222 h 420"/>
                <a:gd name="T96" fmla="*/ 310298438 w 374"/>
                <a:gd name="T97" fmla="*/ 1843535375 h 420"/>
                <a:gd name="T98" fmla="*/ 310298438 w 374"/>
                <a:gd name="T99" fmla="*/ 1843535375 h 420"/>
                <a:gd name="T100" fmla="*/ 273792750 w 374"/>
                <a:gd name="T101" fmla="*/ 1861788222 h 420"/>
                <a:gd name="T102" fmla="*/ 73011399 w 374"/>
                <a:gd name="T103" fmla="*/ 2044316702 h 420"/>
                <a:gd name="T104" fmla="*/ 73011399 w 374"/>
                <a:gd name="T105" fmla="*/ 2044316702 h 420"/>
                <a:gd name="T106" fmla="*/ 73011399 w 374"/>
                <a:gd name="T107" fmla="*/ 2080822398 h 420"/>
                <a:gd name="T108" fmla="*/ 0 w 374"/>
                <a:gd name="T109" fmla="*/ 2147483647 h 420"/>
                <a:gd name="T110" fmla="*/ 0 w 374"/>
                <a:gd name="T111" fmla="*/ 2147483647 h 420"/>
                <a:gd name="T112" fmla="*/ 0 w 374"/>
                <a:gd name="T113" fmla="*/ 2147483647 h 420"/>
                <a:gd name="T114" fmla="*/ 2147483647 w 374"/>
                <a:gd name="T115" fmla="*/ 2147483647 h 420"/>
                <a:gd name="T116" fmla="*/ 2147483647 w 374"/>
                <a:gd name="T117" fmla="*/ 2147483647 h 420"/>
                <a:gd name="T118" fmla="*/ 2147483647 w 374"/>
                <a:gd name="T119" fmla="*/ 2147483647 h 420"/>
                <a:gd name="T120" fmla="*/ 2147483647 w 374"/>
                <a:gd name="T121" fmla="*/ 2147483647 h 420"/>
                <a:gd name="T122" fmla="*/ 2147483647 w 374"/>
                <a:gd name="T123" fmla="*/ 2147483647 h 420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374"/>
                <a:gd name="T187" fmla="*/ 0 h 420"/>
                <a:gd name="T188" fmla="*/ 374 w 374"/>
                <a:gd name="T189" fmla="*/ 420 h 420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374" h="420">
                  <a:moveTo>
                    <a:pt x="374" y="236"/>
                  </a:moveTo>
                  <a:lnTo>
                    <a:pt x="352" y="214"/>
                  </a:lnTo>
                  <a:lnTo>
                    <a:pt x="350" y="214"/>
                  </a:lnTo>
                  <a:lnTo>
                    <a:pt x="242" y="210"/>
                  </a:lnTo>
                  <a:lnTo>
                    <a:pt x="246" y="190"/>
                  </a:lnTo>
                  <a:lnTo>
                    <a:pt x="246" y="186"/>
                  </a:lnTo>
                  <a:lnTo>
                    <a:pt x="242" y="130"/>
                  </a:lnTo>
                  <a:lnTo>
                    <a:pt x="240" y="126"/>
                  </a:lnTo>
                  <a:lnTo>
                    <a:pt x="236" y="100"/>
                  </a:lnTo>
                  <a:lnTo>
                    <a:pt x="236" y="98"/>
                  </a:lnTo>
                  <a:lnTo>
                    <a:pt x="250" y="64"/>
                  </a:lnTo>
                  <a:lnTo>
                    <a:pt x="252" y="62"/>
                  </a:lnTo>
                  <a:lnTo>
                    <a:pt x="258" y="42"/>
                  </a:lnTo>
                  <a:lnTo>
                    <a:pt x="258" y="40"/>
                  </a:lnTo>
                  <a:lnTo>
                    <a:pt x="252" y="34"/>
                  </a:lnTo>
                  <a:lnTo>
                    <a:pt x="250" y="32"/>
                  </a:lnTo>
                  <a:lnTo>
                    <a:pt x="68" y="0"/>
                  </a:lnTo>
                  <a:lnTo>
                    <a:pt x="64" y="0"/>
                  </a:lnTo>
                  <a:lnTo>
                    <a:pt x="58" y="16"/>
                  </a:lnTo>
                  <a:lnTo>
                    <a:pt x="52" y="32"/>
                  </a:lnTo>
                  <a:lnTo>
                    <a:pt x="46" y="54"/>
                  </a:lnTo>
                  <a:lnTo>
                    <a:pt x="44" y="76"/>
                  </a:lnTo>
                  <a:lnTo>
                    <a:pt x="44" y="88"/>
                  </a:lnTo>
                  <a:lnTo>
                    <a:pt x="46" y="102"/>
                  </a:lnTo>
                  <a:lnTo>
                    <a:pt x="50" y="114"/>
                  </a:lnTo>
                  <a:lnTo>
                    <a:pt x="54" y="126"/>
                  </a:lnTo>
                  <a:lnTo>
                    <a:pt x="62" y="138"/>
                  </a:lnTo>
                  <a:lnTo>
                    <a:pt x="70" y="148"/>
                  </a:lnTo>
                  <a:lnTo>
                    <a:pt x="76" y="164"/>
                  </a:lnTo>
                  <a:lnTo>
                    <a:pt x="78" y="166"/>
                  </a:lnTo>
                  <a:lnTo>
                    <a:pt x="84" y="180"/>
                  </a:lnTo>
                  <a:lnTo>
                    <a:pt x="86" y="184"/>
                  </a:lnTo>
                  <a:lnTo>
                    <a:pt x="86" y="200"/>
                  </a:lnTo>
                  <a:lnTo>
                    <a:pt x="86" y="204"/>
                  </a:lnTo>
                  <a:lnTo>
                    <a:pt x="34" y="202"/>
                  </a:lnTo>
                  <a:lnTo>
                    <a:pt x="30" y="204"/>
                  </a:lnTo>
                  <a:lnTo>
                    <a:pt x="8" y="224"/>
                  </a:lnTo>
                  <a:lnTo>
                    <a:pt x="8" y="228"/>
                  </a:lnTo>
                  <a:lnTo>
                    <a:pt x="0" y="420"/>
                  </a:lnTo>
                  <a:lnTo>
                    <a:pt x="368" y="420"/>
                  </a:lnTo>
                  <a:lnTo>
                    <a:pt x="374" y="240"/>
                  </a:lnTo>
                  <a:lnTo>
                    <a:pt x="374" y="23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Calibri" pitchFamily="34" charset="0"/>
                <a:cs typeface="+mn-cs"/>
              </a:endParaRPr>
            </a:p>
          </p:txBody>
        </p:sp>
      </p:grpSp>
      <p:grpSp>
        <p:nvGrpSpPr>
          <p:cNvPr id="57" name="Gruppe 28"/>
          <p:cNvGrpSpPr>
            <a:grpSpLocks/>
          </p:cNvGrpSpPr>
          <p:nvPr/>
        </p:nvGrpSpPr>
        <p:grpSpPr bwMode="auto">
          <a:xfrm>
            <a:off x="1448445" y="3512766"/>
            <a:ext cx="633867" cy="1707306"/>
            <a:chOff x="906463" y="3581400"/>
            <a:chExt cx="777875" cy="2095500"/>
          </a:xfrm>
          <a:solidFill>
            <a:schemeClr val="bg1">
              <a:lumMod val="85000"/>
            </a:schemeClr>
          </a:solidFill>
        </p:grpSpPr>
        <p:sp>
          <p:nvSpPr>
            <p:cNvPr id="58" name="Freeform 137"/>
            <p:cNvSpPr>
              <a:spLocks noEditPoints="1"/>
            </p:cNvSpPr>
            <p:nvPr/>
          </p:nvSpPr>
          <p:spPr bwMode="auto">
            <a:xfrm>
              <a:off x="1087404" y="3879066"/>
              <a:ext cx="556349" cy="1229563"/>
            </a:xfrm>
            <a:custGeom>
              <a:avLst/>
              <a:gdLst>
                <a:gd name="T0" fmla="*/ 2147483647 w 350"/>
                <a:gd name="T1" fmla="*/ 2147483647 h 774"/>
                <a:gd name="T2" fmla="*/ 2147483647 w 350"/>
                <a:gd name="T3" fmla="*/ 2147483647 h 774"/>
                <a:gd name="T4" fmla="*/ 2147483647 w 350"/>
                <a:gd name="T5" fmla="*/ 2147483647 h 774"/>
                <a:gd name="T6" fmla="*/ 2147483647 w 350"/>
                <a:gd name="T7" fmla="*/ 2147483647 h 774"/>
                <a:gd name="T8" fmla="*/ 2147483647 w 350"/>
                <a:gd name="T9" fmla="*/ 2147483647 h 774"/>
                <a:gd name="T10" fmla="*/ 2147483647 w 350"/>
                <a:gd name="T11" fmla="*/ 2147483647 h 774"/>
                <a:gd name="T12" fmla="*/ 2147483647 w 350"/>
                <a:gd name="T13" fmla="*/ 2147483647 h 774"/>
                <a:gd name="T14" fmla="*/ 2147483647 w 350"/>
                <a:gd name="T15" fmla="*/ 2147483647 h 774"/>
                <a:gd name="T16" fmla="*/ 2147483647 w 350"/>
                <a:gd name="T17" fmla="*/ 0 h 774"/>
                <a:gd name="T18" fmla="*/ 2147483647 w 350"/>
                <a:gd name="T19" fmla="*/ 2147483647 h 774"/>
                <a:gd name="T20" fmla="*/ 2147483647 w 350"/>
                <a:gd name="T21" fmla="*/ 2147483647 h 774"/>
                <a:gd name="T22" fmla="*/ 2147483647 w 350"/>
                <a:gd name="T23" fmla="*/ 2147483647 h 774"/>
                <a:gd name="T24" fmla="*/ 2147483647 w 350"/>
                <a:gd name="T25" fmla="*/ 2147483647 h 774"/>
                <a:gd name="T26" fmla="*/ 2147483647 w 350"/>
                <a:gd name="T27" fmla="*/ 2147483647 h 774"/>
                <a:gd name="T28" fmla="*/ 0 w 350"/>
                <a:gd name="T29" fmla="*/ 2147483647 h 774"/>
                <a:gd name="T30" fmla="*/ 2147483647 w 350"/>
                <a:gd name="T31" fmla="*/ 2147483647 h 774"/>
                <a:gd name="T32" fmla="*/ 2147483647 w 350"/>
                <a:gd name="T33" fmla="*/ 2147483647 h 774"/>
                <a:gd name="T34" fmla="*/ 2147483647 w 350"/>
                <a:gd name="T35" fmla="*/ 2147483647 h 774"/>
                <a:gd name="T36" fmla="*/ 2147483647 w 350"/>
                <a:gd name="T37" fmla="*/ 2147483647 h 774"/>
                <a:gd name="T38" fmla="*/ 2147483647 w 350"/>
                <a:gd name="T39" fmla="*/ 2147483647 h 774"/>
                <a:gd name="T40" fmla="*/ 2147483647 w 350"/>
                <a:gd name="T41" fmla="*/ 2147483647 h 774"/>
                <a:gd name="T42" fmla="*/ 2147483647 w 350"/>
                <a:gd name="T43" fmla="*/ 2147483647 h 774"/>
                <a:gd name="T44" fmla="*/ 2147483647 w 350"/>
                <a:gd name="T45" fmla="*/ 2147483647 h 774"/>
                <a:gd name="T46" fmla="*/ 2147483647 w 350"/>
                <a:gd name="T47" fmla="*/ 2147483647 h 774"/>
                <a:gd name="T48" fmla="*/ 2147483647 w 350"/>
                <a:gd name="T49" fmla="*/ 2147483647 h 774"/>
                <a:gd name="T50" fmla="*/ 2147483647 w 350"/>
                <a:gd name="T51" fmla="*/ 2147483647 h 774"/>
                <a:gd name="T52" fmla="*/ 2147483647 w 350"/>
                <a:gd name="T53" fmla="*/ 2147483647 h 774"/>
                <a:gd name="T54" fmla="*/ 2147483647 w 350"/>
                <a:gd name="T55" fmla="*/ 2147483647 h 774"/>
                <a:gd name="T56" fmla="*/ 2147483647 w 350"/>
                <a:gd name="T57" fmla="*/ 2147483647 h 774"/>
                <a:gd name="T58" fmla="*/ 2147483647 w 350"/>
                <a:gd name="T59" fmla="*/ 2147483647 h 774"/>
                <a:gd name="T60" fmla="*/ 2147483647 w 350"/>
                <a:gd name="T61" fmla="*/ 2147483647 h 774"/>
                <a:gd name="T62" fmla="*/ 2147483647 w 350"/>
                <a:gd name="T63" fmla="*/ 2147483647 h 774"/>
                <a:gd name="T64" fmla="*/ 2147483647 w 350"/>
                <a:gd name="T65" fmla="*/ 2147483647 h 774"/>
                <a:gd name="T66" fmla="*/ 2147483647 w 350"/>
                <a:gd name="T67" fmla="*/ 2147483647 h 774"/>
                <a:gd name="T68" fmla="*/ 2147483647 w 350"/>
                <a:gd name="T69" fmla="*/ 2147483647 h 774"/>
                <a:gd name="T70" fmla="*/ 2147483647 w 350"/>
                <a:gd name="T71" fmla="*/ 2147483647 h 774"/>
                <a:gd name="T72" fmla="*/ 2147483647 w 350"/>
                <a:gd name="T73" fmla="*/ 2147483647 h 774"/>
                <a:gd name="T74" fmla="*/ 2147483647 w 350"/>
                <a:gd name="T75" fmla="*/ 2147483647 h 774"/>
                <a:gd name="T76" fmla="*/ 2147483647 w 350"/>
                <a:gd name="T77" fmla="*/ 2147483647 h 774"/>
                <a:gd name="T78" fmla="*/ 2147483647 w 350"/>
                <a:gd name="T79" fmla="*/ 2147483647 h 774"/>
                <a:gd name="T80" fmla="*/ 2147483647 w 350"/>
                <a:gd name="T81" fmla="*/ 2147483647 h 774"/>
                <a:gd name="T82" fmla="*/ 2147483647 w 350"/>
                <a:gd name="T83" fmla="*/ 2147483647 h 774"/>
                <a:gd name="T84" fmla="*/ 2147483647 w 350"/>
                <a:gd name="T85" fmla="*/ 2147483647 h 774"/>
                <a:gd name="T86" fmla="*/ 2147483647 w 350"/>
                <a:gd name="T87" fmla="*/ 2147483647 h 774"/>
                <a:gd name="T88" fmla="*/ 2147483647 w 350"/>
                <a:gd name="T89" fmla="*/ 2147483647 h 774"/>
                <a:gd name="T90" fmla="*/ 2147483647 w 350"/>
                <a:gd name="T91" fmla="*/ 2147483647 h 774"/>
                <a:gd name="T92" fmla="*/ 2147483647 w 350"/>
                <a:gd name="T93" fmla="*/ 2147483647 h 774"/>
                <a:gd name="T94" fmla="*/ 2147483647 w 350"/>
                <a:gd name="T95" fmla="*/ 2147483647 h 774"/>
                <a:gd name="T96" fmla="*/ 2147483647 w 350"/>
                <a:gd name="T97" fmla="*/ 2147483647 h 774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350"/>
                <a:gd name="T148" fmla="*/ 0 h 774"/>
                <a:gd name="T149" fmla="*/ 350 w 350"/>
                <a:gd name="T150" fmla="*/ 774 h 774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350" h="774">
                  <a:moveTo>
                    <a:pt x="344" y="262"/>
                  </a:moveTo>
                  <a:lnTo>
                    <a:pt x="344" y="262"/>
                  </a:lnTo>
                  <a:lnTo>
                    <a:pt x="322" y="164"/>
                  </a:lnTo>
                  <a:lnTo>
                    <a:pt x="300" y="102"/>
                  </a:lnTo>
                  <a:lnTo>
                    <a:pt x="300" y="96"/>
                  </a:lnTo>
                  <a:lnTo>
                    <a:pt x="300" y="88"/>
                  </a:lnTo>
                  <a:lnTo>
                    <a:pt x="296" y="80"/>
                  </a:lnTo>
                  <a:lnTo>
                    <a:pt x="294" y="76"/>
                  </a:lnTo>
                  <a:lnTo>
                    <a:pt x="294" y="72"/>
                  </a:lnTo>
                  <a:lnTo>
                    <a:pt x="292" y="56"/>
                  </a:lnTo>
                  <a:lnTo>
                    <a:pt x="288" y="46"/>
                  </a:lnTo>
                  <a:lnTo>
                    <a:pt x="284" y="40"/>
                  </a:lnTo>
                  <a:lnTo>
                    <a:pt x="280" y="36"/>
                  </a:lnTo>
                  <a:lnTo>
                    <a:pt x="270" y="30"/>
                  </a:lnTo>
                  <a:lnTo>
                    <a:pt x="260" y="26"/>
                  </a:lnTo>
                  <a:lnTo>
                    <a:pt x="258" y="26"/>
                  </a:lnTo>
                  <a:lnTo>
                    <a:pt x="234" y="20"/>
                  </a:lnTo>
                  <a:lnTo>
                    <a:pt x="226" y="18"/>
                  </a:lnTo>
                  <a:lnTo>
                    <a:pt x="212" y="14"/>
                  </a:lnTo>
                  <a:lnTo>
                    <a:pt x="176" y="8"/>
                  </a:lnTo>
                  <a:lnTo>
                    <a:pt x="120" y="0"/>
                  </a:lnTo>
                  <a:lnTo>
                    <a:pt x="112" y="0"/>
                  </a:lnTo>
                  <a:lnTo>
                    <a:pt x="98" y="4"/>
                  </a:lnTo>
                  <a:lnTo>
                    <a:pt x="84" y="8"/>
                  </a:lnTo>
                  <a:lnTo>
                    <a:pt x="76" y="14"/>
                  </a:lnTo>
                  <a:lnTo>
                    <a:pt x="68" y="18"/>
                  </a:lnTo>
                  <a:lnTo>
                    <a:pt x="58" y="22"/>
                  </a:lnTo>
                  <a:lnTo>
                    <a:pt x="42" y="28"/>
                  </a:lnTo>
                  <a:lnTo>
                    <a:pt x="28" y="32"/>
                  </a:lnTo>
                  <a:lnTo>
                    <a:pt x="12" y="36"/>
                  </a:lnTo>
                  <a:lnTo>
                    <a:pt x="8" y="38"/>
                  </a:lnTo>
                  <a:lnTo>
                    <a:pt x="6" y="42"/>
                  </a:lnTo>
                  <a:lnTo>
                    <a:pt x="4" y="48"/>
                  </a:lnTo>
                  <a:lnTo>
                    <a:pt x="0" y="60"/>
                  </a:lnTo>
                  <a:lnTo>
                    <a:pt x="0" y="70"/>
                  </a:lnTo>
                  <a:lnTo>
                    <a:pt x="2" y="80"/>
                  </a:lnTo>
                  <a:lnTo>
                    <a:pt x="6" y="86"/>
                  </a:lnTo>
                  <a:lnTo>
                    <a:pt x="18" y="106"/>
                  </a:lnTo>
                  <a:lnTo>
                    <a:pt x="30" y="158"/>
                  </a:lnTo>
                  <a:lnTo>
                    <a:pt x="42" y="208"/>
                  </a:lnTo>
                  <a:lnTo>
                    <a:pt x="50" y="224"/>
                  </a:lnTo>
                  <a:lnTo>
                    <a:pt x="56" y="240"/>
                  </a:lnTo>
                  <a:lnTo>
                    <a:pt x="60" y="252"/>
                  </a:lnTo>
                  <a:lnTo>
                    <a:pt x="64" y="266"/>
                  </a:lnTo>
                  <a:lnTo>
                    <a:pt x="72" y="284"/>
                  </a:lnTo>
                  <a:lnTo>
                    <a:pt x="80" y="304"/>
                  </a:lnTo>
                  <a:lnTo>
                    <a:pt x="82" y="312"/>
                  </a:lnTo>
                  <a:lnTo>
                    <a:pt x="84" y="318"/>
                  </a:lnTo>
                  <a:lnTo>
                    <a:pt x="82" y="332"/>
                  </a:lnTo>
                  <a:lnTo>
                    <a:pt x="78" y="346"/>
                  </a:lnTo>
                  <a:lnTo>
                    <a:pt x="72" y="364"/>
                  </a:lnTo>
                  <a:lnTo>
                    <a:pt x="64" y="398"/>
                  </a:lnTo>
                  <a:lnTo>
                    <a:pt x="54" y="438"/>
                  </a:lnTo>
                  <a:lnTo>
                    <a:pt x="48" y="464"/>
                  </a:lnTo>
                  <a:lnTo>
                    <a:pt x="42" y="484"/>
                  </a:lnTo>
                  <a:lnTo>
                    <a:pt x="46" y="488"/>
                  </a:lnTo>
                  <a:lnTo>
                    <a:pt x="52" y="492"/>
                  </a:lnTo>
                  <a:lnTo>
                    <a:pt x="58" y="494"/>
                  </a:lnTo>
                  <a:lnTo>
                    <a:pt x="58" y="506"/>
                  </a:lnTo>
                  <a:lnTo>
                    <a:pt x="58" y="524"/>
                  </a:lnTo>
                  <a:lnTo>
                    <a:pt x="58" y="556"/>
                  </a:lnTo>
                  <a:lnTo>
                    <a:pt x="60" y="606"/>
                  </a:lnTo>
                  <a:lnTo>
                    <a:pt x="62" y="656"/>
                  </a:lnTo>
                  <a:lnTo>
                    <a:pt x="62" y="672"/>
                  </a:lnTo>
                  <a:lnTo>
                    <a:pt x="62" y="682"/>
                  </a:lnTo>
                  <a:lnTo>
                    <a:pt x="62" y="710"/>
                  </a:lnTo>
                  <a:lnTo>
                    <a:pt x="62" y="732"/>
                  </a:lnTo>
                  <a:lnTo>
                    <a:pt x="62" y="752"/>
                  </a:lnTo>
                  <a:lnTo>
                    <a:pt x="72" y="756"/>
                  </a:lnTo>
                  <a:lnTo>
                    <a:pt x="108" y="770"/>
                  </a:lnTo>
                  <a:lnTo>
                    <a:pt x="122" y="774"/>
                  </a:lnTo>
                  <a:lnTo>
                    <a:pt x="136" y="774"/>
                  </a:lnTo>
                  <a:lnTo>
                    <a:pt x="152" y="774"/>
                  </a:lnTo>
                  <a:lnTo>
                    <a:pt x="168" y="770"/>
                  </a:lnTo>
                  <a:lnTo>
                    <a:pt x="196" y="764"/>
                  </a:lnTo>
                  <a:lnTo>
                    <a:pt x="214" y="760"/>
                  </a:lnTo>
                  <a:lnTo>
                    <a:pt x="264" y="746"/>
                  </a:lnTo>
                  <a:lnTo>
                    <a:pt x="288" y="738"/>
                  </a:lnTo>
                  <a:lnTo>
                    <a:pt x="310" y="728"/>
                  </a:lnTo>
                  <a:lnTo>
                    <a:pt x="330" y="716"/>
                  </a:lnTo>
                  <a:lnTo>
                    <a:pt x="328" y="676"/>
                  </a:lnTo>
                  <a:lnTo>
                    <a:pt x="326" y="616"/>
                  </a:lnTo>
                  <a:lnTo>
                    <a:pt x="326" y="532"/>
                  </a:lnTo>
                  <a:lnTo>
                    <a:pt x="324" y="468"/>
                  </a:lnTo>
                  <a:lnTo>
                    <a:pt x="326" y="460"/>
                  </a:lnTo>
                  <a:lnTo>
                    <a:pt x="326" y="446"/>
                  </a:lnTo>
                  <a:lnTo>
                    <a:pt x="324" y="434"/>
                  </a:lnTo>
                  <a:lnTo>
                    <a:pt x="316" y="408"/>
                  </a:lnTo>
                  <a:lnTo>
                    <a:pt x="310" y="392"/>
                  </a:lnTo>
                  <a:lnTo>
                    <a:pt x="308" y="384"/>
                  </a:lnTo>
                  <a:lnTo>
                    <a:pt x="324" y="344"/>
                  </a:lnTo>
                  <a:lnTo>
                    <a:pt x="338" y="314"/>
                  </a:lnTo>
                  <a:lnTo>
                    <a:pt x="342" y="298"/>
                  </a:lnTo>
                  <a:lnTo>
                    <a:pt x="344" y="290"/>
                  </a:lnTo>
                  <a:lnTo>
                    <a:pt x="348" y="280"/>
                  </a:lnTo>
                  <a:lnTo>
                    <a:pt x="350" y="276"/>
                  </a:lnTo>
                  <a:lnTo>
                    <a:pt x="348" y="272"/>
                  </a:lnTo>
                  <a:lnTo>
                    <a:pt x="344" y="262"/>
                  </a:lnTo>
                  <a:close/>
                  <a:moveTo>
                    <a:pt x="280" y="246"/>
                  </a:moveTo>
                  <a:lnTo>
                    <a:pt x="276" y="250"/>
                  </a:lnTo>
                  <a:lnTo>
                    <a:pt x="276" y="256"/>
                  </a:lnTo>
                  <a:lnTo>
                    <a:pt x="272" y="258"/>
                  </a:lnTo>
                  <a:lnTo>
                    <a:pt x="274" y="236"/>
                  </a:lnTo>
                  <a:lnTo>
                    <a:pt x="278" y="236"/>
                  </a:lnTo>
                  <a:lnTo>
                    <a:pt x="280" y="238"/>
                  </a:lnTo>
                  <a:lnTo>
                    <a:pt x="282" y="240"/>
                  </a:lnTo>
                  <a:lnTo>
                    <a:pt x="282" y="246"/>
                  </a:lnTo>
                  <a:lnTo>
                    <a:pt x="280" y="246"/>
                  </a:lnTo>
                  <a:close/>
                </a:path>
              </a:pathLst>
            </a:custGeom>
            <a:solidFill>
              <a:srgbClr val="17375E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59" name="Freeform 138"/>
            <p:cNvSpPr>
              <a:spLocks/>
            </p:cNvSpPr>
            <p:nvPr/>
          </p:nvSpPr>
          <p:spPr bwMode="auto">
            <a:xfrm>
              <a:off x="1268344" y="3863845"/>
              <a:ext cx="191087" cy="311196"/>
            </a:xfrm>
            <a:custGeom>
              <a:avLst/>
              <a:gdLst>
                <a:gd name="T0" fmla="*/ 2147483647 w 120"/>
                <a:gd name="T1" fmla="*/ 2147483647 h 196"/>
                <a:gd name="T2" fmla="*/ 2147483647 w 120"/>
                <a:gd name="T3" fmla="*/ 2147483647 h 196"/>
                <a:gd name="T4" fmla="*/ 2147483647 w 120"/>
                <a:gd name="T5" fmla="*/ 2147483647 h 196"/>
                <a:gd name="T6" fmla="*/ 2147483647 w 120"/>
                <a:gd name="T7" fmla="*/ 2147483647 h 196"/>
                <a:gd name="T8" fmla="*/ 2147483647 w 120"/>
                <a:gd name="T9" fmla="*/ 2147483647 h 196"/>
                <a:gd name="T10" fmla="*/ 2147483647 w 120"/>
                <a:gd name="T11" fmla="*/ 2147483647 h 196"/>
                <a:gd name="T12" fmla="*/ 2147483647 w 120"/>
                <a:gd name="T13" fmla="*/ 2147483647 h 196"/>
                <a:gd name="T14" fmla="*/ 2147483647 w 120"/>
                <a:gd name="T15" fmla="*/ 2147483647 h 196"/>
                <a:gd name="T16" fmla="*/ 2147483647 w 120"/>
                <a:gd name="T17" fmla="*/ 2147483647 h 196"/>
                <a:gd name="T18" fmla="*/ 2147483647 w 120"/>
                <a:gd name="T19" fmla="*/ 2147483647 h 196"/>
                <a:gd name="T20" fmla="*/ 2147483647 w 120"/>
                <a:gd name="T21" fmla="*/ 2147483647 h 196"/>
                <a:gd name="T22" fmla="*/ 2147483647 w 120"/>
                <a:gd name="T23" fmla="*/ 2147483647 h 196"/>
                <a:gd name="T24" fmla="*/ 2147483647 w 120"/>
                <a:gd name="T25" fmla="*/ 2147483647 h 196"/>
                <a:gd name="T26" fmla="*/ 2147483647 w 120"/>
                <a:gd name="T27" fmla="*/ 2147483647 h 196"/>
                <a:gd name="T28" fmla="*/ 2147483647 w 120"/>
                <a:gd name="T29" fmla="*/ 2147483647 h 196"/>
                <a:gd name="T30" fmla="*/ 2147483647 w 120"/>
                <a:gd name="T31" fmla="*/ 2147483647 h 196"/>
                <a:gd name="T32" fmla="*/ 2147483647 w 120"/>
                <a:gd name="T33" fmla="*/ 2147483647 h 196"/>
                <a:gd name="T34" fmla="*/ 2147483647 w 120"/>
                <a:gd name="T35" fmla="*/ 2147483647 h 196"/>
                <a:gd name="T36" fmla="*/ 2147483647 w 120"/>
                <a:gd name="T37" fmla="*/ 2147483647 h 196"/>
                <a:gd name="T38" fmla="*/ 2147483647 w 120"/>
                <a:gd name="T39" fmla="*/ 2147483647 h 196"/>
                <a:gd name="T40" fmla="*/ 0 w 120"/>
                <a:gd name="T41" fmla="*/ 2147483647 h 196"/>
                <a:gd name="T42" fmla="*/ 2147483647 w 120"/>
                <a:gd name="T43" fmla="*/ 2147483647 h 196"/>
                <a:gd name="T44" fmla="*/ 2147483647 w 120"/>
                <a:gd name="T45" fmla="*/ 2147483647 h 196"/>
                <a:gd name="T46" fmla="*/ 2147483647 w 120"/>
                <a:gd name="T47" fmla="*/ 2147483647 h 196"/>
                <a:gd name="T48" fmla="*/ 2147483647 w 120"/>
                <a:gd name="T49" fmla="*/ 0 h 196"/>
                <a:gd name="T50" fmla="*/ 2147483647 w 120"/>
                <a:gd name="T51" fmla="*/ 0 h 196"/>
                <a:gd name="T52" fmla="*/ 2147483647 w 120"/>
                <a:gd name="T53" fmla="*/ 2147483647 h 196"/>
                <a:gd name="T54" fmla="*/ 2147483647 w 120"/>
                <a:gd name="T55" fmla="*/ 2147483647 h 19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120"/>
                <a:gd name="T85" fmla="*/ 0 h 196"/>
                <a:gd name="T86" fmla="*/ 120 w 120"/>
                <a:gd name="T87" fmla="*/ 196 h 196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120" h="196">
                  <a:moveTo>
                    <a:pt x="82" y="2"/>
                  </a:moveTo>
                  <a:lnTo>
                    <a:pt x="82" y="2"/>
                  </a:lnTo>
                  <a:lnTo>
                    <a:pt x="96" y="24"/>
                  </a:lnTo>
                  <a:lnTo>
                    <a:pt x="98" y="34"/>
                  </a:lnTo>
                  <a:lnTo>
                    <a:pt x="102" y="46"/>
                  </a:lnTo>
                  <a:lnTo>
                    <a:pt x="106" y="70"/>
                  </a:lnTo>
                  <a:lnTo>
                    <a:pt x="114" y="120"/>
                  </a:lnTo>
                  <a:lnTo>
                    <a:pt x="118" y="170"/>
                  </a:lnTo>
                  <a:lnTo>
                    <a:pt x="120" y="188"/>
                  </a:lnTo>
                  <a:lnTo>
                    <a:pt x="118" y="196"/>
                  </a:lnTo>
                  <a:lnTo>
                    <a:pt x="106" y="174"/>
                  </a:lnTo>
                  <a:lnTo>
                    <a:pt x="76" y="120"/>
                  </a:lnTo>
                  <a:lnTo>
                    <a:pt x="58" y="90"/>
                  </a:lnTo>
                  <a:lnTo>
                    <a:pt x="38" y="62"/>
                  </a:lnTo>
                  <a:lnTo>
                    <a:pt x="22" y="40"/>
                  </a:lnTo>
                  <a:lnTo>
                    <a:pt x="14" y="32"/>
                  </a:lnTo>
                  <a:lnTo>
                    <a:pt x="8" y="26"/>
                  </a:lnTo>
                  <a:lnTo>
                    <a:pt x="0" y="22"/>
                  </a:lnTo>
                  <a:lnTo>
                    <a:pt x="2" y="12"/>
                  </a:lnTo>
                  <a:lnTo>
                    <a:pt x="36" y="4"/>
                  </a:lnTo>
                  <a:lnTo>
                    <a:pt x="64" y="0"/>
                  </a:lnTo>
                  <a:lnTo>
                    <a:pt x="74" y="0"/>
                  </a:lnTo>
                  <a:lnTo>
                    <a:pt x="82" y="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60" name="Freeform 139"/>
            <p:cNvSpPr>
              <a:spLocks/>
            </p:cNvSpPr>
            <p:nvPr/>
          </p:nvSpPr>
          <p:spPr bwMode="auto">
            <a:xfrm>
              <a:off x="1163500" y="3581400"/>
              <a:ext cx="321296" cy="343331"/>
            </a:xfrm>
            <a:custGeom>
              <a:avLst/>
              <a:gdLst>
                <a:gd name="T0" fmla="*/ 2147483647 w 202"/>
                <a:gd name="T1" fmla="*/ 2147483647 h 216"/>
                <a:gd name="T2" fmla="*/ 2147483647 w 202"/>
                <a:gd name="T3" fmla="*/ 2147483647 h 216"/>
                <a:gd name="T4" fmla="*/ 2147483647 w 202"/>
                <a:gd name="T5" fmla="*/ 2147483647 h 216"/>
                <a:gd name="T6" fmla="*/ 2147483647 w 202"/>
                <a:gd name="T7" fmla="*/ 2147483647 h 216"/>
                <a:gd name="T8" fmla="*/ 2147483647 w 202"/>
                <a:gd name="T9" fmla="*/ 2147483647 h 216"/>
                <a:gd name="T10" fmla="*/ 2147483647 w 202"/>
                <a:gd name="T11" fmla="*/ 2147483647 h 216"/>
                <a:gd name="T12" fmla="*/ 2147483647 w 202"/>
                <a:gd name="T13" fmla="*/ 2147483647 h 216"/>
                <a:gd name="T14" fmla="*/ 2147483647 w 202"/>
                <a:gd name="T15" fmla="*/ 2147483647 h 216"/>
                <a:gd name="T16" fmla="*/ 2147483647 w 202"/>
                <a:gd name="T17" fmla="*/ 2147483647 h 216"/>
                <a:gd name="T18" fmla="*/ 2147483647 w 202"/>
                <a:gd name="T19" fmla="*/ 2147483647 h 216"/>
                <a:gd name="T20" fmla="*/ 2147483647 w 202"/>
                <a:gd name="T21" fmla="*/ 2147483647 h 216"/>
                <a:gd name="T22" fmla="*/ 2147483647 w 202"/>
                <a:gd name="T23" fmla="*/ 2147483647 h 216"/>
                <a:gd name="T24" fmla="*/ 2147483647 w 202"/>
                <a:gd name="T25" fmla="*/ 2147483647 h 216"/>
                <a:gd name="T26" fmla="*/ 2147483647 w 202"/>
                <a:gd name="T27" fmla="*/ 2147483647 h 216"/>
                <a:gd name="T28" fmla="*/ 2147483647 w 202"/>
                <a:gd name="T29" fmla="*/ 2147483647 h 216"/>
                <a:gd name="T30" fmla="*/ 2147483647 w 202"/>
                <a:gd name="T31" fmla="*/ 2147483647 h 216"/>
                <a:gd name="T32" fmla="*/ 2147483647 w 202"/>
                <a:gd name="T33" fmla="*/ 2147483647 h 216"/>
                <a:gd name="T34" fmla="*/ 2147483647 w 202"/>
                <a:gd name="T35" fmla="*/ 2147483647 h 216"/>
                <a:gd name="T36" fmla="*/ 2147483647 w 202"/>
                <a:gd name="T37" fmla="*/ 2147483647 h 216"/>
                <a:gd name="T38" fmla="*/ 2147483647 w 202"/>
                <a:gd name="T39" fmla="*/ 2147483647 h 216"/>
                <a:gd name="T40" fmla="*/ 2147483647 w 202"/>
                <a:gd name="T41" fmla="*/ 2147483647 h 216"/>
                <a:gd name="T42" fmla="*/ 2147483647 w 202"/>
                <a:gd name="T43" fmla="*/ 2147483647 h 216"/>
                <a:gd name="T44" fmla="*/ 2147483647 w 202"/>
                <a:gd name="T45" fmla="*/ 2147483647 h 216"/>
                <a:gd name="T46" fmla="*/ 2147483647 w 202"/>
                <a:gd name="T47" fmla="*/ 2147483647 h 216"/>
                <a:gd name="T48" fmla="*/ 2147483647 w 202"/>
                <a:gd name="T49" fmla="*/ 2147483647 h 216"/>
                <a:gd name="T50" fmla="*/ 2147483647 w 202"/>
                <a:gd name="T51" fmla="*/ 2147483647 h 216"/>
                <a:gd name="T52" fmla="*/ 2147483647 w 202"/>
                <a:gd name="T53" fmla="*/ 2147483647 h 216"/>
                <a:gd name="T54" fmla="*/ 2147483647 w 202"/>
                <a:gd name="T55" fmla="*/ 2147483647 h 216"/>
                <a:gd name="T56" fmla="*/ 2147483647 w 202"/>
                <a:gd name="T57" fmla="*/ 2147483647 h 216"/>
                <a:gd name="T58" fmla="*/ 2147483647 w 202"/>
                <a:gd name="T59" fmla="*/ 2147483647 h 216"/>
                <a:gd name="T60" fmla="*/ 2147483647 w 202"/>
                <a:gd name="T61" fmla="*/ 2147483647 h 216"/>
                <a:gd name="T62" fmla="*/ 2147483647 w 202"/>
                <a:gd name="T63" fmla="*/ 2147483647 h 216"/>
                <a:gd name="T64" fmla="*/ 2147483647 w 202"/>
                <a:gd name="T65" fmla="*/ 2147483647 h 216"/>
                <a:gd name="T66" fmla="*/ 2147483647 w 202"/>
                <a:gd name="T67" fmla="*/ 2147483647 h 216"/>
                <a:gd name="T68" fmla="*/ 2147483647 w 202"/>
                <a:gd name="T69" fmla="*/ 2147483647 h 216"/>
                <a:gd name="T70" fmla="*/ 2147483647 w 202"/>
                <a:gd name="T71" fmla="*/ 2147483647 h 216"/>
                <a:gd name="T72" fmla="*/ 2147483647 w 202"/>
                <a:gd name="T73" fmla="*/ 2147483647 h 216"/>
                <a:gd name="T74" fmla="*/ 2147483647 w 202"/>
                <a:gd name="T75" fmla="*/ 2147483647 h 216"/>
                <a:gd name="T76" fmla="*/ 0 w 202"/>
                <a:gd name="T77" fmla="*/ 2147483647 h 216"/>
                <a:gd name="T78" fmla="*/ 2147483647 w 202"/>
                <a:gd name="T79" fmla="*/ 2147483647 h 216"/>
                <a:gd name="T80" fmla="*/ 2147483647 w 202"/>
                <a:gd name="T81" fmla="*/ 2147483647 h 216"/>
                <a:gd name="T82" fmla="*/ 2147483647 w 202"/>
                <a:gd name="T83" fmla="*/ 2147483647 h 216"/>
                <a:gd name="T84" fmla="*/ 2147483647 w 202"/>
                <a:gd name="T85" fmla="*/ 2147483647 h 216"/>
                <a:gd name="T86" fmla="*/ 2147483647 w 202"/>
                <a:gd name="T87" fmla="*/ 2147483647 h 216"/>
                <a:gd name="T88" fmla="*/ 2147483647 w 202"/>
                <a:gd name="T89" fmla="*/ 2147483647 h 216"/>
                <a:gd name="T90" fmla="*/ 2147483647 w 202"/>
                <a:gd name="T91" fmla="*/ 2147483647 h 216"/>
                <a:gd name="T92" fmla="*/ 2147483647 w 202"/>
                <a:gd name="T93" fmla="*/ 2147483647 h 216"/>
                <a:gd name="T94" fmla="*/ 2147483647 w 202"/>
                <a:gd name="T95" fmla="*/ 2147483647 h 216"/>
                <a:gd name="T96" fmla="*/ 2147483647 w 202"/>
                <a:gd name="T97" fmla="*/ 2147483647 h 216"/>
                <a:gd name="T98" fmla="*/ 2147483647 w 202"/>
                <a:gd name="T99" fmla="*/ 2147483647 h 216"/>
                <a:gd name="T100" fmla="*/ 2147483647 w 202"/>
                <a:gd name="T101" fmla="*/ 2147483647 h 216"/>
                <a:gd name="T102" fmla="*/ 2147483647 w 202"/>
                <a:gd name="T103" fmla="*/ 2147483647 h 216"/>
                <a:gd name="T104" fmla="*/ 2147483647 w 202"/>
                <a:gd name="T105" fmla="*/ 2147483647 h 216"/>
                <a:gd name="T106" fmla="*/ 2147483647 w 202"/>
                <a:gd name="T107" fmla="*/ 2147483647 h 21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202"/>
                <a:gd name="T163" fmla="*/ 0 h 216"/>
                <a:gd name="T164" fmla="*/ 202 w 202"/>
                <a:gd name="T165" fmla="*/ 216 h 21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202" h="216">
                  <a:moveTo>
                    <a:pt x="112" y="4"/>
                  </a:moveTo>
                  <a:lnTo>
                    <a:pt x="112" y="4"/>
                  </a:lnTo>
                  <a:lnTo>
                    <a:pt x="120" y="2"/>
                  </a:lnTo>
                  <a:lnTo>
                    <a:pt x="126" y="2"/>
                  </a:lnTo>
                  <a:lnTo>
                    <a:pt x="130" y="4"/>
                  </a:lnTo>
                  <a:lnTo>
                    <a:pt x="146" y="4"/>
                  </a:lnTo>
                  <a:lnTo>
                    <a:pt x="160" y="6"/>
                  </a:lnTo>
                  <a:lnTo>
                    <a:pt x="166" y="8"/>
                  </a:lnTo>
                  <a:lnTo>
                    <a:pt x="172" y="12"/>
                  </a:lnTo>
                  <a:lnTo>
                    <a:pt x="176" y="18"/>
                  </a:lnTo>
                  <a:lnTo>
                    <a:pt x="180" y="24"/>
                  </a:lnTo>
                  <a:lnTo>
                    <a:pt x="184" y="40"/>
                  </a:lnTo>
                  <a:lnTo>
                    <a:pt x="184" y="54"/>
                  </a:lnTo>
                  <a:lnTo>
                    <a:pt x="184" y="62"/>
                  </a:lnTo>
                  <a:lnTo>
                    <a:pt x="188" y="90"/>
                  </a:lnTo>
                  <a:lnTo>
                    <a:pt x="190" y="108"/>
                  </a:lnTo>
                  <a:lnTo>
                    <a:pt x="188" y="122"/>
                  </a:lnTo>
                  <a:lnTo>
                    <a:pt x="180" y="148"/>
                  </a:lnTo>
                  <a:lnTo>
                    <a:pt x="180" y="156"/>
                  </a:lnTo>
                  <a:lnTo>
                    <a:pt x="182" y="166"/>
                  </a:lnTo>
                  <a:lnTo>
                    <a:pt x="188" y="176"/>
                  </a:lnTo>
                  <a:lnTo>
                    <a:pt x="192" y="178"/>
                  </a:lnTo>
                  <a:lnTo>
                    <a:pt x="196" y="180"/>
                  </a:lnTo>
                  <a:lnTo>
                    <a:pt x="192" y="180"/>
                  </a:lnTo>
                  <a:lnTo>
                    <a:pt x="188" y="180"/>
                  </a:lnTo>
                  <a:lnTo>
                    <a:pt x="184" y="180"/>
                  </a:lnTo>
                  <a:lnTo>
                    <a:pt x="188" y="190"/>
                  </a:lnTo>
                  <a:lnTo>
                    <a:pt x="194" y="194"/>
                  </a:lnTo>
                  <a:lnTo>
                    <a:pt x="198" y="196"/>
                  </a:lnTo>
                  <a:lnTo>
                    <a:pt x="202" y="194"/>
                  </a:lnTo>
                  <a:lnTo>
                    <a:pt x="200" y="204"/>
                  </a:lnTo>
                  <a:lnTo>
                    <a:pt x="196" y="212"/>
                  </a:lnTo>
                  <a:lnTo>
                    <a:pt x="192" y="214"/>
                  </a:lnTo>
                  <a:lnTo>
                    <a:pt x="188" y="216"/>
                  </a:lnTo>
                  <a:lnTo>
                    <a:pt x="180" y="216"/>
                  </a:lnTo>
                  <a:lnTo>
                    <a:pt x="170" y="214"/>
                  </a:lnTo>
                  <a:lnTo>
                    <a:pt x="166" y="212"/>
                  </a:lnTo>
                  <a:lnTo>
                    <a:pt x="162" y="208"/>
                  </a:lnTo>
                  <a:lnTo>
                    <a:pt x="158" y="202"/>
                  </a:lnTo>
                  <a:lnTo>
                    <a:pt x="158" y="196"/>
                  </a:lnTo>
                  <a:lnTo>
                    <a:pt x="156" y="192"/>
                  </a:lnTo>
                  <a:lnTo>
                    <a:pt x="154" y="190"/>
                  </a:lnTo>
                  <a:lnTo>
                    <a:pt x="144" y="188"/>
                  </a:lnTo>
                  <a:lnTo>
                    <a:pt x="140" y="186"/>
                  </a:lnTo>
                  <a:lnTo>
                    <a:pt x="136" y="184"/>
                  </a:lnTo>
                  <a:lnTo>
                    <a:pt x="134" y="180"/>
                  </a:lnTo>
                  <a:lnTo>
                    <a:pt x="134" y="176"/>
                  </a:lnTo>
                  <a:lnTo>
                    <a:pt x="78" y="180"/>
                  </a:lnTo>
                  <a:lnTo>
                    <a:pt x="70" y="190"/>
                  </a:lnTo>
                  <a:lnTo>
                    <a:pt x="70" y="194"/>
                  </a:lnTo>
                  <a:lnTo>
                    <a:pt x="70" y="200"/>
                  </a:lnTo>
                  <a:lnTo>
                    <a:pt x="70" y="206"/>
                  </a:lnTo>
                  <a:lnTo>
                    <a:pt x="68" y="208"/>
                  </a:lnTo>
                  <a:lnTo>
                    <a:pt x="64" y="212"/>
                  </a:lnTo>
                  <a:lnTo>
                    <a:pt x="60" y="212"/>
                  </a:lnTo>
                  <a:lnTo>
                    <a:pt x="56" y="214"/>
                  </a:lnTo>
                  <a:lnTo>
                    <a:pt x="48" y="212"/>
                  </a:lnTo>
                  <a:lnTo>
                    <a:pt x="42" y="214"/>
                  </a:lnTo>
                  <a:lnTo>
                    <a:pt x="28" y="216"/>
                  </a:lnTo>
                  <a:lnTo>
                    <a:pt x="22" y="214"/>
                  </a:lnTo>
                  <a:lnTo>
                    <a:pt x="14" y="210"/>
                  </a:lnTo>
                  <a:lnTo>
                    <a:pt x="8" y="204"/>
                  </a:lnTo>
                  <a:lnTo>
                    <a:pt x="6" y="196"/>
                  </a:lnTo>
                  <a:lnTo>
                    <a:pt x="0" y="188"/>
                  </a:lnTo>
                  <a:lnTo>
                    <a:pt x="6" y="190"/>
                  </a:lnTo>
                  <a:lnTo>
                    <a:pt x="12" y="190"/>
                  </a:lnTo>
                  <a:lnTo>
                    <a:pt x="14" y="190"/>
                  </a:lnTo>
                  <a:lnTo>
                    <a:pt x="14" y="188"/>
                  </a:lnTo>
                  <a:lnTo>
                    <a:pt x="18" y="182"/>
                  </a:lnTo>
                  <a:lnTo>
                    <a:pt x="24" y="178"/>
                  </a:lnTo>
                  <a:lnTo>
                    <a:pt x="26" y="172"/>
                  </a:lnTo>
                  <a:lnTo>
                    <a:pt x="26" y="166"/>
                  </a:lnTo>
                  <a:lnTo>
                    <a:pt x="24" y="158"/>
                  </a:lnTo>
                  <a:lnTo>
                    <a:pt x="22" y="146"/>
                  </a:lnTo>
                  <a:lnTo>
                    <a:pt x="18" y="134"/>
                  </a:lnTo>
                  <a:lnTo>
                    <a:pt x="18" y="124"/>
                  </a:lnTo>
                  <a:lnTo>
                    <a:pt x="18" y="114"/>
                  </a:lnTo>
                  <a:lnTo>
                    <a:pt x="22" y="106"/>
                  </a:lnTo>
                  <a:lnTo>
                    <a:pt x="30" y="88"/>
                  </a:lnTo>
                  <a:lnTo>
                    <a:pt x="32" y="78"/>
                  </a:lnTo>
                  <a:lnTo>
                    <a:pt x="36" y="68"/>
                  </a:lnTo>
                  <a:lnTo>
                    <a:pt x="40" y="56"/>
                  </a:lnTo>
                  <a:lnTo>
                    <a:pt x="48" y="42"/>
                  </a:lnTo>
                  <a:lnTo>
                    <a:pt x="60" y="30"/>
                  </a:lnTo>
                  <a:lnTo>
                    <a:pt x="72" y="18"/>
                  </a:lnTo>
                  <a:lnTo>
                    <a:pt x="84" y="10"/>
                  </a:lnTo>
                  <a:lnTo>
                    <a:pt x="94" y="2"/>
                  </a:lnTo>
                  <a:lnTo>
                    <a:pt x="104" y="0"/>
                  </a:lnTo>
                  <a:lnTo>
                    <a:pt x="108" y="2"/>
                  </a:lnTo>
                  <a:lnTo>
                    <a:pt x="112" y="4"/>
                  </a:lnTo>
                  <a:close/>
                </a:path>
              </a:pathLst>
            </a:custGeom>
            <a:solidFill>
              <a:srgbClr val="17375E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62" name="Freeform 140"/>
            <p:cNvSpPr>
              <a:spLocks/>
            </p:cNvSpPr>
            <p:nvPr/>
          </p:nvSpPr>
          <p:spPr bwMode="auto">
            <a:xfrm>
              <a:off x="1261580" y="3762368"/>
              <a:ext cx="143738" cy="221558"/>
            </a:xfrm>
            <a:custGeom>
              <a:avLst/>
              <a:gdLst>
                <a:gd name="T0" fmla="*/ 2147483647 w 90"/>
                <a:gd name="T1" fmla="*/ 2147483647 h 140"/>
                <a:gd name="T2" fmla="*/ 2147483647 w 90"/>
                <a:gd name="T3" fmla="*/ 2147483647 h 140"/>
                <a:gd name="T4" fmla="*/ 2147483647 w 90"/>
                <a:gd name="T5" fmla="*/ 2147483647 h 140"/>
                <a:gd name="T6" fmla="*/ 2147483647 w 90"/>
                <a:gd name="T7" fmla="*/ 2147483647 h 140"/>
                <a:gd name="T8" fmla="*/ 2147483647 w 90"/>
                <a:gd name="T9" fmla="*/ 2147483647 h 140"/>
                <a:gd name="T10" fmla="*/ 2147483647 w 90"/>
                <a:gd name="T11" fmla="*/ 2147483647 h 140"/>
                <a:gd name="T12" fmla="*/ 2147483647 w 90"/>
                <a:gd name="T13" fmla="*/ 2147483647 h 140"/>
                <a:gd name="T14" fmla="*/ 2147483647 w 90"/>
                <a:gd name="T15" fmla="*/ 2147483647 h 140"/>
                <a:gd name="T16" fmla="*/ 2147483647 w 90"/>
                <a:gd name="T17" fmla="*/ 2147483647 h 140"/>
                <a:gd name="T18" fmla="*/ 2147483647 w 90"/>
                <a:gd name="T19" fmla="*/ 2147483647 h 140"/>
                <a:gd name="T20" fmla="*/ 2147483647 w 90"/>
                <a:gd name="T21" fmla="*/ 2147483647 h 140"/>
                <a:gd name="T22" fmla="*/ 2147483647 w 90"/>
                <a:gd name="T23" fmla="*/ 2147483647 h 140"/>
                <a:gd name="T24" fmla="*/ 2147483647 w 90"/>
                <a:gd name="T25" fmla="*/ 2147483647 h 140"/>
                <a:gd name="T26" fmla="*/ 2147483647 w 90"/>
                <a:gd name="T27" fmla="*/ 2147483647 h 140"/>
                <a:gd name="T28" fmla="*/ 2147483647 w 90"/>
                <a:gd name="T29" fmla="*/ 2147483647 h 140"/>
                <a:gd name="T30" fmla="*/ 2147483647 w 90"/>
                <a:gd name="T31" fmla="*/ 2147483647 h 140"/>
                <a:gd name="T32" fmla="*/ 2147483647 w 90"/>
                <a:gd name="T33" fmla="*/ 2147483647 h 140"/>
                <a:gd name="T34" fmla="*/ 2147483647 w 90"/>
                <a:gd name="T35" fmla="*/ 2147483647 h 140"/>
                <a:gd name="T36" fmla="*/ 2147483647 w 90"/>
                <a:gd name="T37" fmla="*/ 2147483647 h 140"/>
                <a:gd name="T38" fmla="*/ 2147483647 w 90"/>
                <a:gd name="T39" fmla="*/ 2147483647 h 140"/>
                <a:gd name="T40" fmla="*/ 2147483647 w 90"/>
                <a:gd name="T41" fmla="*/ 2147483647 h 140"/>
                <a:gd name="T42" fmla="*/ 2147483647 w 90"/>
                <a:gd name="T43" fmla="*/ 2147483647 h 140"/>
                <a:gd name="T44" fmla="*/ 2147483647 w 90"/>
                <a:gd name="T45" fmla="*/ 2147483647 h 140"/>
                <a:gd name="T46" fmla="*/ 2147483647 w 90"/>
                <a:gd name="T47" fmla="*/ 2147483647 h 140"/>
                <a:gd name="T48" fmla="*/ 2147483647 w 90"/>
                <a:gd name="T49" fmla="*/ 2147483647 h 140"/>
                <a:gd name="T50" fmla="*/ 2147483647 w 90"/>
                <a:gd name="T51" fmla="*/ 2147483647 h 140"/>
                <a:gd name="T52" fmla="*/ 2147483647 w 90"/>
                <a:gd name="T53" fmla="*/ 2147483647 h 140"/>
                <a:gd name="T54" fmla="*/ 2147483647 w 90"/>
                <a:gd name="T55" fmla="*/ 2147483647 h 140"/>
                <a:gd name="T56" fmla="*/ 2147483647 w 90"/>
                <a:gd name="T57" fmla="*/ 2147483647 h 140"/>
                <a:gd name="T58" fmla="*/ 2147483647 w 90"/>
                <a:gd name="T59" fmla="*/ 2147483647 h 140"/>
                <a:gd name="T60" fmla="*/ 2147483647 w 90"/>
                <a:gd name="T61" fmla="*/ 2147483647 h 140"/>
                <a:gd name="T62" fmla="*/ 2147483647 w 90"/>
                <a:gd name="T63" fmla="*/ 2147483647 h 140"/>
                <a:gd name="T64" fmla="*/ 2147483647 w 90"/>
                <a:gd name="T65" fmla="*/ 2147483647 h 140"/>
                <a:gd name="T66" fmla="*/ 2147483647 w 90"/>
                <a:gd name="T67" fmla="*/ 2147483647 h 140"/>
                <a:gd name="T68" fmla="*/ 2147483647 w 90"/>
                <a:gd name="T69" fmla="*/ 2147483647 h 140"/>
                <a:gd name="T70" fmla="*/ 2147483647 w 90"/>
                <a:gd name="T71" fmla="*/ 2147483647 h 140"/>
                <a:gd name="T72" fmla="*/ 0 w 90"/>
                <a:gd name="T73" fmla="*/ 2147483647 h 140"/>
                <a:gd name="T74" fmla="*/ 0 w 90"/>
                <a:gd name="T75" fmla="*/ 2147483647 h 140"/>
                <a:gd name="T76" fmla="*/ 2147483647 w 90"/>
                <a:gd name="T77" fmla="*/ 2147483647 h 140"/>
                <a:gd name="T78" fmla="*/ 2147483647 w 90"/>
                <a:gd name="T79" fmla="*/ 2147483647 h 140"/>
                <a:gd name="T80" fmla="*/ 2147483647 w 90"/>
                <a:gd name="T81" fmla="*/ 2147483647 h 140"/>
                <a:gd name="T82" fmla="*/ 2147483647 w 90"/>
                <a:gd name="T83" fmla="*/ 0 h 140"/>
                <a:gd name="T84" fmla="*/ 2147483647 w 90"/>
                <a:gd name="T85" fmla="*/ 2147483647 h 140"/>
                <a:gd name="T86" fmla="*/ 2147483647 w 90"/>
                <a:gd name="T87" fmla="*/ 2147483647 h 140"/>
                <a:gd name="T88" fmla="*/ 2147483647 w 90"/>
                <a:gd name="T89" fmla="*/ 2147483647 h 140"/>
                <a:gd name="T90" fmla="*/ 2147483647 w 90"/>
                <a:gd name="T91" fmla="*/ 2147483647 h 140"/>
                <a:gd name="T92" fmla="*/ 2147483647 w 90"/>
                <a:gd name="T93" fmla="*/ 2147483647 h 140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90"/>
                <a:gd name="T142" fmla="*/ 0 h 140"/>
                <a:gd name="T143" fmla="*/ 90 w 90"/>
                <a:gd name="T144" fmla="*/ 140 h 140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90" h="140">
                  <a:moveTo>
                    <a:pt x="78" y="48"/>
                  </a:moveTo>
                  <a:lnTo>
                    <a:pt x="78" y="48"/>
                  </a:lnTo>
                  <a:lnTo>
                    <a:pt x="76" y="54"/>
                  </a:lnTo>
                  <a:lnTo>
                    <a:pt x="72" y="68"/>
                  </a:lnTo>
                  <a:lnTo>
                    <a:pt x="72" y="78"/>
                  </a:lnTo>
                  <a:lnTo>
                    <a:pt x="74" y="84"/>
                  </a:lnTo>
                  <a:lnTo>
                    <a:pt x="76" y="90"/>
                  </a:lnTo>
                  <a:lnTo>
                    <a:pt x="82" y="94"/>
                  </a:lnTo>
                  <a:lnTo>
                    <a:pt x="90" y="96"/>
                  </a:lnTo>
                  <a:lnTo>
                    <a:pt x="90" y="102"/>
                  </a:lnTo>
                  <a:lnTo>
                    <a:pt x="90" y="108"/>
                  </a:lnTo>
                  <a:lnTo>
                    <a:pt x="88" y="112"/>
                  </a:lnTo>
                  <a:lnTo>
                    <a:pt x="84" y="118"/>
                  </a:lnTo>
                  <a:lnTo>
                    <a:pt x="82" y="128"/>
                  </a:lnTo>
                  <a:lnTo>
                    <a:pt x="78" y="140"/>
                  </a:lnTo>
                  <a:lnTo>
                    <a:pt x="74" y="138"/>
                  </a:lnTo>
                  <a:lnTo>
                    <a:pt x="78" y="134"/>
                  </a:lnTo>
                  <a:lnTo>
                    <a:pt x="78" y="128"/>
                  </a:lnTo>
                  <a:lnTo>
                    <a:pt x="74" y="122"/>
                  </a:lnTo>
                  <a:lnTo>
                    <a:pt x="68" y="118"/>
                  </a:lnTo>
                  <a:lnTo>
                    <a:pt x="58" y="112"/>
                  </a:lnTo>
                  <a:lnTo>
                    <a:pt x="38" y="102"/>
                  </a:lnTo>
                  <a:lnTo>
                    <a:pt x="28" y="96"/>
                  </a:lnTo>
                  <a:lnTo>
                    <a:pt x="22" y="90"/>
                  </a:lnTo>
                  <a:lnTo>
                    <a:pt x="14" y="82"/>
                  </a:lnTo>
                  <a:lnTo>
                    <a:pt x="8" y="76"/>
                  </a:lnTo>
                  <a:lnTo>
                    <a:pt x="6" y="48"/>
                  </a:lnTo>
                  <a:lnTo>
                    <a:pt x="4" y="28"/>
                  </a:lnTo>
                  <a:lnTo>
                    <a:pt x="0" y="14"/>
                  </a:lnTo>
                  <a:lnTo>
                    <a:pt x="4" y="10"/>
                  </a:lnTo>
                  <a:lnTo>
                    <a:pt x="8" y="2"/>
                  </a:lnTo>
                  <a:lnTo>
                    <a:pt x="10" y="0"/>
                  </a:lnTo>
                  <a:lnTo>
                    <a:pt x="12" y="2"/>
                  </a:lnTo>
                  <a:lnTo>
                    <a:pt x="20" y="6"/>
                  </a:lnTo>
                  <a:lnTo>
                    <a:pt x="44" y="22"/>
                  </a:lnTo>
                  <a:lnTo>
                    <a:pt x="78" y="48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63" name="Freeform 141"/>
            <p:cNvSpPr>
              <a:spLocks/>
            </p:cNvSpPr>
            <p:nvPr/>
          </p:nvSpPr>
          <p:spPr bwMode="auto">
            <a:xfrm>
              <a:off x="1271726" y="3620300"/>
              <a:ext cx="167413" cy="236780"/>
            </a:xfrm>
            <a:custGeom>
              <a:avLst/>
              <a:gdLst>
                <a:gd name="T0" fmla="*/ 2147483647 w 106"/>
                <a:gd name="T1" fmla="*/ 2147483647 h 150"/>
                <a:gd name="T2" fmla="*/ 2147483647 w 106"/>
                <a:gd name="T3" fmla="*/ 2147483647 h 150"/>
                <a:gd name="T4" fmla="*/ 2147483647 w 106"/>
                <a:gd name="T5" fmla="*/ 2147483647 h 150"/>
                <a:gd name="T6" fmla="*/ 2147483647 w 106"/>
                <a:gd name="T7" fmla="*/ 2147483647 h 150"/>
                <a:gd name="T8" fmla="*/ 2147483647 w 106"/>
                <a:gd name="T9" fmla="*/ 2147483647 h 150"/>
                <a:gd name="T10" fmla="*/ 2147483647 w 106"/>
                <a:gd name="T11" fmla="*/ 2147483647 h 150"/>
                <a:gd name="T12" fmla="*/ 2147483647 w 106"/>
                <a:gd name="T13" fmla="*/ 2147483647 h 150"/>
                <a:gd name="T14" fmla="*/ 2147483647 w 106"/>
                <a:gd name="T15" fmla="*/ 2147483647 h 150"/>
                <a:gd name="T16" fmla="*/ 2147483647 w 106"/>
                <a:gd name="T17" fmla="*/ 2147483647 h 150"/>
                <a:gd name="T18" fmla="*/ 2147483647 w 106"/>
                <a:gd name="T19" fmla="*/ 2147483647 h 150"/>
                <a:gd name="T20" fmla="*/ 2147483647 w 106"/>
                <a:gd name="T21" fmla="*/ 2147483647 h 150"/>
                <a:gd name="T22" fmla="*/ 2147483647 w 106"/>
                <a:gd name="T23" fmla="*/ 2147483647 h 150"/>
                <a:gd name="T24" fmla="*/ 2147483647 w 106"/>
                <a:gd name="T25" fmla="*/ 2147483647 h 150"/>
                <a:gd name="T26" fmla="*/ 2147483647 w 106"/>
                <a:gd name="T27" fmla="*/ 2147483647 h 150"/>
                <a:gd name="T28" fmla="*/ 2147483647 w 106"/>
                <a:gd name="T29" fmla="*/ 2147483647 h 150"/>
                <a:gd name="T30" fmla="*/ 2147483647 w 106"/>
                <a:gd name="T31" fmla="*/ 2147483647 h 150"/>
                <a:gd name="T32" fmla="*/ 2147483647 w 106"/>
                <a:gd name="T33" fmla="*/ 2147483647 h 150"/>
                <a:gd name="T34" fmla="*/ 2147483647 w 106"/>
                <a:gd name="T35" fmla="*/ 2147483647 h 150"/>
                <a:gd name="T36" fmla="*/ 2147483647 w 106"/>
                <a:gd name="T37" fmla="*/ 2147483647 h 150"/>
                <a:gd name="T38" fmla="*/ 2147483647 w 106"/>
                <a:gd name="T39" fmla="*/ 2147483647 h 150"/>
                <a:gd name="T40" fmla="*/ 2147483647 w 106"/>
                <a:gd name="T41" fmla="*/ 2147483647 h 150"/>
                <a:gd name="T42" fmla="*/ 2147483647 w 106"/>
                <a:gd name="T43" fmla="*/ 2147483647 h 150"/>
                <a:gd name="T44" fmla="*/ 2147483647 w 106"/>
                <a:gd name="T45" fmla="*/ 2147483647 h 150"/>
                <a:gd name="T46" fmla="*/ 2147483647 w 106"/>
                <a:gd name="T47" fmla="*/ 2147483647 h 150"/>
                <a:gd name="T48" fmla="*/ 2147483647 w 106"/>
                <a:gd name="T49" fmla="*/ 2147483647 h 150"/>
                <a:gd name="T50" fmla="*/ 2147483647 w 106"/>
                <a:gd name="T51" fmla="*/ 2147483647 h 150"/>
                <a:gd name="T52" fmla="*/ 2147483647 w 106"/>
                <a:gd name="T53" fmla="*/ 2147483647 h 150"/>
                <a:gd name="T54" fmla="*/ 0 w 106"/>
                <a:gd name="T55" fmla="*/ 2147483647 h 150"/>
                <a:gd name="T56" fmla="*/ 0 w 106"/>
                <a:gd name="T57" fmla="*/ 2147483647 h 150"/>
                <a:gd name="T58" fmla="*/ 0 w 106"/>
                <a:gd name="T59" fmla="*/ 2147483647 h 150"/>
                <a:gd name="T60" fmla="*/ 2147483647 w 106"/>
                <a:gd name="T61" fmla="*/ 2147483647 h 150"/>
                <a:gd name="T62" fmla="*/ 2147483647 w 106"/>
                <a:gd name="T63" fmla="*/ 2147483647 h 150"/>
                <a:gd name="T64" fmla="*/ 2147483647 w 106"/>
                <a:gd name="T65" fmla="*/ 2147483647 h 150"/>
                <a:gd name="T66" fmla="*/ 2147483647 w 106"/>
                <a:gd name="T67" fmla="*/ 2147483647 h 150"/>
                <a:gd name="T68" fmla="*/ 2147483647 w 106"/>
                <a:gd name="T69" fmla="*/ 2147483647 h 150"/>
                <a:gd name="T70" fmla="*/ 2147483647 w 106"/>
                <a:gd name="T71" fmla="*/ 2147483647 h 150"/>
                <a:gd name="T72" fmla="*/ 2147483647 w 106"/>
                <a:gd name="T73" fmla="*/ 2147483647 h 150"/>
                <a:gd name="T74" fmla="*/ 2147483647 w 106"/>
                <a:gd name="T75" fmla="*/ 2147483647 h 150"/>
                <a:gd name="T76" fmla="*/ 2147483647 w 106"/>
                <a:gd name="T77" fmla="*/ 2147483647 h 150"/>
                <a:gd name="T78" fmla="*/ 2147483647 w 106"/>
                <a:gd name="T79" fmla="*/ 2147483647 h 150"/>
                <a:gd name="T80" fmla="*/ 2147483647 w 106"/>
                <a:gd name="T81" fmla="*/ 2147483647 h 150"/>
                <a:gd name="T82" fmla="*/ 2147483647 w 106"/>
                <a:gd name="T83" fmla="*/ 0 h 150"/>
                <a:gd name="T84" fmla="*/ 2147483647 w 106"/>
                <a:gd name="T85" fmla="*/ 0 h 150"/>
                <a:gd name="T86" fmla="*/ 2147483647 w 106"/>
                <a:gd name="T87" fmla="*/ 2147483647 h 150"/>
                <a:gd name="T88" fmla="*/ 2147483647 w 106"/>
                <a:gd name="T89" fmla="*/ 2147483647 h 150"/>
                <a:gd name="T90" fmla="*/ 2147483647 w 106"/>
                <a:gd name="T91" fmla="*/ 2147483647 h 150"/>
                <a:gd name="T92" fmla="*/ 2147483647 w 106"/>
                <a:gd name="T93" fmla="*/ 2147483647 h 150"/>
                <a:gd name="T94" fmla="*/ 2147483647 w 106"/>
                <a:gd name="T95" fmla="*/ 2147483647 h 150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106"/>
                <a:gd name="T145" fmla="*/ 0 h 150"/>
                <a:gd name="T146" fmla="*/ 106 w 106"/>
                <a:gd name="T147" fmla="*/ 150 h 150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106" h="150">
                  <a:moveTo>
                    <a:pt x="92" y="20"/>
                  </a:moveTo>
                  <a:lnTo>
                    <a:pt x="92" y="20"/>
                  </a:lnTo>
                  <a:lnTo>
                    <a:pt x="98" y="34"/>
                  </a:lnTo>
                  <a:lnTo>
                    <a:pt x="104" y="46"/>
                  </a:lnTo>
                  <a:lnTo>
                    <a:pt x="106" y="56"/>
                  </a:lnTo>
                  <a:lnTo>
                    <a:pt x="106" y="74"/>
                  </a:lnTo>
                  <a:lnTo>
                    <a:pt x="102" y="96"/>
                  </a:lnTo>
                  <a:lnTo>
                    <a:pt x="100" y="110"/>
                  </a:lnTo>
                  <a:lnTo>
                    <a:pt x="96" y="120"/>
                  </a:lnTo>
                  <a:lnTo>
                    <a:pt x="80" y="146"/>
                  </a:lnTo>
                  <a:lnTo>
                    <a:pt x="76" y="148"/>
                  </a:lnTo>
                  <a:lnTo>
                    <a:pt x="70" y="150"/>
                  </a:lnTo>
                  <a:lnTo>
                    <a:pt x="64" y="150"/>
                  </a:lnTo>
                  <a:lnTo>
                    <a:pt x="54" y="148"/>
                  </a:lnTo>
                  <a:lnTo>
                    <a:pt x="42" y="144"/>
                  </a:lnTo>
                  <a:lnTo>
                    <a:pt x="26" y="136"/>
                  </a:lnTo>
                  <a:lnTo>
                    <a:pt x="16" y="132"/>
                  </a:lnTo>
                  <a:lnTo>
                    <a:pt x="8" y="126"/>
                  </a:lnTo>
                  <a:lnTo>
                    <a:pt x="4" y="122"/>
                  </a:lnTo>
                  <a:lnTo>
                    <a:pt x="2" y="118"/>
                  </a:lnTo>
                  <a:lnTo>
                    <a:pt x="0" y="104"/>
                  </a:lnTo>
                  <a:lnTo>
                    <a:pt x="0" y="98"/>
                  </a:lnTo>
                  <a:lnTo>
                    <a:pt x="4" y="82"/>
                  </a:lnTo>
                  <a:lnTo>
                    <a:pt x="6" y="66"/>
                  </a:lnTo>
                  <a:lnTo>
                    <a:pt x="8" y="50"/>
                  </a:lnTo>
                  <a:lnTo>
                    <a:pt x="8" y="42"/>
                  </a:lnTo>
                  <a:lnTo>
                    <a:pt x="10" y="34"/>
                  </a:lnTo>
                  <a:lnTo>
                    <a:pt x="16" y="26"/>
                  </a:lnTo>
                  <a:lnTo>
                    <a:pt x="20" y="18"/>
                  </a:lnTo>
                  <a:lnTo>
                    <a:pt x="26" y="12"/>
                  </a:lnTo>
                  <a:lnTo>
                    <a:pt x="34" y="6"/>
                  </a:lnTo>
                  <a:lnTo>
                    <a:pt x="40" y="2"/>
                  </a:lnTo>
                  <a:lnTo>
                    <a:pt x="48" y="0"/>
                  </a:lnTo>
                  <a:lnTo>
                    <a:pt x="62" y="2"/>
                  </a:lnTo>
                  <a:lnTo>
                    <a:pt x="74" y="6"/>
                  </a:lnTo>
                  <a:lnTo>
                    <a:pt x="84" y="12"/>
                  </a:lnTo>
                  <a:lnTo>
                    <a:pt x="92" y="20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65" name="Freeform 142"/>
            <p:cNvSpPr>
              <a:spLocks/>
            </p:cNvSpPr>
            <p:nvPr/>
          </p:nvSpPr>
          <p:spPr bwMode="auto">
            <a:xfrm>
              <a:off x="1178720" y="4425351"/>
              <a:ext cx="197850" cy="140376"/>
            </a:xfrm>
            <a:custGeom>
              <a:avLst/>
              <a:gdLst>
                <a:gd name="T0" fmla="*/ 2147483647 w 124"/>
                <a:gd name="T1" fmla="*/ 2147483647 h 88"/>
                <a:gd name="T2" fmla="*/ 2147483647 w 124"/>
                <a:gd name="T3" fmla="*/ 2147483647 h 88"/>
                <a:gd name="T4" fmla="*/ 2147483647 w 124"/>
                <a:gd name="T5" fmla="*/ 0 h 88"/>
                <a:gd name="T6" fmla="*/ 2147483647 w 124"/>
                <a:gd name="T7" fmla="*/ 2147483647 h 88"/>
                <a:gd name="T8" fmla="*/ 2147483647 w 124"/>
                <a:gd name="T9" fmla="*/ 2147483647 h 88"/>
                <a:gd name="T10" fmla="*/ 2147483647 w 124"/>
                <a:gd name="T11" fmla="*/ 2147483647 h 88"/>
                <a:gd name="T12" fmla="*/ 2147483647 w 124"/>
                <a:gd name="T13" fmla="*/ 2147483647 h 88"/>
                <a:gd name="T14" fmla="*/ 2147483647 w 124"/>
                <a:gd name="T15" fmla="*/ 2147483647 h 88"/>
                <a:gd name="T16" fmla="*/ 2147483647 w 124"/>
                <a:gd name="T17" fmla="*/ 2147483647 h 88"/>
                <a:gd name="T18" fmla="*/ 2147483647 w 124"/>
                <a:gd name="T19" fmla="*/ 2147483647 h 88"/>
                <a:gd name="T20" fmla="*/ 2147483647 w 124"/>
                <a:gd name="T21" fmla="*/ 2147483647 h 88"/>
                <a:gd name="T22" fmla="*/ 2147483647 w 124"/>
                <a:gd name="T23" fmla="*/ 2147483647 h 88"/>
                <a:gd name="T24" fmla="*/ 2147483647 w 124"/>
                <a:gd name="T25" fmla="*/ 2147483647 h 88"/>
                <a:gd name="T26" fmla="*/ 2147483647 w 124"/>
                <a:gd name="T27" fmla="*/ 2147483647 h 88"/>
                <a:gd name="T28" fmla="*/ 2147483647 w 124"/>
                <a:gd name="T29" fmla="*/ 2147483647 h 88"/>
                <a:gd name="T30" fmla="*/ 2147483647 w 124"/>
                <a:gd name="T31" fmla="*/ 2147483647 h 88"/>
                <a:gd name="T32" fmla="*/ 2147483647 w 124"/>
                <a:gd name="T33" fmla="*/ 2147483647 h 88"/>
                <a:gd name="T34" fmla="*/ 2147483647 w 124"/>
                <a:gd name="T35" fmla="*/ 2147483647 h 88"/>
                <a:gd name="T36" fmla="*/ 2147483647 w 124"/>
                <a:gd name="T37" fmla="*/ 2147483647 h 88"/>
                <a:gd name="T38" fmla="*/ 2147483647 w 124"/>
                <a:gd name="T39" fmla="*/ 2147483647 h 88"/>
                <a:gd name="T40" fmla="*/ 2147483647 w 124"/>
                <a:gd name="T41" fmla="*/ 2147483647 h 88"/>
                <a:gd name="T42" fmla="*/ 2147483647 w 124"/>
                <a:gd name="T43" fmla="*/ 2147483647 h 88"/>
                <a:gd name="T44" fmla="*/ 2147483647 w 124"/>
                <a:gd name="T45" fmla="*/ 2147483647 h 88"/>
                <a:gd name="T46" fmla="*/ 2147483647 w 124"/>
                <a:gd name="T47" fmla="*/ 2147483647 h 88"/>
                <a:gd name="T48" fmla="*/ 2147483647 w 124"/>
                <a:gd name="T49" fmla="*/ 2147483647 h 88"/>
                <a:gd name="T50" fmla="*/ 2147483647 w 124"/>
                <a:gd name="T51" fmla="*/ 2147483647 h 88"/>
                <a:gd name="T52" fmla="*/ 2147483647 w 124"/>
                <a:gd name="T53" fmla="*/ 2147483647 h 88"/>
                <a:gd name="T54" fmla="*/ 2147483647 w 124"/>
                <a:gd name="T55" fmla="*/ 2147483647 h 88"/>
                <a:gd name="T56" fmla="*/ 2147483647 w 124"/>
                <a:gd name="T57" fmla="*/ 2147483647 h 88"/>
                <a:gd name="T58" fmla="*/ 2147483647 w 124"/>
                <a:gd name="T59" fmla="*/ 2147483647 h 88"/>
                <a:gd name="T60" fmla="*/ 0 w 124"/>
                <a:gd name="T61" fmla="*/ 2147483647 h 88"/>
                <a:gd name="T62" fmla="*/ 2147483647 w 124"/>
                <a:gd name="T63" fmla="*/ 2147483647 h 88"/>
                <a:gd name="T64" fmla="*/ 2147483647 w 124"/>
                <a:gd name="T65" fmla="*/ 2147483647 h 88"/>
                <a:gd name="T66" fmla="*/ 2147483647 w 124"/>
                <a:gd name="T67" fmla="*/ 2147483647 h 88"/>
                <a:gd name="T68" fmla="*/ 2147483647 w 124"/>
                <a:gd name="T69" fmla="*/ 2147483647 h 88"/>
                <a:gd name="T70" fmla="*/ 2147483647 w 124"/>
                <a:gd name="T71" fmla="*/ 2147483647 h 88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124"/>
                <a:gd name="T109" fmla="*/ 0 h 88"/>
                <a:gd name="T110" fmla="*/ 124 w 124"/>
                <a:gd name="T111" fmla="*/ 88 h 88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124" h="88">
                  <a:moveTo>
                    <a:pt x="50" y="16"/>
                  </a:moveTo>
                  <a:lnTo>
                    <a:pt x="50" y="16"/>
                  </a:lnTo>
                  <a:lnTo>
                    <a:pt x="72" y="6"/>
                  </a:lnTo>
                  <a:lnTo>
                    <a:pt x="84" y="2"/>
                  </a:lnTo>
                  <a:lnTo>
                    <a:pt x="98" y="0"/>
                  </a:lnTo>
                  <a:lnTo>
                    <a:pt x="104" y="2"/>
                  </a:lnTo>
                  <a:lnTo>
                    <a:pt x="106" y="4"/>
                  </a:lnTo>
                  <a:lnTo>
                    <a:pt x="106" y="6"/>
                  </a:lnTo>
                  <a:lnTo>
                    <a:pt x="98" y="10"/>
                  </a:lnTo>
                  <a:lnTo>
                    <a:pt x="76" y="20"/>
                  </a:lnTo>
                  <a:lnTo>
                    <a:pt x="66" y="26"/>
                  </a:lnTo>
                  <a:lnTo>
                    <a:pt x="86" y="26"/>
                  </a:lnTo>
                  <a:lnTo>
                    <a:pt x="104" y="28"/>
                  </a:lnTo>
                  <a:lnTo>
                    <a:pt x="120" y="30"/>
                  </a:lnTo>
                  <a:lnTo>
                    <a:pt x="122" y="32"/>
                  </a:lnTo>
                  <a:lnTo>
                    <a:pt x="124" y="34"/>
                  </a:lnTo>
                  <a:lnTo>
                    <a:pt x="124" y="36"/>
                  </a:lnTo>
                  <a:lnTo>
                    <a:pt x="120" y="38"/>
                  </a:lnTo>
                  <a:lnTo>
                    <a:pt x="112" y="40"/>
                  </a:lnTo>
                  <a:lnTo>
                    <a:pt x="104" y="40"/>
                  </a:lnTo>
                  <a:lnTo>
                    <a:pt x="92" y="40"/>
                  </a:lnTo>
                  <a:lnTo>
                    <a:pt x="70" y="44"/>
                  </a:lnTo>
                  <a:lnTo>
                    <a:pt x="96" y="44"/>
                  </a:lnTo>
                  <a:lnTo>
                    <a:pt x="110" y="44"/>
                  </a:lnTo>
                  <a:lnTo>
                    <a:pt x="114" y="46"/>
                  </a:lnTo>
                  <a:lnTo>
                    <a:pt x="118" y="48"/>
                  </a:lnTo>
                  <a:lnTo>
                    <a:pt x="118" y="50"/>
                  </a:lnTo>
                  <a:lnTo>
                    <a:pt x="116" y="54"/>
                  </a:lnTo>
                  <a:lnTo>
                    <a:pt x="114" y="56"/>
                  </a:lnTo>
                  <a:lnTo>
                    <a:pt x="110" y="56"/>
                  </a:lnTo>
                  <a:lnTo>
                    <a:pt x="62" y="60"/>
                  </a:lnTo>
                  <a:lnTo>
                    <a:pt x="58" y="62"/>
                  </a:lnTo>
                  <a:lnTo>
                    <a:pt x="76" y="66"/>
                  </a:lnTo>
                  <a:lnTo>
                    <a:pt x="88" y="64"/>
                  </a:lnTo>
                  <a:lnTo>
                    <a:pt x="94" y="64"/>
                  </a:lnTo>
                  <a:lnTo>
                    <a:pt x="96" y="66"/>
                  </a:lnTo>
                  <a:lnTo>
                    <a:pt x="98" y="68"/>
                  </a:lnTo>
                  <a:lnTo>
                    <a:pt x="96" y="72"/>
                  </a:lnTo>
                  <a:lnTo>
                    <a:pt x="92" y="74"/>
                  </a:lnTo>
                  <a:lnTo>
                    <a:pt x="86" y="74"/>
                  </a:lnTo>
                  <a:lnTo>
                    <a:pt x="54" y="76"/>
                  </a:lnTo>
                  <a:lnTo>
                    <a:pt x="40" y="80"/>
                  </a:lnTo>
                  <a:lnTo>
                    <a:pt x="26" y="86"/>
                  </a:lnTo>
                  <a:lnTo>
                    <a:pt x="14" y="88"/>
                  </a:lnTo>
                  <a:lnTo>
                    <a:pt x="0" y="88"/>
                  </a:lnTo>
                  <a:lnTo>
                    <a:pt x="12" y="68"/>
                  </a:lnTo>
                  <a:lnTo>
                    <a:pt x="22" y="50"/>
                  </a:lnTo>
                  <a:lnTo>
                    <a:pt x="24" y="42"/>
                  </a:lnTo>
                  <a:lnTo>
                    <a:pt x="26" y="32"/>
                  </a:lnTo>
                  <a:lnTo>
                    <a:pt x="32" y="26"/>
                  </a:lnTo>
                  <a:lnTo>
                    <a:pt x="40" y="20"/>
                  </a:lnTo>
                  <a:lnTo>
                    <a:pt x="50" y="1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66" name="Freeform 143"/>
            <p:cNvSpPr>
              <a:spLocks noEditPoints="1"/>
            </p:cNvSpPr>
            <p:nvPr/>
          </p:nvSpPr>
          <p:spPr bwMode="auto">
            <a:xfrm>
              <a:off x="1160118" y="5029138"/>
              <a:ext cx="524220" cy="647762"/>
            </a:xfrm>
            <a:custGeom>
              <a:avLst/>
              <a:gdLst>
                <a:gd name="T0" fmla="*/ 2147483647 w 330"/>
                <a:gd name="T1" fmla="*/ 2147483647 h 408"/>
                <a:gd name="T2" fmla="*/ 2147483647 w 330"/>
                <a:gd name="T3" fmla="*/ 2147483647 h 408"/>
                <a:gd name="T4" fmla="*/ 2147483647 w 330"/>
                <a:gd name="T5" fmla="*/ 2147483647 h 408"/>
                <a:gd name="T6" fmla="*/ 2147483647 w 330"/>
                <a:gd name="T7" fmla="*/ 2147483647 h 408"/>
                <a:gd name="T8" fmla="*/ 2147483647 w 330"/>
                <a:gd name="T9" fmla="*/ 2147483647 h 408"/>
                <a:gd name="T10" fmla="*/ 2147483647 w 330"/>
                <a:gd name="T11" fmla="*/ 2147483647 h 408"/>
                <a:gd name="T12" fmla="*/ 2147483647 w 330"/>
                <a:gd name="T13" fmla="*/ 2147483647 h 408"/>
                <a:gd name="T14" fmla="*/ 2147483647 w 330"/>
                <a:gd name="T15" fmla="*/ 2147483647 h 408"/>
                <a:gd name="T16" fmla="*/ 2147483647 w 330"/>
                <a:gd name="T17" fmla="*/ 2147483647 h 408"/>
                <a:gd name="T18" fmla="*/ 0 w 330"/>
                <a:gd name="T19" fmla="*/ 2147483647 h 408"/>
                <a:gd name="T20" fmla="*/ 2147483647 w 330"/>
                <a:gd name="T21" fmla="*/ 2147483647 h 408"/>
                <a:gd name="T22" fmla="*/ 2147483647 w 330"/>
                <a:gd name="T23" fmla="*/ 2147483647 h 408"/>
                <a:gd name="T24" fmla="*/ 2147483647 w 330"/>
                <a:gd name="T25" fmla="*/ 2147483647 h 408"/>
                <a:gd name="T26" fmla="*/ 2147483647 w 330"/>
                <a:gd name="T27" fmla="*/ 2147483647 h 408"/>
                <a:gd name="T28" fmla="*/ 2147483647 w 330"/>
                <a:gd name="T29" fmla="*/ 2147483647 h 408"/>
                <a:gd name="T30" fmla="*/ 2147483647 w 330"/>
                <a:gd name="T31" fmla="*/ 2147483647 h 408"/>
                <a:gd name="T32" fmla="*/ 2147483647 w 330"/>
                <a:gd name="T33" fmla="*/ 2147483647 h 408"/>
                <a:gd name="T34" fmla="*/ 2147483647 w 330"/>
                <a:gd name="T35" fmla="*/ 2147483647 h 408"/>
                <a:gd name="T36" fmla="*/ 2147483647 w 330"/>
                <a:gd name="T37" fmla="*/ 2147483647 h 408"/>
                <a:gd name="T38" fmla="*/ 2147483647 w 330"/>
                <a:gd name="T39" fmla="*/ 2147483647 h 408"/>
                <a:gd name="T40" fmla="*/ 2147483647 w 330"/>
                <a:gd name="T41" fmla="*/ 2147483647 h 408"/>
                <a:gd name="T42" fmla="*/ 2147483647 w 330"/>
                <a:gd name="T43" fmla="*/ 2147483647 h 408"/>
                <a:gd name="T44" fmla="*/ 2147483647 w 330"/>
                <a:gd name="T45" fmla="*/ 2147483647 h 408"/>
                <a:gd name="T46" fmla="*/ 2147483647 w 330"/>
                <a:gd name="T47" fmla="*/ 2147483647 h 408"/>
                <a:gd name="T48" fmla="*/ 2147483647 w 330"/>
                <a:gd name="T49" fmla="*/ 2147483647 h 408"/>
                <a:gd name="T50" fmla="*/ 2147483647 w 330"/>
                <a:gd name="T51" fmla="*/ 2147483647 h 408"/>
                <a:gd name="T52" fmla="*/ 2147483647 w 330"/>
                <a:gd name="T53" fmla="*/ 2147483647 h 408"/>
                <a:gd name="T54" fmla="*/ 2147483647 w 330"/>
                <a:gd name="T55" fmla="*/ 2147483647 h 408"/>
                <a:gd name="T56" fmla="*/ 2147483647 w 330"/>
                <a:gd name="T57" fmla="*/ 2147483647 h 408"/>
                <a:gd name="T58" fmla="*/ 2147483647 w 330"/>
                <a:gd name="T59" fmla="*/ 2147483647 h 408"/>
                <a:gd name="T60" fmla="*/ 2147483647 w 330"/>
                <a:gd name="T61" fmla="*/ 2147483647 h 408"/>
                <a:gd name="T62" fmla="*/ 2147483647 w 330"/>
                <a:gd name="T63" fmla="*/ 2147483647 h 408"/>
                <a:gd name="T64" fmla="*/ 2147483647 w 330"/>
                <a:gd name="T65" fmla="*/ 2147483647 h 408"/>
                <a:gd name="T66" fmla="*/ 2147483647 w 330"/>
                <a:gd name="T67" fmla="*/ 2147483647 h 408"/>
                <a:gd name="T68" fmla="*/ 2147483647 w 330"/>
                <a:gd name="T69" fmla="*/ 2147483647 h 408"/>
                <a:gd name="T70" fmla="*/ 2147483647 w 330"/>
                <a:gd name="T71" fmla="*/ 2147483647 h 408"/>
                <a:gd name="T72" fmla="*/ 2147483647 w 330"/>
                <a:gd name="T73" fmla="*/ 2147483647 h 408"/>
                <a:gd name="T74" fmla="*/ 2147483647 w 330"/>
                <a:gd name="T75" fmla="*/ 2147483647 h 408"/>
                <a:gd name="T76" fmla="*/ 2147483647 w 330"/>
                <a:gd name="T77" fmla="*/ 2147483647 h 408"/>
                <a:gd name="T78" fmla="*/ 2147483647 w 330"/>
                <a:gd name="T79" fmla="*/ 2147483647 h 408"/>
                <a:gd name="T80" fmla="*/ 2147483647 w 330"/>
                <a:gd name="T81" fmla="*/ 2147483647 h 408"/>
                <a:gd name="T82" fmla="*/ 2147483647 w 330"/>
                <a:gd name="T83" fmla="*/ 2147483647 h 408"/>
                <a:gd name="T84" fmla="*/ 2147483647 w 330"/>
                <a:gd name="T85" fmla="*/ 2147483647 h 408"/>
                <a:gd name="T86" fmla="*/ 2147483647 w 330"/>
                <a:gd name="T87" fmla="*/ 2147483647 h 408"/>
                <a:gd name="T88" fmla="*/ 2147483647 w 330"/>
                <a:gd name="T89" fmla="*/ 2147483647 h 408"/>
                <a:gd name="T90" fmla="*/ 2147483647 w 330"/>
                <a:gd name="T91" fmla="*/ 2147483647 h 408"/>
                <a:gd name="T92" fmla="*/ 2147483647 w 330"/>
                <a:gd name="T93" fmla="*/ 2147483647 h 408"/>
                <a:gd name="T94" fmla="*/ 2147483647 w 330"/>
                <a:gd name="T95" fmla="*/ 2147483647 h 408"/>
                <a:gd name="T96" fmla="*/ 2147483647 w 330"/>
                <a:gd name="T97" fmla="*/ 2147483647 h 408"/>
                <a:gd name="T98" fmla="*/ 2147483647 w 330"/>
                <a:gd name="T99" fmla="*/ 2147483647 h 408"/>
                <a:gd name="T100" fmla="*/ 2147483647 w 330"/>
                <a:gd name="T101" fmla="*/ 2147483647 h 408"/>
                <a:gd name="T102" fmla="*/ 2147483647 w 330"/>
                <a:gd name="T103" fmla="*/ 2147483647 h 408"/>
                <a:gd name="T104" fmla="*/ 2147483647 w 330"/>
                <a:gd name="T105" fmla="*/ 2147483647 h 408"/>
                <a:gd name="T106" fmla="*/ 2147483647 w 330"/>
                <a:gd name="T107" fmla="*/ 2147483647 h 408"/>
                <a:gd name="T108" fmla="*/ 2147483647 w 330"/>
                <a:gd name="T109" fmla="*/ 2147483647 h 408"/>
                <a:gd name="T110" fmla="*/ 2147483647 w 330"/>
                <a:gd name="T111" fmla="*/ 2147483647 h 408"/>
                <a:gd name="T112" fmla="*/ 2147483647 w 330"/>
                <a:gd name="T113" fmla="*/ 2147483647 h 408"/>
                <a:gd name="T114" fmla="*/ 2147483647 w 330"/>
                <a:gd name="T115" fmla="*/ 2147483647 h 408"/>
                <a:gd name="T116" fmla="*/ 2147483647 w 330"/>
                <a:gd name="T117" fmla="*/ 2147483647 h 408"/>
                <a:gd name="T118" fmla="*/ 2147483647 w 330"/>
                <a:gd name="T119" fmla="*/ 2147483647 h 408"/>
                <a:gd name="T120" fmla="*/ 2147483647 w 330"/>
                <a:gd name="T121" fmla="*/ 2147483647 h 408"/>
                <a:gd name="T122" fmla="*/ 2147483647 w 330"/>
                <a:gd name="T123" fmla="*/ 2147483647 h 40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330"/>
                <a:gd name="T187" fmla="*/ 0 h 408"/>
                <a:gd name="T188" fmla="*/ 330 w 330"/>
                <a:gd name="T189" fmla="*/ 408 h 408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330" h="408">
                  <a:moveTo>
                    <a:pt x="74" y="344"/>
                  </a:moveTo>
                  <a:lnTo>
                    <a:pt x="74" y="344"/>
                  </a:lnTo>
                  <a:lnTo>
                    <a:pt x="60" y="290"/>
                  </a:lnTo>
                  <a:lnTo>
                    <a:pt x="58" y="286"/>
                  </a:lnTo>
                  <a:lnTo>
                    <a:pt x="56" y="274"/>
                  </a:lnTo>
                  <a:lnTo>
                    <a:pt x="56" y="254"/>
                  </a:lnTo>
                  <a:lnTo>
                    <a:pt x="56" y="234"/>
                  </a:lnTo>
                  <a:lnTo>
                    <a:pt x="56" y="220"/>
                  </a:lnTo>
                  <a:lnTo>
                    <a:pt x="92" y="44"/>
                  </a:lnTo>
                  <a:lnTo>
                    <a:pt x="20" y="22"/>
                  </a:lnTo>
                  <a:lnTo>
                    <a:pt x="14" y="32"/>
                  </a:lnTo>
                  <a:lnTo>
                    <a:pt x="10" y="40"/>
                  </a:lnTo>
                  <a:lnTo>
                    <a:pt x="4" y="62"/>
                  </a:lnTo>
                  <a:lnTo>
                    <a:pt x="2" y="88"/>
                  </a:lnTo>
                  <a:lnTo>
                    <a:pt x="0" y="112"/>
                  </a:lnTo>
                  <a:lnTo>
                    <a:pt x="2" y="138"/>
                  </a:lnTo>
                  <a:lnTo>
                    <a:pt x="4" y="160"/>
                  </a:lnTo>
                  <a:lnTo>
                    <a:pt x="10" y="196"/>
                  </a:lnTo>
                  <a:lnTo>
                    <a:pt x="14" y="218"/>
                  </a:lnTo>
                  <a:lnTo>
                    <a:pt x="14" y="238"/>
                  </a:lnTo>
                  <a:lnTo>
                    <a:pt x="14" y="254"/>
                  </a:lnTo>
                  <a:lnTo>
                    <a:pt x="12" y="266"/>
                  </a:lnTo>
                  <a:lnTo>
                    <a:pt x="12" y="264"/>
                  </a:lnTo>
                  <a:lnTo>
                    <a:pt x="6" y="292"/>
                  </a:lnTo>
                  <a:lnTo>
                    <a:pt x="4" y="318"/>
                  </a:lnTo>
                  <a:lnTo>
                    <a:pt x="8" y="322"/>
                  </a:lnTo>
                  <a:lnTo>
                    <a:pt x="12" y="320"/>
                  </a:lnTo>
                  <a:lnTo>
                    <a:pt x="12" y="318"/>
                  </a:lnTo>
                  <a:lnTo>
                    <a:pt x="16" y="336"/>
                  </a:lnTo>
                  <a:lnTo>
                    <a:pt x="16" y="360"/>
                  </a:lnTo>
                  <a:lnTo>
                    <a:pt x="18" y="370"/>
                  </a:lnTo>
                  <a:lnTo>
                    <a:pt x="24" y="386"/>
                  </a:lnTo>
                  <a:lnTo>
                    <a:pt x="28" y="394"/>
                  </a:lnTo>
                  <a:lnTo>
                    <a:pt x="42" y="404"/>
                  </a:lnTo>
                  <a:lnTo>
                    <a:pt x="50" y="406"/>
                  </a:lnTo>
                  <a:lnTo>
                    <a:pt x="58" y="408"/>
                  </a:lnTo>
                  <a:lnTo>
                    <a:pt x="74" y="406"/>
                  </a:lnTo>
                  <a:lnTo>
                    <a:pt x="86" y="404"/>
                  </a:lnTo>
                  <a:lnTo>
                    <a:pt x="92" y="402"/>
                  </a:lnTo>
                  <a:lnTo>
                    <a:pt x="94" y="390"/>
                  </a:lnTo>
                  <a:lnTo>
                    <a:pt x="94" y="384"/>
                  </a:lnTo>
                  <a:lnTo>
                    <a:pt x="92" y="376"/>
                  </a:lnTo>
                  <a:lnTo>
                    <a:pt x="86" y="366"/>
                  </a:lnTo>
                  <a:lnTo>
                    <a:pt x="74" y="344"/>
                  </a:lnTo>
                  <a:close/>
                  <a:moveTo>
                    <a:pt x="326" y="268"/>
                  </a:moveTo>
                  <a:lnTo>
                    <a:pt x="326" y="268"/>
                  </a:lnTo>
                  <a:lnTo>
                    <a:pt x="324" y="266"/>
                  </a:lnTo>
                  <a:lnTo>
                    <a:pt x="318" y="262"/>
                  </a:lnTo>
                  <a:lnTo>
                    <a:pt x="310" y="254"/>
                  </a:lnTo>
                  <a:lnTo>
                    <a:pt x="298" y="246"/>
                  </a:lnTo>
                  <a:lnTo>
                    <a:pt x="292" y="238"/>
                  </a:lnTo>
                  <a:lnTo>
                    <a:pt x="284" y="230"/>
                  </a:lnTo>
                  <a:lnTo>
                    <a:pt x="280" y="224"/>
                  </a:lnTo>
                  <a:lnTo>
                    <a:pt x="274" y="216"/>
                  </a:lnTo>
                  <a:lnTo>
                    <a:pt x="268" y="202"/>
                  </a:lnTo>
                  <a:lnTo>
                    <a:pt x="262" y="184"/>
                  </a:lnTo>
                  <a:lnTo>
                    <a:pt x="260" y="0"/>
                  </a:lnTo>
                  <a:lnTo>
                    <a:pt x="190" y="26"/>
                  </a:lnTo>
                  <a:lnTo>
                    <a:pt x="192" y="42"/>
                  </a:lnTo>
                  <a:lnTo>
                    <a:pt x="192" y="66"/>
                  </a:lnTo>
                  <a:lnTo>
                    <a:pt x="194" y="82"/>
                  </a:lnTo>
                  <a:lnTo>
                    <a:pt x="200" y="112"/>
                  </a:lnTo>
                  <a:lnTo>
                    <a:pt x="212" y="158"/>
                  </a:lnTo>
                  <a:lnTo>
                    <a:pt x="212" y="178"/>
                  </a:lnTo>
                  <a:lnTo>
                    <a:pt x="210" y="186"/>
                  </a:lnTo>
                  <a:lnTo>
                    <a:pt x="206" y="194"/>
                  </a:lnTo>
                  <a:lnTo>
                    <a:pt x="202" y="208"/>
                  </a:lnTo>
                  <a:lnTo>
                    <a:pt x="200" y="222"/>
                  </a:lnTo>
                  <a:lnTo>
                    <a:pt x="202" y="228"/>
                  </a:lnTo>
                  <a:lnTo>
                    <a:pt x="204" y="232"/>
                  </a:lnTo>
                  <a:lnTo>
                    <a:pt x="206" y="238"/>
                  </a:lnTo>
                  <a:lnTo>
                    <a:pt x="208" y="244"/>
                  </a:lnTo>
                  <a:lnTo>
                    <a:pt x="210" y="258"/>
                  </a:lnTo>
                  <a:lnTo>
                    <a:pt x="212" y="276"/>
                  </a:lnTo>
                  <a:lnTo>
                    <a:pt x="218" y="278"/>
                  </a:lnTo>
                  <a:lnTo>
                    <a:pt x="222" y="274"/>
                  </a:lnTo>
                  <a:lnTo>
                    <a:pt x="218" y="232"/>
                  </a:lnTo>
                  <a:lnTo>
                    <a:pt x="224" y="238"/>
                  </a:lnTo>
                  <a:lnTo>
                    <a:pt x="236" y="244"/>
                  </a:lnTo>
                  <a:lnTo>
                    <a:pt x="242" y="250"/>
                  </a:lnTo>
                  <a:lnTo>
                    <a:pt x="244" y="256"/>
                  </a:lnTo>
                  <a:lnTo>
                    <a:pt x="246" y="260"/>
                  </a:lnTo>
                  <a:lnTo>
                    <a:pt x="252" y="276"/>
                  </a:lnTo>
                  <a:lnTo>
                    <a:pt x="258" y="286"/>
                  </a:lnTo>
                  <a:lnTo>
                    <a:pt x="262" y="294"/>
                  </a:lnTo>
                  <a:lnTo>
                    <a:pt x="266" y="298"/>
                  </a:lnTo>
                  <a:lnTo>
                    <a:pt x="274" y="300"/>
                  </a:lnTo>
                  <a:lnTo>
                    <a:pt x="294" y="302"/>
                  </a:lnTo>
                  <a:lnTo>
                    <a:pt x="322" y="304"/>
                  </a:lnTo>
                  <a:lnTo>
                    <a:pt x="324" y="300"/>
                  </a:lnTo>
                  <a:lnTo>
                    <a:pt x="326" y="296"/>
                  </a:lnTo>
                  <a:lnTo>
                    <a:pt x="328" y="288"/>
                  </a:lnTo>
                  <a:lnTo>
                    <a:pt x="330" y="284"/>
                  </a:lnTo>
                  <a:lnTo>
                    <a:pt x="328" y="276"/>
                  </a:lnTo>
                  <a:lnTo>
                    <a:pt x="326" y="268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67" name="Freeform 144"/>
            <p:cNvSpPr>
              <a:spLocks/>
            </p:cNvSpPr>
            <p:nvPr/>
          </p:nvSpPr>
          <p:spPr bwMode="auto">
            <a:xfrm>
              <a:off x="906463" y="3899361"/>
              <a:ext cx="321296" cy="676513"/>
            </a:xfrm>
            <a:custGeom>
              <a:avLst/>
              <a:gdLst>
                <a:gd name="T0" fmla="*/ 2147483647 w 202"/>
                <a:gd name="T1" fmla="*/ 2147483647 h 426"/>
                <a:gd name="T2" fmla="*/ 2147483647 w 202"/>
                <a:gd name="T3" fmla="*/ 2147483647 h 426"/>
                <a:gd name="T4" fmla="*/ 2147483647 w 202"/>
                <a:gd name="T5" fmla="*/ 2147483647 h 426"/>
                <a:gd name="T6" fmla="*/ 2147483647 w 202"/>
                <a:gd name="T7" fmla="*/ 2147483647 h 426"/>
                <a:gd name="T8" fmla="*/ 2147483647 w 202"/>
                <a:gd name="T9" fmla="*/ 2147483647 h 426"/>
                <a:gd name="T10" fmla="*/ 2147483647 w 202"/>
                <a:gd name="T11" fmla="*/ 2147483647 h 426"/>
                <a:gd name="T12" fmla="*/ 2147483647 w 202"/>
                <a:gd name="T13" fmla="*/ 2147483647 h 426"/>
                <a:gd name="T14" fmla="*/ 2147483647 w 202"/>
                <a:gd name="T15" fmla="*/ 2147483647 h 426"/>
                <a:gd name="T16" fmla="*/ 2147483647 w 202"/>
                <a:gd name="T17" fmla="*/ 2147483647 h 426"/>
                <a:gd name="T18" fmla="*/ 2147483647 w 202"/>
                <a:gd name="T19" fmla="*/ 2147483647 h 426"/>
                <a:gd name="T20" fmla="*/ 2147483647 w 202"/>
                <a:gd name="T21" fmla="*/ 2147483647 h 426"/>
                <a:gd name="T22" fmla="*/ 2147483647 w 202"/>
                <a:gd name="T23" fmla="*/ 2147483647 h 426"/>
                <a:gd name="T24" fmla="*/ 2147483647 w 202"/>
                <a:gd name="T25" fmla="*/ 2147483647 h 426"/>
                <a:gd name="T26" fmla="*/ 2147483647 w 202"/>
                <a:gd name="T27" fmla="*/ 2147483647 h 426"/>
                <a:gd name="T28" fmla="*/ 2147483647 w 202"/>
                <a:gd name="T29" fmla="*/ 2147483647 h 426"/>
                <a:gd name="T30" fmla="*/ 2147483647 w 202"/>
                <a:gd name="T31" fmla="*/ 2147483647 h 426"/>
                <a:gd name="T32" fmla="*/ 2147483647 w 202"/>
                <a:gd name="T33" fmla="*/ 2147483647 h 426"/>
                <a:gd name="T34" fmla="*/ 2147483647 w 202"/>
                <a:gd name="T35" fmla="*/ 2147483647 h 426"/>
                <a:gd name="T36" fmla="*/ 2147483647 w 202"/>
                <a:gd name="T37" fmla="*/ 2147483647 h 426"/>
                <a:gd name="T38" fmla="*/ 2147483647 w 202"/>
                <a:gd name="T39" fmla="*/ 2147483647 h 426"/>
                <a:gd name="T40" fmla="*/ 2147483647 w 202"/>
                <a:gd name="T41" fmla="*/ 2147483647 h 426"/>
                <a:gd name="T42" fmla="*/ 2147483647 w 202"/>
                <a:gd name="T43" fmla="*/ 2147483647 h 426"/>
                <a:gd name="T44" fmla="*/ 2147483647 w 202"/>
                <a:gd name="T45" fmla="*/ 2147483647 h 426"/>
                <a:gd name="T46" fmla="*/ 0 w 202"/>
                <a:gd name="T47" fmla="*/ 2147483647 h 426"/>
                <a:gd name="T48" fmla="*/ 2147483647 w 202"/>
                <a:gd name="T49" fmla="*/ 2147483647 h 426"/>
                <a:gd name="T50" fmla="*/ 2147483647 w 202"/>
                <a:gd name="T51" fmla="*/ 2147483647 h 426"/>
                <a:gd name="T52" fmla="*/ 2147483647 w 202"/>
                <a:gd name="T53" fmla="*/ 2147483647 h 426"/>
                <a:gd name="T54" fmla="*/ 2147483647 w 202"/>
                <a:gd name="T55" fmla="*/ 2147483647 h 426"/>
                <a:gd name="T56" fmla="*/ 2147483647 w 202"/>
                <a:gd name="T57" fmla="*/ 2147483647 h 426"/>
                <a:gd name="T58" fmla="*/ 2147483647 w 202"/>
                <a:gd name="T59" fmla="*/ 2147483647 h 426"/>
                <a:gd name="T60" fmla="*/ 2147483647 w 202"/>
                <a:gd name="T61" fmla="*/ 2147483647 h 426"/>
                <a:gd name="T62" fmla="*/ 2147483647 w 202"/>
                <a:gd name="T63" fmla="*/ 0 h 426"/>
                <a:gd name="T64" fmla="*/ 2147483647 w 202"/>
                <a:gd name="T65" fmla="*/ 2147483647 h 426"/>
                <a:gd name="T66" fmla="*/ 2147483647 w 202"/>
                <a:gd name="T67" fmla="*/ 2147483647 h 426"/>
                <a:gd name="T68" fmla="*/ 2147483647 w 202"/>
                <a:gd name="T69" fmla="*/ 2147483647 h 42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202"/>
                <a:gd name="T106" fmla="*/ 0 h 426"/>
                <a:gd name="T107" fmla="*/ 202 w 202"/>
                <a:gd name="T108" fmla="*/ 426 h 42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202" h="426">
                  <a:moveTo>
                    <a:pt x="166" y="184"/>
                  </a:moveTo>
                  <a:lnTo>
                    <a:pt x="166" y="184"/>
                  </a:lnTo>
                  <a:lnTo>
                    <a:pt x="152" y="196"/>
                  </a:lnTo>
                  <a:lnTo>
                    <a:pt x="140" y="210"/>
                  </a:lnTo>
                  <a:lnTo>
                    <a:pt x="130" y="226"/>
                  </a:lnTo>
                  <a:lnTo>
                    <a:pt x="124" y="236"/>
                  </a:lnTo>
                  <a:lnTo>
                    <a:pt x="118" y="242"/>
                  </a:lnTo>
                  <a:lnTo>
                    <a:pt x="104" y="252"/>
                  </a:lnTo>
                  <a:lnTo>
                    <a:pt x="92" y="258"/>
                  </a:lnTo>
                  <a:lnTo>
                    <a:pt x="88" y="258"/>
                  </a:lnTo>
                  <a:lnTo>
                    <a:pt x="86" y="262"/>
                  </a:lnTo>
                  <a:lnTo>
                    <a:pt x="86" y="266"/>
                  </a:lnTo>
                  <a:lnTo>
                    <a:pt x="90" y="268"/>
                  </a:lnTo>
                  <a:lnTo>
                    <a:pt x="92" y="270"/>
                  </a:lnTo>
                  <a:lnTo>
                    <a:pt x="94" y="272"/>
                  </a:lnTo>
                  <a:lnTo>
                    <a:pt x="98" y="282"/>
                  </a:lnTo>
                  <a:lnTo>
                    <a:pt x="104" y="292"/>
                  </a:lnTo>
                  <a:lnTo>
                    <a:pt x="116" y="306"/>
                  </a:lnTo>
                  <a:lnTo>
                    <a:pt x="134" y="324"/>
                  </a:lnTo>
                  <a:lnTo>
                    <a:pt x="142" y="336"/>
                  </a:lnTo>
                  <a:lnTo>
                    <a:pt x="166" y="348"/>
                  </a:lnTo>
                  <a:lnTo>
                    <a:pt x="184" y="356"/>
                  </a:lnTo>
                  <a:lnTo>
                    <a:pt x="196" y="360"/>
                  </a:lnTo>
                  <a:lnTo>
                    <a:pt x="198" y="362"/>
                  </a:lnTo>
                  <a:lnTo>
                    <a:pt x="198" y="370"/>
                  </a:lnTo>
                  <a:lnTo>
                    <a:pt x="192" y="390"/>
                  </a:lnTo>
                  <a:lnTo>
                    <a:pt x="186" y="400"/>
                  </a:lnTo>
                  <a:lnTo>
                    <a:pt x="180" y="412"/>
                  </a:lnTo>
                  <a:lnTo>
                    <a:pt x="172" y="420"/>
                  </a:lnTo>
                  <a:lnTo>
                    <a:pt x="164" y="426"/>
                  </a:lnTo>
                  <a:lnTo>
                    <a:pt x="48" y="334"/>
                  </a:lnTo>
                  <a:lnTo>
                    <a:pt x="34" y="322"/>
                  </a:lnTo>
                  <a:lnTo>
                    <a:pt x="26" y="314"/>
                  </a:lnTo>
                  <a:lnTo>
                    <a:pt x="20" y="306"/>
                  </a:lnTo>
                  <a:lnTo>
                    <a:pt x="6" y="282"/>
                  </a:lnTo>
                  <a:lnTo>
                    <a:pt x="4" y="278"/>
                  </a:lnTo>
                  <a:lnTo>
                    <a:pt x="0" y="270"/>
                  </a:lnTo>
                  <a:lnTo>
                    <a:pt x="0" y="262"/>
                  </a:lnTo>
                  <a:lnTo>
                    <a:pt x="0" y="258"/>
                  </a:lnTo>
                  <a:lnTo>
                    <a:pt x="4" y="252"/>
                  </a:lnTo>
                  <a:lnTo>
                    <a:pt x="82" y="124"/>
                  </a:lnTo>
                  <a:lnTo>
                    <a:pt x="104" y="62"/>
                  </a:lnTo>
                  <a:lnTo>
                    <a:pt x="112" y="48"/>
                  </a:lnTo>
                  <a:lnTo>
                    <a:pt x="118" y="36"/>
                  </a:lnTo>
                  <a:lnTo>
                    <a:pt x="124" y="28"/>
                  </a:lnTo>
                  <a:lnTo>
                    <a:pt x="130" y="24"/>
                  </a:lnTo>
                  <a:lnTo>
                    <a:pt x="134" y="22"/>
                  </a:lnTo>
                  <a:lnTo>
                    <a:pt x="144" y="20"/>
                  </a:lnTo>
                  <a:lnTo>
                    <a:pt x="202" y="0"/>
                  </a:lnTo>
                  <a:lnTo>
                    <a:pt x="200" y="24"/>
                  </a:lnTo>
                  <a:lnTo>
                    <a:pt x="192" y="78"/>
                  </a:lnTo>
                  <a:lnTo>
                    <a:pt x="188" y="108"/>
                  </a:lnTo>
                  <a:lnTo>
                    <a:pt x="182" y="138"/>
                  </a:lnTo>
                  <a:lnTo>
                    <a:pt x="174" y="164"/>
                  </a:lnTo>
                  <a:lnTo>
                    <a:pt x="166" y="184"/>
                  </a:lnTo>
                  <a:close/>
                </a:path>
              </a:pathLst>
            </a:custGeom>
            <a:solidFill>
              <a:srgbClr val="17375E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</p:grpSp>
      <p:grpSp>
        <p:nvGrpSpPr>
          <p:cNvPr id="68" name="Gruppe 90"/>
          <p:cNvGrpSpPr>
            <a:grpSpLocks/>
          </p:cNvGrpSpPr>
          <p:nvPr/>
        </p:nvGrpSpPr>
        <p:grpSpPr bwMode="auto">
          <a:xfrm>
            <a:off x="2013413" y="3468671"/>
            <a:ext cx="493314" cy="1729354"/>
            <a:chOff x="4530725" y="1619250"/>
            <a:chExt cx="1212850" cy="4246563"/>
          </a:xfrm>
          <a:solidFill>
            <a:schemeClr val="bg1">
              <a:lumMod val="85000"/>
            </a:schemeClr>
          </a:solidFill>
        </p:grpSpPr>
        <p:grpSp>
          <p:nvGrpSpPr>
            <p:cNvPr id="76" name="Gruppe 73"/>
            <p:cNvGrpSpPr>
              <a:grpSpLocks/>
            </p:cNvGrpSpPr>
            <p:nvPr/>
          </p:nvGrpSpPr>
          <p:grpSpPr bwMode="auto">
            <a:xfrm>
              <a:off x="4530725" y="1619250"/>
              <a:ext cx="1212850" cy="4246563"/>
              <a:chOff x="5654019" y="1734325"/>
              <a:chExt cx="1213506" cy="4245788"/>
            </a:xfrm>
            <a:grpFill/>
          </p:grpSpPr>
          <p:sp>
            <p:nvSpPr>
              <p:cNvPr id="78" name="Kombinationstegning 87"/>
              <p:cNvSpPr/>
              <p:nvPr/>
            </p:nvSpPr>
            <p:spPr>
              <a:xfrm>
                <a:off x="5847232" y="2221491"/>
                <a:ext cx="644039" cy="795029"/>
              </a:xfrm>
              <a:custGeom>
                <a:avLst/>
                <a:gdLst>
                  <a:gd name="connsiteX0" fmla="*/ 276225 w 352425"/>
                  <a:gd name="connsiteY0" fmla="*/ 0 h 495300"/>
                  <a:gd name="connsiteX1" fmla="*/ 352425 w 352425"/>
                  <a:gd name="connsiteY1" fmla="*/ 114300 h 495300"/>
                  <a:gd name="connsiteX2" fmla="*/ 266700 w 352425"/>
                  <a:gd name="connsiteY2" fmla="*/ 314325 h 495300"/>
                  <a:gd name="connsiteX3" fmla="*/ 114300 w 352425"/>
                  <a:gd name="connsiteY3" fmla="*/ 495300 h 495300"/>
                  <a:gd name="connsiteX4" fmla="*/ 0 w 352425"/>
                  <a:gd name="connsiteY4" fmla="*/ 438150 h 495300"/>
                  <a:gd name="connsiteX5" fmla="*/ 76200 w 352425"/>
                  <a:gd name="connsiteY5" fmla="*/ 219075 h 495300"/>
                  <a:gd name="connsiteX6" fmla="*/ 104775 w 352425"/>
                  <a:gd name="connsiteY6" fmla="*/ 104775 h 495300"/>
                  <a:gd name="connsiteX7" fmla="*/ 209550 w 352425"/>
                  <a:gd name="connsiteY7" fmla="*/ 38100 h 495300"/>
                  <a:gd name="connsiteX8" fmla="*/ 276225 w 352425"/>
                  <a:gd name="connsiteY8" fmla="*/ 0 h 4953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52425" h="495300">
                    <a:moveTo>
                      <a:pt x="276225" y="0"/>
                    </a:moveTo>
                    <a:lnTo>
                      <a:pt x="352425" y="114300"/>
                    </a:lnTo>
                    <a:lnTo>
                      <a:pt x="266700" y="314325"/>
                    </a:lnTo>
                    <a:lnTo>
                      <a:pt x="114300" y="495300"/>
                    </a:lnTo>
                    <a:lnTo>
                      <a:pt x="0" y="438150"/>
                    </a:lnTo>
                    <a:lnTo>
                      <a:pt x="76200" y="219075"/>
                    </a:lnTo>
                    <a:lnTo>
                      <a:pt x="104775" y="104775"/>
                    </a:lnTo>
                    <a:lnTo>
                      <a:pt x="209550" y="38100"/>
                    </a:lnTo>
                    <a:lnTo>
                      <a:pt x="276225" y="0"/>
                    </a:lnTo>
                    <a:close/>
                  </a:path>
                </a:pathLst>
              </a:custGeom>
              <a:grpFill/>
              <a:ln w="9525" cap="flat" cmpd="sng" algn="ctr">
                <a:noFill/>
                <a:prstDash val="solid"/>
              </a:ln>
              <a:effectLst/>
            </p:spPr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>
                  <a:solidFill>
                    <a:sysClr val="window" lastClr="FFFFFF"/>
                  </a:solidFill>
                  <a:latin typeface="Calibri"/>
                  <a:cs typeface="+mn-cs"/>
                </a:endParaRPr>
              </a:p>
            </p:txBody>
          </p:sp>
          <p:sp>
            <p:nvSpPr>
              <p:cNvPr id="79" name="Freeform 9"/>
              <p:cNvSpPr>
                <a:spLocks noEditPoints="1"/>
              </p:cNvSpPr>
              <p:nvPr/>
            </p:nvSpPr>
            <p:spPr bwMode="auto">
              <a:xfrm>
                <a:off x="5654019" y="1734325"/>
                <a:ext cx="1213506" cy="4245788"/>
              </a:xfrm>
              <a:custGeom>
                <a:avLst/>
                <a:gdLst>
                  <a:gd name="T0" fmla="*/ 2147483647 w 405"/>
                  <a:gd name="T1" fmla="*/ 2147483647 h 1420"/>
                  <a:gd name="T2" fmla="*/ 2147483647 w 405"/>
                  <a:gd name="T3" fmla="*/ 2147483647 h 1420"/>
                  <a:gd name="T4" fmla="*/ 2147483647 w 405"/>
                  <a:gd name="T5" fmla="*/ 2147483647 h 1420"/>
                  <a:gd name="T6" fmla="*/ 2147483647 w 405"/>
                  <a:gd name="T7" fmla="*/ 2147483647 h 1420"/>
                  <a:gd name="T8" fmla="*/ 2147483647 w 405"/>
                  <a:gd name="T9" fmla="*/ 2147483647 h 1420"/>
                  <a:gd name="T10" fmla="*/ 2147483647 w 405"/>
                  <a:gd name="T11" fmla="*/ 2147483647 h 1420"/>
                  <a:gd name="T12" fmla="*/ 2147483647 w 405"/>
                  <a:gd name="T13" fmla="*/ 2147483647 h 1420"/>
                  <a:gd name="T14" fmla="*/ 2147483647 w 405"/>
                  <a:gd name="T15" fmla="*/ 2147483647 h 1420"/>
                  <a:gd name="T16" fmla="*/ 2147483647 w 405"/>
                  <a:gd name="T17" fmla="*/ 2147483647 h 1420"/>
                  <a:gd name="T18" fmla="*/ 2147483647 w 405"/>
                  <a:gd name="T19" fmla="*/ 2147483647 h 1420"/>
                  <a:gd name="T20" fmla="*/ 2147483647 w 405"/>
                  <a:gd name="T21" fmla="*/ 2147483647 h 1420"/>
                  <a:gd name="T22" fmla="*/ 2147483647 w 405"/>
                  <a:gd name="T23" fmla="*/ 2147483647 h 1420"/>
                  <a:gd name="T24" fmla="*/ 2147483647 w 405"/>
                  <a:gd name="T25" fmla="*/ 2147483647 h 1420"/>
                  <a:gd name="T26" fmla="*/ 2147483647 w 405"/>
                  <a:gd name="T27" fmla="*/ 2147483647 h 1420"/>
                  <a:gd name="T28" fmla="*/ 2147483647 w 405"/>
                  <a:gd name="T29" fmla="*/ 2147483647 h 1420"/>
                  <a:gd name="T30" fmla="*/ 2147483647 w 405"/>
                  <a:gd name="T31" fmla="*/ 2147483647 h 1420"/>
                  <a:gd name="T32" fmla="*/ 2147483647 w 405"/>
                  <a:gd name="T33" fmla="*/ 2147483647 h 1420"/>
                  <a:gd name="T34" fmla="*/ 2147483647 w 405"/>
                  <a:gd name="T35" fmla="*/ 2147483647 h 1420"/>
                  <a:gd name="T36" fmla="*/ 2147483647 w 405"/>
                  <a:gd name="T37" fmla="*/ 2147483647 h 1420"/>
                  <a:gd name="T38" fmla="*/ 2147483647 w 405"/>
                  <a:gd name="T39" fmla="*/ 2147483647 h 1420"/>
                  <a:gd name="T40" fmla="*/ 2147483647 w 405"/>
                  <a:gd name="T41" fmla="*/ 2147483647 h 1420"/>
                  <a:gd name="T42" fmla="*/ 2147483647 w 405"/>
                  <a:gd name="T43" fmla="*/ 2147483647 h 1420"/>
                  <a:gd name="T44" fmla="*/ 2147483647 w 405"/>
                  <a:gd name="T45" fmla="*/ 0 h 1420"/>
                  <a:gd name="T46" fmla="*/ 2147483647 w 405"/>
                  <a:gd name="T47" fmla="*/ 2147483647 h 1420"/>
                  <a:gd name="T48" fmla="*/ 2147483647 w 405"/>
                  <a:gd name="T49" fmla="*/ 2147483647 h 1420"/>
                  <a:gd name="T50" fmla="*/ 2147483647 w 405"/>
                  <a:gd name="T51" fmla="*/ 2147483647 h 1420"/>
                  <a:gd name="T52" fmla="*/ 2147483647 w 405"/>
                  <a:gd name="T53" fmla="*/ 2147483647 h 1420"/>
                  <a:gd name="T54" fmla="*/ 2147483647 w 405"/>
                  <a:gd name="T55" fmla="*/ 2147483647 h 1420"/>
                  <a:gd name="T56" fmla="*/ 2147483647 w 405"/>
                  <a:gd name="T57" fmla="*/ 2147483647 h 1420"/>
                  <a:gd name="T58" fmla="*/ 2147483647 w 405"/>
                  <a:gd name="T59" fmla="*/ 2147483647 h 1420"/>
                  <a:gd name="T60" fmla="*/ 2147483647 w 405"/>
                  <a:gd name="T61" fmla="*/ 2147483647 h 1420"/>
                  <a:gd name="T62" fmla="*/ 2147483647 w 405"/>
                  <a:gd name="T63" fmla="*/ 2147483647 h 1420"/>
                  <a:gd name="T64" fmla="*/ 2147483647 w 405"/>
                  <a:gd name="T65" fmla="*/ 2147483647 h 1420"/>
                  <a:gd name="T66" fmla="*/ 2147483647 w 405"/>
                  <a:gd name="T67" fmla="*/ 2147483647 h 1420"/>
                  <a:gd name="T68" fmla="*/ 2147483647 w 405"/>
                  <a:gd name="T69" fmla="*/ 2147483647 h 1420"/>
                  <a:gd name="T70" fmla="*/ 0 w 405"/>
                  <a:gd name="T71" fmla="*/ 2147483647 h 1420"/>
                  <a:gd name="T72" fmla="*/ 2147483647 w 405"/>
                  <a:gd name="T73" fmla="*/ 2147483647 h 1420"/>
                  <a:gd name="T74" fmla="*/ 2147483647 w 405"/>
                  <a:gd name="T75" fmla="*/ 2147483647 h 1420"/>
                  <a:gd name="T76" fmla="*/ 2147483647 w 405"/>
                  <a:gd name="T77" fmla="*/ 2147483647 h 1420"/>
                  <a:gd name="T78" fmla="*/ 2147483647 w 405"/>
                  <a:gd name="T79" fmla="*/ 2147483647 h 1420"/>
                  <a:gd name="T80" fmla="*/ 2147483647 w 405"/>
                  <a:gd name="T81" fmla="*/ 2147483647 h 1420"/>
                  <a:gd name="T82" fmla="*/ 2147483647 w 405"/>
                  <a:gd name="T83" fmla="*/ 2147483647 h 1420"/>
                  <a:gd name="T84" fmla="*/ 2147483647 w 405"/>
                  <a:gd name="T85" fmla="*/ 2147483647 h 1420"/>
                  <a:gd name="T86" fmla="*/ 2147483647 w 405"/>
                  <a:gd name="T87" fmla="*/ 2147483647 h 1420"/>
                  <a:gd name="T88" fmla="*/ 2147483647 w 405"/>
                  <a:gd name="T89" fmla="*/ 2147483647 h 1420"/>
                  <a:gd name="T90" fmla="*/ 2147483647 w 405"/>
                  <a:gd name="T91" fmla="*/ 2147483647 h 1420"/>
                  <a:gd name="T92" fmla="*/ 2147483647 w 405"/>
                  <a:gd name="T93" fmla="*/ 2147483647 h 1420"/>
                  <a:gd name="T94" fmla="*/ 2147483647 w 405"/>
                  <a:gd name="T95" fmla="*/ 2147483647 h 1420"/>
                  <a:gd name="T96" fmla="*/ 2147483647 w 405"/>
                  <a:gd name="T97" fmla="*/ 2147483647 h 1420"/>
                  <a:gd name="T98" fmla="*/ 2147483647 w 405"/>
                  <a:gd name="T99" fmla="*/ 2147483647 h 1420"/>
                  <a:gd name="T100" fmla="*/ 2147483647 w 405"/>
                  <a:gd name="T101" fmla="*/ 2147483647 h 1420"/>
                  <a:gd name="T102" fmla="*/ 2147483647 w 405"/>
                  <a:gd name="T103" fmla="*/ 2147483647 h 1420"/>
                  <a:gd name="T104" fmla="*/ 2147483647 w 405"/>
                  <a:gd name="T105" fmla="*/ 2147483647 h 1420"/>
                  <a:gd name="T106" fmla="*/ 2147483647 w 405"/>
                  <a:gd name="T107" fmla="*/ 2147483647 h 1420"/>
                  <a:gd name="T108" fmla="*/ 2147483647 w 405"/>
                  <a:gd name="T109" fmla="*/ 2147483647 h 1420"/>
                  <a:gd name="T110" fmla="*/ 2147483647 w 405"/>
                  <a:gd name="T111" fmla="*/ 2147483647 h 1420"/>
                  <a:gd name="T112" fmla="*/ 2147483647 w 405"/>
                  <a:gd name="T113" fmla="*/ 2147483647 h 1420"/>
                  <a:gd name="T114" fmla="*/ 2147483647 w 405"/>
                  <a:gd name="T115" fmla="*/ 2147483647 h 1420"/>
                  <a:gd name="T116" fmla="*/ 2147483647 w 405"/>
                  <a:gd name="T117" fmla="*/ 2147483647 h 1420"/>
                  <a:gd name="T118" fmla="*/ 2147483647 w 405"/>
                  <a:gd name="T119" fmla="*/ 2147483647 h 1420"/>
                  <a:gd name="T120" fmla="*/ 2147483647 w 405"/>
                  <a:gd name="T121" fmla="*/ 2147483647 h 1420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w 405"/>
                  <a:gd name="T184" fmla="*/ 0 h 1420"/>
                  <a:gd name="T185" fmla="*/ 405 w 405"/>
                  <a:gd name="T186" fmla="*/ 1420 h 1420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T183" t="T184" r="T185" b="T186"/>
                <a:pathLst>
                  <a:path w="405" h="1420">
                    <a:moveTo>
                      <a:pt x="249" y="178"/>
                    </a:moveTo>
                    <a:cubicBezTo>
                      <a:pt x="249" y="178"/>
                      <a:pt x="249" y="178"/>
                      <a:pt x="249" y="178"/>
                    </a:cubicBezTo>
                    <a:cubicBezTo>
                      <a:pt x="249" y="178"/>
                      <a:pt x="249" y="178"/>
                      <a:pt x="250" y="179"/>
                    </a:cubicBezTo>
                    <a:cubicBezTo>
                      <a:pt x="250" y="179"/>
                      <a:pt x="250" y="179"/>
                      <a:pt x="250" y="179"/>
                    </a:cubicBezTo>
                    <a:cubicBezTo>
                      <a:pt x="249" y="178"/>
                      <a:pt x="249" y="178"/>
                      <a:pt x="249" y="178"/>
                    </a:cubicBezTo>
                    <a:close/>
                    <a:moveTo>
                      <a:pt x="395" y="1298"/>
                    </a:moveTo>
                    <a:cubicBezTo>
                      <a:pt x="396" y="1292"/>
                      <a:pt x="399" y="1290"/>
                      <a:pt x="399" y="1285"/>
                    </a:cubicBezTo>
                    <a:cubicBezTo>
                      <a:pt x="402" y="1269"/>
                      <a:pt x="399" y="1249"/>
                      <a:pt x="399" y="1231"/>
                    </a:cubicBezTo>
                    <a:cubicBezTo>
                      <a:pt x="399" y="1213"/>
                      <a:pt x="399" y="1196"/>
                      <a:pt x="399" y="1178"/>
                    </a:cubicBezTo>
                    <a:cubicBezTo>
                      <a:pt x="399" y="1177"/>
                      <a:pt x="399" y="1175"/>
                      <a:pt x="399" y="1174"/>
                    </a:cubicBezTo>
                    <a:cubicBezTo>
                      <a:pt x="399" y="1151"/>
                      <a:pt x="400" y="1127"/>
                      <a:pt x="401" y="1105"/>
                    </a:cubicBezTo>
                    <a:cubicBezTo>
                      <a:pt x="401" y="1093"/>
                      <a:pt x="401" y="1082"/>
                      <a:pt x="400" y="1072"/>
                    </a:cubicBezTo>
                    <a:cubicBezTo>
                      <a:pt x="399" y="1047"/>
                      <a:pt x="392" y="1022"/>
                      <a:pt x="387" y="996"/>
                    </a:cubicBezTo>
                    <a:cubicBezTo>
                      <a:pt x="387" y="992"/>
                      <a:pt x="386" y="987"/>
                      <a:pt x="385" y="982"/>
                    </a:cubicBezTo>
                    <a:cubicBezTo>
                      <a:pt x="384" y="982"/>
                      <a:pt x="384" y="982"/>
                      <a:pt x="384" y="982"/>
                    </a:cubicBezTo>
                    <a:cubicBezTo>
                      <a:pt x="377" y="939"/>
                      <a:pt x="370" y="897"/>
                      <a:pt x="362" y="852"/>
                    </a:cubicBezTo>
                    <a:cubicBezTo>
                      <a:pt x="357" y="829"/>
                      <a:pt x="350" y="794"/>
                      <a:pt x="354" y="775"/>
                    </a:cubicBezTo>
                    <a:cubicBezTo>
                      <a:pt x="354" y="772"/>
                      <a:pt x="355" y="769"/>
                      <a:pt x="357" y="767"/>
                    </a:cubicBezTo>
                    <a:cubicBezTo>
                      <a:pt x="359" y="765"/>
                      <a:pt x="360" y="766"/>
                      <a:pt x="361" y="765"/>
                    </a:cubicBezTo>
                    <a:cubicBezTo>
                      <a:pt x="362" y="764"/>
                      <a:pt x="360" y="763"/>
                      <a:pt x="361" y="761"/>
                    </a:cubicBezTo>
                    <a:cubicBezTo>
                      <a:pt x="364" y="748"/>
                      <a:pt x="359" y="732"/>
                      <a:pt x="358" y="717"/>
                    </a:cubicBezTo>
                    <a:cubicBezTo>
                      <a:pt x="357" y="700"/>
                      <a:pt x="357" y="685"/>
                      <a:pt x="355" y="671"/>
                    </a:cubicBezTo>
                    <a:cubicBezTo>
                      <a:pt x="354" y="658"/>
                      <a:pt x="352" y="643"/>
                      <a:pt x="350" y="628"/>
                    </a:cubicBezTo>
                    <a:cubicBezTo>
                      <a:pt x="348" y="613"/>
                      <a:pt x="343" y="596"/>
                      <a:pt x="345" y="585"/>
                    </a:cubicBezTo>
                    <a:cubicBezTo>
                      <a:pt x="347" y="574"/>
                      <a:pt x="364" y="555"/>
                      <a:pt x="369" y="547"/>
                    </a:cubicBezTo>
                    <a:cubicBezTo>
                      <a:pt x="377" y="535"/>
                      <a:pt x="388" y="521"/>
                      <a:pt x="392" y="509"/>
                    </a:cubicBezTo>
                    <a:cubicBezTo>
                      <a:pt x="398" y="491"/>
                      <a:pt x="398" y="466"/>
                      <a:pt x="396" y="442"/>
                    </a:cubicBezTo>
                    <a:cubicBezTo>
                      <a:pt x="394" y="416"/>
                      <a:pt x="394" y="394"/>
                      <a:pt x="391" y="372"/>
                    </a:cubicBezTo>
                    <a:cubicBezTo>
                      <a:pt x="389" y="350"/>
                      <a:pt x="387" y="329"/>
                      <a:pt x="383" y="306"/>
                    </a:cubicBezTo>
                    <a:cubicBezTo>
                      <a:pt x="381" y="289"/>
                      <a:pt x="377" y="259"/>
                      <a:pt x="370" y="245"/>
                    </a:cubicBezTo>
                    <a:cubicBezTo>
                      <a:pt x="362" y="230"/>
                      <a:pt x="338" y="223"/>
                      <a:pt x="320" y="218"/>
                    </a:cubicBezTo>
                    <a:cubicBezTo>
                      <a:pt x="304" y="212"/>
                      <a:pt x="284" y="209"/>
                      <a:pt x="269" y="201"/>
                    </a:cubicBezTo>
                    <a:cubicBezTo>
                      <a:pt x="262" y="196"/>
                      <a:pt x="258" y="188"/>
                      <a:pt x="251" y="180"/>
                    </a:cubicBezTo>
                    <a:cubicBezTo>
                      <a:pt x="250" y="180"/>
                      <a:pt x="250" y="179"/>
                      <a:pt x="250" y="179"/>
                    </a:cubicBezTo>
                    <a:cubicBezTo>
                      <a:pt x="241" y="196"/>
                      <a:pt x="228" y="215"/>
                      <a:pt x="217" y="232"/>
                    </a:cubicBezTo>
                    <a:cubicBezTo>
                      <a:pt x="207" y="249"/>
                      <a:pt x="199" y="267"/>
                      <a:pt x="186" y="282"/>
                    </a:cubicBezTo>
                    <a:cubicBezTo>
                      <a:pt x="179" y="271"/>
                      <a:pt x="171" y="262"/>
                      <a:pt x="164" y="251"/>
                    </a:cubicBezTo>
                    <a:cubicBezTo>
                      <a:pt x="187" y="223"/>
                      <a:pt x="214" y="196"/>
                      <a:pt x="238" y="169"/>
                    </a:cubicBezTo>
                    <a:cubicBezTo>
                      <a:pt x="238" y="168"/>
                      <a:pt x="238" y="168"/>
                      <a:pt x="238" y="168"/>
                    </a:cubicBezTo>
                    <a:cubicBezTo>
                      <a:pt x="238" y="167"/>
                      <a:pt x="238" y="167"/>
                      <a:pt x="238" y="167"/>
                    </a:cubicBezTo>
                    <a:cubicBezTo>
                      <a:pt x="236" y="165"/>
                      <a:pt x="234" y="162"/>
                      <a:pt x="233" y="158"/>
                    </a:cubicBezTo>
                    <a:cubicBezTo>
                      <a:pt x="229" y="136"/>
                      <a:pt x="247" y="119"/>
                      <a:pt x="248" y="97"/>
                    </a:cubicBezTo>
                    <a:cubicBezTo>
                      <a:pt x="249" y="89"/>
                      <a:pt x="245" y="82"/>
                      <a:pt x="244" y="72"/>
                    </a:cubicBezTo>
                    <a:cubicBezTo>
                      <a:pt x="243" y="58"/>
                      <a:pt x="244" y="47"/>
                      <a:pt x="240" y="39"/>
                    </a:cubicBezTo>
                    <a:cubicBezTo>
                      <a:pt x="231" y="19"/>
                      <a:pt x="212" y="5"/>
                      <a:pt x="185" y="1"/>
                    </a:cubicBezTo>
                    <a:cubicBezTo>
                      <a:pt x="185" y="0"/>
                      <a:pt x="185" y="0"/>
                      <a:pt x="185" y="0"/>
                    </a:cubicBezTo>
                    <a:cubicBezTo>
                      <a:pt x="179" y="0"/>
                      <a:pt x="179" y="0"/>
                      <a:pt x="179" y="0"/>
                    </a:cubicBezTo>
                    <a:cubicBezTo>
                      <a:pt x="164" y="5"/>
                      <a:pt x="153" y="1"/>
                      <a:pt x="142" y="6"/>
                    </a:cubicBezTo>
                    <a:cubicBezTo>
                      <a:pt x="116" y="17"/>
                      <a:pt x="108" y="44"/>
                      <a:pt x="110" y="80"/>
                    </a:cubicBezTo>
                    <a:cubicBezTo>
                      <a:pt x="111" y="112"/>
                      <a:pt x="116" y="145"/>
                      <a:pt x="127" y="167"/>
                    </a:cubicBezTo>
                    <a:cubicBezTo>
                      <a:pt x="132" y="177"/>
                      <a:pt x="138" y="183"/>
                      <a:pt x="139" y="191"/>
                    </a:cubicBezTo>
                    <a:cubicBezTo>
                      <a:pt x="140" y="201"/>
                      <a:pt x="136" y="211"/>
                      <a:pt x="131" y="219"/>
                    </a:cubicBezTo>
                    <a:cubicBezTo>
                      <a:pt x="126" y="227"/>
                      <a:pt x="122" y="237"/>
                      <a:pt x="117" y="241"/>
                    </a:cubicBezTo>
                    <a:cubicBezTo>
                      <a:pt x="106" y="250"/>
                      <a:pt x="89" y="252"/>
                      <a:pt x="77" y="260"/>
                    </a:cubicBezTo>
                    <a:cubicBezTo>
                      <a:pt x="68" y="265"/>
                      <a:pt x="51" y="277"/>
                      <a:pt x="47" y="286"/>
                    </a:cubicBezTo>
                    <a:cubicBezTo>
                      <a:pt x="43" y="297"/>
                      <a:pt x="43" y="316"/>
                      <a:pt x="41" y="331"/>
                    </a:cubicBezTo>
                    <a:cubicBezTo>
                      <a:pt x="39" y="346"/>
                      <a:pt x="36" y="361"/>
                      <a:pt x="34" y="376"/>
                    </a:cubicBezTo>
                    <a:cubicBezTo>
                      <a:pt x="30" y="443"/>
                      <a:pt x="31" y="510"/>
                      <a:pt x="31" y="578"/>
                    </a:cubicBezTo>
                    <a:cubicBezTo>
                      <a:pt x="31" y="611"/>
                      <a:pt x="48" y="631"/>
                      <a:pt x="66" y="646"/>
                    </a:cubicBezTo>
                    <a:cubicBezTo>
                      <a:pt x="62" y="665"/>
                      <a:pt x="66" y="683"/>
                      <a:pt x="66" y="702"/>
                    </a:cubicBezTo>
                    <a:cubicBezTo>
                      <a:pt x="67" y="721"/>
                      <a:pt x="67" y="741"/>
                      <a:pt x="70" y="760"/>
                    </a:cubicBezTo>
                    <a:cubicBezTo>
                      <a:pt x="74" y="794"/>
                      <a:pt x="84" y="828"/>
                      <a:pt x="89" y="862"/>
                    </a:cubicBezTo>
                    <a:cubicBezTo>
                      <a:pt x="94" y="897"/>
                      <a:pt x="99" y="932"/>
                      <a:pt x="104" y="968"/>
                    </a:cubicBezTo>
                    <a:cubicBezTo>
                      <a:pt x="109" y="1004"/>
                      <a:pt x="116" y="1042"/>
                      <a:pt x="115" y="1078"/>
                    </a:cubicBezTo>
                    <a:cubicBezTo>
                      <a:pt x="115" y="1105"/>
                      <a:pt x="109" y="1133"/>
                      <a:pt x="106" y="1159"/>
                    </a:cubicBezTo>
                    <a:cubicBezTo>
                      <a:pt x="103" y="1178"/>
                      <a:pt x="97" y="1198"/>
                      <a:pt x="94" y="1215"/>
                    </a:cubicBezTo>
                    <a:cubicBezTo>
                      <a:pt x="92" y="1221"/>
                      <a:pt x="92" y="1229"/>
                      <a:pt x="90" y="1235"/>
                    </a:cubicBezTo>
                    <a:cubicBezTo>
                      <a:pt x="89" y="1240"/>
                      <a:pt x="83" y="1245"/>
                      <a:pt x="79" y="1251"/>
                    </a:cubicBezTo>
                    <a:cubicBezTo>
                      <a:pt x="75" y="1256"/>
                      <a:pt x="73" y="1263"/>
                      <a:pt x="68" y="1266"/>
                    </a:cubicBezTo>
                    <a:cubicBezTo>
                      <a:pt x="59" y="1274"/>
                      <a:pt x="44" y="1278"/>
                      <a:pt x="33" y="1284"/>
                    </a:cubicBezTo>
                    <a:cubicBezTo>
                      <a:pt x="21" y="1290"/>
                      <a:pt x="9" y="1295"/>
                      <a:pt x="0" y="1304"/>
                    </a:cubicBezTo>
                    <a:cubicBezTo>
                      <a:pt x="0" y="1307"/>
                      <a:pt x="0" y="1307"/>
                      <a:pt x="0" y="1307"/>
                    </a:cubicBezTo>
                    <a:cubicBezTo>
                      <a:pt x="1" y="1312"/>
                      <a:pt x="2" y="1317"/>
                      <a:pt x="4" y="1321"/>
                    </a:cubicBezTo>
                    <a:cubicBezTo>
                      <a:pt x="24" y="1330"/>
                      <a:pt x="58" y="1329"/>
                      <a:pt x="79" y="1321"/>
                    </a:cubicBezTo>
                    <a:cubicBezTo>
                      <a:pt x="94" y="1315"/>
                      <a:pt x="103" y="1302"/>
                      <a:pt x="117" y="1298"/>
                    </a:cubicBezTo>
                    <a:cubicBezTo>
                      <a:pt x="139" y="1305"/>
                      <a:pt x="169" y="1300"/>
                      <a:pt x="182" y="1288"/>
                    </a:cubicBezTo>
                    <a:cubicBezTo>
                      <a:pt x="185" y="1277"/>
                      <a:pt x="184" y="1264"/>
                      <a:pt x="189" y="1254"/>
                    </a:cubicBezTo>
                    <a:cubicBezTo>
                      <a:pt x="190" y="1250"/>
                      <a:pt x="195" y="1247"/>
                      <a:pt x="197" y="1243"/>
                    </a:cubicBezTo>
                    <a:cubicBezTo>
                      <a:pt x="203" y="1225"/>
                      <a:pt x="192" y="1201"/>
                      <a:pt x="195" y="1179"/>
                    </a:cubicBezTo>
                    <a:cubicBezTo>
                      <a:pt x="196" y="1174"/>
                      <a:pt x="199" y="1170"/>
                      <a:pt x="199" y="1166"/>
                    </a:cubicBezTo>
                    <a:cubicBezTo>
                      <a:pt x="199" y="1162"/>
                      <a:pt x="197" y="1159"/>
                      <a:pt x="197" y="1156"/>
                    </a:cubicBezTo>
                    <a:cubicBezTo>
                      <a:pt x="197" y="1150"/>
                      <a:pt x="199" y="1145"/>
                      <a:pt x="200" y="1140"/>
                    </a:cubicBezTo>
                    <a:cubicBezTo>
                      <a:pt x="200" y="1134"/>
                      <a:pt x="200" y="1128"/>
                      <a:pt x="201" y="1122"/>
                    </a:cubicBezTo>
                    <a:cubicBezTo>
                      <a:pt x="202" y="1045"/>
                      <a:pt x="210" y="972"/>
                      <a:pt x="213" y="903"/>
                    </a:cubicBezTo>
                    <a:cubicBezTo>
                      <a:pt x="218" y="907"/>
                      <a:pt x="219" y="914"/>
                      <a:pt x="220" y="919"/>
                    </a:cubicBezTo>
                    <a:cubicBezTo>
                      <a:pt x="227" y="937"/>
                      <a:pt x="232" y="954"/>
                      <a:pt x="238" y="973"/>
                    </a:cubicBezTo>
                    <a:cubicBezTo>
                      <a:pt x="245" y="996"/>
                      <a:pt x="256" y="1020"/>
                      <a:pt x="261" y="1044"/>
                    </a:cubicBezTo>
                    <a:cubicBezTo>
                      <a:pt x="264" y="1054"/>
                      <a:pt x="264" y="1065"/>
                      <a:pt x="265" y="1076"/>
                    </a:cubicBezTo>
                    <a:cubicBezTo>
                      <a:pt x="267" y="1086"/>
                      <a:pt x="268" y="1097"/>
                      <a:pt x="270" y="1107"/>
                    </a:cubicBezTo>
                    <a:cubicBezTo>
                      <a:pt x="275" y="1135"/>
                      <a:pt x="277" y="1164"/>
                      <a:pt x="279" y="1192"/>
                    </a:cubicBezTo>
                    <a:cubicBezTo>
                      <a:pt x="279" y="1204"/>
                      <a:pt x="280" y="1215"/>
                      <a:pt x="281" y="1227"/>
                    </a:cubicBezTo>
                    <a:cubicBezTo>
                      <a:pt x="281" y="1236"/>
                      <a:pt x="282" y="1244"/>
                      <a:pt x="282" y="1253"/>
                    </a:cubicBezTo>
                    <a:cubicBezTo>
                      <a:pt x="283" y="1253"/>
                      <a:pt x="283" y="1253"/>
                      <a:pt x="283" y="1253"/>
                    </a:cubicBezTo>
                    <a:cubicBezTo>
                      <a:pt x="284" y="1268"/>
                      <a:pt x="285" y="1284"/>
                      <a:pt x="287" y="1299"/>
                    </a:cubicBezTo>
                    <a:cubicBezTo>
                      <a:pt x="292" y="1302"/>
                      <a:pt x="301" y="1300"/>
                      <a:pt x="305" y="1303"/>
                    </a:cubicBezTo>
                    <a:cubicBezTo>
                      <a:pt x="307" y="1309"/>
                      <a:pt x="305" y="1318"/>
                      <a:pt x="306" y="1326"/>
                    </a:cubicBezTo>
                    <a:cubicBezTo>
                      <a:pt x="297" y="1345"/>
                      <a:pt x="284" y="1360"/>
                      <a:pt x="269" y="1375"/>
                    </a:cubicBezTo>
                    <a:cubicBezTo>
                      <a:pt x="261" y="1382"/>
                      <a:pt x="249" y="1393"/>
                      <a:pt x="250" y="1404"/>
                    </a:cubicBezTo>
                    <a:cubicBezTo>
                      <a:pt x="252" y="1417"/>
                      <a:pt x="274" y="1417"/>
                      <a:pt x="288" y="1419"/>
                    </a:cubicBezTo>
                    <a:cubicBezTo>
                      <a:pt x="288" y="1420"/>
                      <a:pt x="288" y="1420"/>
                      <a:pt x="288" y="1420"/>
                    </a:cubicBezTo>
                    <a:cubicBezTo>
                      <a:pt x="298" y="1420"/>
                      <a:pt x="298" y="1420"/>
                      <a:pt x="298" y="1420"/>
                    </a:cubicBezTo>
                    <a:cubicBezTo>
                      <a:pt x="334" y="1416"/>
                      <a:pt x="359" y="1401"/>
                      <a:pt x="374" y="1377"/>
                    </a:cubicBezTo>
                    <a:cubicBezTo>
                      <a:pt x="387" y="1376"/>
                      <a:pt x="394" y="1367"/>
                      <a:pt x="402" y="1359"/>
                    </a:cubicBezTo>
                    <a:cubicBezTo>
                      <a:pt x="402" y="1356"/>
                      <a:pt x="402" y="1352"/>
                      <a:pt x="403" y="1349"/>
                    </a:cubicBezTo>
                    <a:cubicBezTo>
                      <a:pt x="403" y="1343"/>
                      <a:pt x="403" y="1343"/>
                      <a:pt x="403" y="1343"/>
                    </a:cubicBezTo>
                    <a:cubicBezTo>
                      <a:pt x="405" y="1326"/>
                      <a:pt x="395" y="1311"/>
                      <a:pt x="395" y="1298"/>
                    </a:cubicBezTo>
                    <a:close/>
                    <a:moveTo>
                      <a:pt x="113" y="340"/>
                    </a:moveTo>
                    <a:cubicBezTo>
                      <a:pt x="109" y="350"/>
                      <a:pt x="106" y="361"/>
                      <a:pt x="101" y="369"/>
                    </a:cubicBezTo>
                    <a:cubicBezTo>
                      <a:pt x="100" y="341"/>
                      <a:pt x="108" y="321"/>
                      <a:pt x="114" y="299"/>
                    </a:cubicBezTo>
                    <a:cubicBezTo>
                      <a:pt x="122" y="289"/>
                      <a:pt x="133" y="280"/>
                      <a:pt x="142" y="270"/>
                    </a:cubicBezTo>
                    <a:cubicBezTo>
                      <a:pt x="145" y="274"/>
                      <a:pt x="145" y="281"/>
                      <a:pt x="149" y="285"/>
                    </a:cubicBezTo>
                    <a:cubicBezTo>
                      <a:pt x="135" y="301"/>
                      <a:pt x="124" y="321"/>
                      <a:pt x="113" y="340"/>
                    </a:cubicBezTo>
                    <a:close/>
                    <a:moveTo>
                      <a:pt x="114" y="293"/>
                    </a:moveTo>
                    <a:cubicBezTo>
                      <a:pt x="121" y="267"/>
                      <a:pt x="125" y="238"/>
                      <a:pt x="135" y="215"/>
                    </a:cubicBezTo>
                    <a:cubicBezTo>
                      <a:pt x="137" y="215"/>
                      <a:pt x="137" y="215"/>
                      <a:pt x="137" y="215"/>
                    </a:cubicBezTo>
                    <a:cubicBezTo>
                      <a:pt x="145" y="225"/>
                      <a:pt x="153" y="236"/>
                      <a:pt x="159" y="249"/>
                    </a:cubicBezTo>
                    <a:cubicBezTo>
                      <a:pt x="145" y="265"/>
                      <a:pt x="130" y="280"/>
                      <a:pt x="114" y="293"/>
                    </a:cubicBezTo>
                    <a:close/>
                    <a:moveTo>
                      <a:pt x="163" y="333"/>
                    </a:moveTo>
                    <a:cubicBezTo>
                      <a:pt x="159" y="320"/>
                      <a:pt x="164" y="301"/>
                      <a:pt x="161" y="289"/>
                    </a:cubicBezTo>
                    <a:cubicBezTo>
                      <a:pt x="166" y="283"/>
                      <a:pt x="172" y="280"/>
                      <a:pt x="175" y="273"/>
                    </a:cubicBezTo>
                    <a:cubicBezTo>
                      <a:pt x="180" y="275"/>
                      <a:pt x="181" y="281"/>
                      <a:pt x="185" y="285"/>
                    </a:cubicBezTo>
                    <a:cubicBezTo>
                      <a:pt x="178" y="301"/>
                      <a:pt x="171" y="318"/>
                      <a:pt x="163" y="333"/>
                    </a:cubicBezTo>
                    <a:close/>
                  </a:path>
                </a:pathLst>
              </a:custGeom>
              <a:solidFill>
                <a:srgbClr val="17375E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>
                  <a:solidFill>
                    <a:sysClr val="windowText" lastClr="000000"/>
                  </a:solidFill>
                  <a:latin typeface="+mn-lt"/>
                  <a:cs typeface="+mn-cs"/>
                </a:endParaRPr>
              </a:p>
            </p:txBody>
          </p:sp>
        </p:grpSp>
        <p:sp>
          <p:nvSpPr>
            <p:cNvPr id="77" name="Kombinationstegning 89"/>
            <p:cNvSpPr/>
            <p:nvPr/>
          </p:nvSpPr>
          <p:spPr bwMode="auto">
            <a:xfrm>
              <a:off x="4839020" y="2363667"/>
              <a:ext cx="223598" cy="494022"/>
            </a:xfrm>
            <a:custGeom>
              <a:avLst/>
              <a:gdLst>
                <a:gd name="connsiteX0" fmla="*/ 186267 w 241300"/>
                <a:gd name="connsiteY0" fmla="*/ 279400 h 537633"/>
                <a:gd name="connsiteX1" fmla="*/ 186267 w 241300"/>
                <a:gd name="connsiteY1" fmla="*/ 165100 h 537633"/>
                <a:gd name="connsiteX2" fmla="*/ 182034 w 241300"/>
                <a:gd name="connsiteY2" fmla="*/ 131233 h 537633"/>
                <a:gd name="connsiteX3" fmla="*/ 241300 w 241300"/>
                <a:gd name="connsiteY3" fmla="*/ 71966 h 537633"/>
                <a:gd name="connsiteX4" fmla="*/ 203200 w 241300"/>
                <a:gd name="connsiteY4" fmla="*/ 8466 h 537633"/>
                <a:gd name="connsiteX5" fmla="*/ 186267 w 241300"/>
                <a:gd name="connsiteY5" fmla="*/ 0 h 537633"/>
                <a:gd name="connsiteX6" fmla="*/ 127000 w 241300"/>
                <a:gd name="connsiteY6" fmla="*/ 46566 h 537633"/>
                <a:gd name="connsiteX7" fmla="*/ 148167 w 241300"/>
                <a:gd name="connsiteY7" fmla="*/ 118533 h 537633"/>
                <a:gd name="connsiteX8" fmla="*/ 93134 w 241300"/>
                <a:gd name="connsiteY8" fmla="*/ 203200 h 537633"/>
                <a:gd name="connsiteX9" fmla="*/ 42334 w 241300"/>
                <a:gd name="connsiteY9" fmla="*/ 262466 h 537633"/>
                <a:gd name="connsiteX10" fmla="*/ 4234 w 241300"/>
                <a:gd name="connsiteY10" fmla="*/ 355600 h 537633"/>
                <a:gd name="connsiteX11" fmla="*/ 0 w 241300"/>
                <a:gd name="connsiteY11" fmla="*/ 385233 h 537633"/>
                <a:gd name="connsiteX12" fmla="*/ 46567 w 241300"/>
                <a:gd name="connsiteY12" fmla="*/ 537633 h 537633"/>
                <a:gd name="connsiteX13" fmla="*/ 186267 w 241300"/>
                <a:gd name="connsiteY13" fmla="*/ 279400 h 5376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41300" h="537633">
                  <a:moveTo>
                    <a:pt x="186267" y="279400"/>
                  </a:moveTo>
                  <a:lnTo>
                    <a:pt x="186267" y="165100"/>
                  </a:lnTo>
                  <a:lnTo>
                    <a:pt x="182034" y="131233"/>
                  </a:lnTo>
                  <a:lnTo>
                    <a:pt x="241300" y="71966"/>
                  </a:lnTo>
                  <a:lnTo>
                    <a:pt x="203200" y="8466"/>
                  </a:lnTo>
                  <a:lnTo>
                    <a:pt x="186267" y="0"/>
                  </a:lnTo>
                  <a:lnTo>
                    <a:pt x="127000" y="46566"/>
                  </a:lnTo>
                  <a:lnTo>
                    <a:pt x="148167" y="118533"/>
                  </a:lnTo>
                  <a:lnTo>
                    <a:pt x="93134" y="203200"/>
                  </a:lnTo>
                  <a:lnTo>
                    <a:pt x="42334" y="262466"/>
                  </a:lnTo>
                  <a:lnTo>
                    <a:pt x="4234" y="355600"/>
                  </a:lnTo>
                  <a:lnTo>
                    <a:pt x="0" y="385233"/>
                  </a:lnTo>
                  <a:lnTo>
                    <a:pt x="46567" y="537633"/>
                  </a:lnTo>
                  <a:lnTo>
                    <a:pt x="186267" y="279400"/>
                  </a:lnTo>
                  <a:close/>
                </a:path>
              </a:pathLst>
            </a:custGeom>
            <a:grpFill/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indent="-342900" algn="ctr" fontAlgn="auto">
                <a:spcBef>
                  <a:spcPts val="0"/>
                </a:spcBef>
                <a:spcAft>
                  <a:spcPts val="0"/>
                </a:spcAft>
                <a:buFont typeface="+mj-lt"/>
                <a:buAutoNum type="arabicPeriod"/>
                <a:defRPr/>
              </a:pPr>
              <a:endParaRPr lang="da-DK" kern="0" noProof="1">
                <a:solidFill>
                  <a:sysClr val="window" lastClr="FFFFFF"/>
                </a:solidFill>
                <a:latin typeface="Calibri"/>
                <a:cs typeface="+mn-cs"/>
              </a:endParaRPr>
            </a:p>
          </p:txBody>
        </p:sp>
      </p:grpSp>
      <p:grpSp>
        <p:nvGrpSpPr>
          <p:cNvPr id="80" name="Gruppe 203"/>
          <p:cNvGrpSpPr>
            <a:grpSpLocks/>
          </p:cNvGrpSpPr>
          <p:nvPr/>
        </p:nvGrpSpPr>
        <p:grpSpPr bwMode="auto">
          <a:xfrm>
            <a:off x="5601648" y="1950147"/>
            <a:ext cx="523629" cy="697253"/>
            <a:chOff x="5947532" y="1849623"/>
            <a:chExt cx="602159" cy="802872"/>
          </a:xfrm>
          <a:solidFill>
            <a:srgbClr val="17375E"/>
          </a:solidFill>
        </p:grpSpPr>
        <p:grpSp>
          <p:nvGrpSpPr>
            <p:cNvPr id="81" name="Gruppe 65"/>
            <p:cNvGrpSpPr>
              <a:grpSpLocks/>
            </p:cNvGrpSpPr>
            <p:nvPr/>
          </p:nvGrpSpPr>
          <p:grpSpPr bwMode="auto">
            <a:xfrm flipH="1">
              <a:off x="5947532" y="1937714"/>
              <a:ext cx="293165" cy="707852"/>
              <a:chOff x="506412" y="1654175"/>
              <a:chExt cx="1625600" cy="3600450"/>
            </a:xfrm>
            <a:grpFill/>
          </p:grpSpPr>
          <p:sp>
            <p:nvSpPr>
              <p:cNvPr id="91" name="Freeform 64"/>
              <p:cNvSpPr>
                <a:spLocks/>
              </p:cNvSpPr>
              <p:nvPr/>
            </p:nvSpPr>
            <p:spPr bwMode="auto">
              <a:xfrm>
                <a:off x="726128" y="1867902"/>
                <a:ext cx="386618" cy="815142"/>
              </a:xfrm>
              <a:custGeom>
                <a:avLst/>
                <a:gdLst>
                  <a:gd name="T0" fmla="*/ 209550 w 246"/>
                  <a:gd name="T1" fmla="*/ 508000 h 512"/>
                  <a:gd name="T2" fmla="*/ 234950 w 246"/>
                  <a:gd name="T3" fmla="*/ 508000 h 512"/>
                  <a:gd name="T4" fmla="*/ 304800 w 246"/>
                  <a:gd name="T5" fmla="*/ 812800 h 512"/>
                  <a:gd name="T6" fmla="*/ 292100 w 246"/>
                  <a:gd name="T7" fmla="*/ 485775 h 512"/>
                  <a:gd name="T8" fmla="*/ 314325 w 246"/>
                  <a:gd name="T9" fmla="*/ 473075 h 512"/>
                  <a:gd name="T10" fmla="*/ 330200 w 246"/>
                  <a:gd name="T11" fmla="*/ 466725 h 512"/>
                  <a:gd name="T12" fmla="*/ 346075 w 246"/>
                  <a:gd name="T13" fmla="*/ 457200 h 512"/>
                  <a:gd name="T14" fmla="*/ 358775 w 246"/>
                  <a:gd name="T15" fmla="*/ 447675 h 512"/>
                  <a:gd name="T16" fmla="*/ 371475 w 246"/>
                  <a:gd name="T17" fmla="*/ 434975 h 512"/>
                  <a:gd name="T18" fmla="*/ 377825 w 246"/>
                  <a:gd name="T19" fmla="*/ 419100 h 512"/>
                  <a:gd name="T20" fmla="*/ 384175 w 246"/>
                  <a:gd name="T21" fmla="*/ 406400 h 512"/>
                  <a:gd name="T22" fmla="*/ 387350 w 246"/>
                  <a:gd name="T23" fmla="*/ 390525 h 512"/>
                  <a:gd name="T24" fmla="*/ 390525 w 246"/>
                  <a:gd name="T25" fmla="*/ 384175 h 512"/>
                  <a:gd name="T26" fmla="*/ 368300 w 246"/>
                  <a:gd name="T27" fmla="*/ 336550 h 512"/>
                  <a:gd name="T28" fmla="*/ 368300 w 246"/>
                  <a:gd name="T29" fmla="*/ 285750 h 512"/>
                  <a:gd name="T30" fmla="*/ 361950 w 246"/>
                  <a:gd name="T31" fmla="*/ 244475 h 512"/>
                  <a:gd name="T32" fmla="*/ 371475 w 246"/>
                  <a:gd name="T33" fmla="*/ 219075 h 512"/>
                  <a:gd name="T34" fmla="*/ 374650 w 246"/>
                  <a:gd name="T35" fmla="*/ 200025 h 512"/>
                  <a:gd name="T36" fmla="*/ 368300 w 246"/>
                  <a:gd name="T37" fmla="*/ 174625 h 512"/>
                  <a:gd name="T38" fmla="*/ 361950 w 246"/>
                  <a:gd name="T39" fmla="*/ 155575 h 512"/>
                  <a:gd name="T40" fmla="*/ 349250 w 246"/>
                  <a:gd name="T41" fmla="*/ 142875 h 512"/>
                  <a:gd name="T42" fmla="*/ 346075 w 246"/>
                  <a:gd name="T43" fmla="*/ 149225 h 512"/>
                  <a:gd name="T44" fmla="*/ 342900 w 246"/>
                  <a:gd name="T45" fmla="*/ 155575 h 512"/>
                  <a:gd name="T46" fmla="*/ 320675 w 246"/>
                  <a:gd name="T47" fmla="*/ 88900 h 512"/>
                  <a:gd name="T48" fmla="*/ 304800 w 246"/>
                  <a:gd name="T49" fmla="*/ 60325 h 512"/>
                  <a:gd name="T50" fmla="*/ 288925 w 246"/>
                  <a:gd name="T51" fmla="*/ 31750 h 512"/>
                  <a:gd name="T52" fmla="*/ 234950 w 246"/>
                  <a:gd name="T53" fmla="*/ 9525 h 512"/>
                  <a:gd name="T54" fmla="*/ 209550 w 246"/>
                  <a:gd name="T55" fmla="*/ 3175 h 512"/>
                  <a:gd name="T56" fmla="*/ 180975 w 246"/>
                  <a:gd name="T57" fmla="*/ 3175 h 512"/>
                  <a:gd name="T58" fmla="*/ 152400 w 246"/>
                  <a:gd name="T59" fmla="*/ 0 h 512"/>
                  <a:gd name="T60" fmla="*/ 127000 w 246"/>
                  <a:gd name="T61" fmla="*/ 6350 h 512"/>
                  <a:gd name="T62" fmla="*/ 69850 w 246"/>
                  <a:gd name="T63" fmla="*/ 25400 h 512"/>
                  <a:gd name="T64" fmla="*/ 44450 w 246"/>
                  <a:gd name="T65" fmla="*/ 53975 h 512"/>
                  <a:gd name="T66" fmla="*/ 31750 w 246"/>
                  <a:gd name="T67" fmla="*/ 66675 h 512"/>
                  <a:gd name="T68" fmla="*/ 22225 w 246"/>
                  <a:gd name="T69" fmla="*/ 82550 h 512"/>
                  <a:gd name="T70" fmla="*/ 9525 w 246"/>
                  <a:gd name="T71" fmla="*/ 114300 h 512"/>
                  <a:gd name="T72" fmla="*/ 0 w 246"/>
                  <a:gd name="T73" fmla="*/ 142875 h 512"/>
                  <a:gd name="T74" fmla="*/ 34925 w 246"/>
                  <a:gd name="T75" fmla="*/ 257175 h 512"/>
                  <a:gd name="T76" fmla="*/ 31750 w 246"/>
                  <a:gd name="T77" fmla="*/ 250825 h 512"/>
                  <a:gd name="T78" fmla="*/ 28575 w 246"/>
                  <a:gd name="T79" fmla="*/ 250825 h 512"/>
                  <a:gd name="T80" fmla="*/ 28575 w 246"/>
                  <a:gd name="T81" fmla="*/ 254000 h 512"/>
                  <a:gd name="T82" fmla="*/ 25400 w 246"/>
                  <a:gd name="T83" fmla="*/ 260350 h 512"/>
                  <a:gd name="T84" fmla="*/ 28575 w 246"/>
                  <a:gd name="T85" fmla="*/ 269875 h 512"/>
                  <a:gd name="T86" fmla="*/ 34925 w 246"/>
                  <a:gd name="T87" fmla="*/ 282575 h 512"/>
                  <a:gd name="T88" fmla="*/ 44450 w 246"/>
                  <a:gd name="T89" fmla="*/ 301625 h 512"/>
                  <a:gd name="T90" fmla="*/ 57150 w 246"/>
                  <a:gd name="T91" fmla="*/ 323850 h 512"/>
                  <a:gd name="T92" fmla="*/ 82550 w 246"/>
                  <a:gd name="T93" fmla="*/ 361950 h 512"/>
                  <a:gd name="T94" fmla="*/ 107950 w 246"/>
                  <a:gd name="T95" fmla="*/ 400050 h 512"/>
                  <a:gd name="T96" fmla="*/ 136525 w 246"/>
                  <a:gd name="T97" fmla="*/ 431800 h 512"/>
                  <a:gd name="T98" fmla="*/ 161925 w 246"/>
                  <a:gd name="T99" fmla="*/ 457200 h 512"/>
                  <a:gd name="T100" fmla="*/ 187325 w 246"/>
                  <a:gd name="T101" fmla="*/ 482600 h 512"/>
                  <a:gd name="T102" fmla="*/ 209550 w 246"/>
                  <a:gd name="T103" fmla="*/ 495300 h 512"/>
                  <a:gd name="T104" fmla="*/ 209550 w 246"/>
                  <a:gd name="T105" fmla="*/ 508000 h 512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w 246"/>
                  <a:gd name="T160" fmla="*/ 0 h 512"/>
                  <a:gd name="T161" fmla="*/ 246 w 246"/>
                  <a:gd name="T162" fmla="*/ 512 h 512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T159" t="T160" r="T161" b="T162"/>
                <a:pathLst>
                  <a:path w="246" h="512">
                    <a:moveTo>
                      <a:pt x="132" y="320"/>
                    </a:moveTo>
                    <a:lnTo>
                      <a:pt x="148" y="320"/>
                    </a:lnTo>
                    <a:lnTo>
                      <a:pt x="192" y="512"/>
                    </a:lnTo>
                    <a:lnTo>
                      <a:pt x="184" y="306"/>
                    </a:lnTo>
                    <a:lnTo>
                      <a:pt x="198" y="298"/>
                    </a:lnTo>
                    <a:lnTo>
                      <a:pt x="208" y="294"/>
                    </a:lnTo>
                    <a:lnTo>
                      <a:pt x="218" y="288"/>
                    </a:lnTo>
                    <a:lnTo>
                      <a:pt x="226" y="282"/>
                    </a:lnTo>
                    <a:lnTo>
                      <a:pt x="234" y="274"/>
                    </a:lnTo>
                    <a:lnTo>
                      <a:pt x="238" y="264"/>
                    </a:lnTo>
                    <a:lnTo>
                      <a:pt x="242" y="256"/>
                    </a:lnTo>
                    <a:lnTo>
                      <a:pt x="244" y="246"/>
                    </a:lnTo>
                    <a:lnTo>
                      <a:pt x="246" y="242"/>
                    </a:lnTo>
                    <a:lnTo>
                      <a:pt x="232" y="212"/>
                    </a:lnTo>
                    <a:lnTo>
                      <a:pt x="232" y="180"/>
                    </a:lnTo>
                    <a:lnTo>
                      <a:pt x="228" y="154"/>
                    </a:lnTo>
                    <a:lnTo>
                      <a:pt x="234" y="138"/>
                    </a:lnTo>
                    <a:lnTo>
                      <a:pt x="236" y="126"/>
                    </a:lnTo>
                    <a:lnTo>
                      <a:pt x="232" y="110"/>
                    </a:lnTo>
                    <a:lnTo>
                      <a:pt x="228" y="98"/>
                    </a:lnTo>
                    <a:lnTo>
                      <a:pt x="220" y="90"/>
                    </a:lnTo>
                    <a:lnTo>
                      <a:pt x="218" y="94"/>
                    </a:lnTo>
                    <a:lnTo>
                      <a:pt x="216" y="98"/>
                    </a:lnTo>
                    <a:lnTo>
                      <a:pt x="202" y="56"/>
                    </a:lnTo>
                    <a:lnTo>
                      <a:pt x="192" y="38"/>
                    </a:lnTo>
                    <a:lnTo>
                      <a:pt x="182" y="20"/>
                    </a:lnTo>
                    <a:lnTo>
                      <a:pt x="148" y="6"/>
                    </a:lnTo>
                    <a:lnTo>
                      <a:pt x="132" y="2"/>
                    </a:lnTo>
                    <a:lnTo>
                      <a:pt x="114" y="2"/>
                    </a:lnTo>
                    <a:lnTo>
                      <a:pt x="96" y="0"/>
                    </a:lnTo>
                    <a:lnTo>
                      <a:pt x="80" y="4"/>
                    </a:lnTo>
                    <a:lnTo>
                      <a:pt x="44" y="16"/>
                    </a:lnTo>
                    <a:lnTo>
                      <a:pt x="28" y="34"/>
                    </a:lnTo>
                    <a:lnTo>
                      <a:pt x="20" y="42"/>
                    </a:lnTo>
                    <a:lnTo>
                      <a:pt x="14" y="52"/>
                    </a:lnTo>
                    <a:lnTo>
                      <a:pt x="6" y="72"/>
                    </a:lnTo>
                    <a:lnTo>
                      <a:pt x="0" y="90"/>
                    </a:lnTo>
                    <a:lnTo>
                      <a:pt x="22" y="162"/>
                    </a:lnTo>
                    <a:lnTo>
                      <a:pt x="20" y="158"/>
                    </a:lnTo>
                    <a:lnTo>
                      <a:pt x="18" y="158"/>
                    </a:lnTo>
                    <a:lnTo>
                      <a:pt x="18" y="160"/>
                    </a:lnTo>
                    <a:lnTo>
                      <a:pt x="16" y="164"/>
                    </a:lnTo>
                    <a:lnTo>
                      <a:pt x="18" y="170"/>
                    </a:lnTo>
                    <a:lnTo>
                      <a:pt x="22" y="178"/>
                    </a:lnTo>
                    <a:lnTo>
                      <a:pt x="28" y="190"/>
                    </a:lnTo>
                    <a:lnTo>
                      <a:pt x="36" y="204"/>
                    </a:lnTo>
                    <a:lnTo>
                      <a:pt x="52" y="228"/>
                    </a:lnTo>
                    <a:lnTo>
                      <a:pt x="68" y="252"/>
                    </a:lnTo>
                    <a:lnTo>
                      <a:pt x="86" y="272"/>
                    </a:lnTo>
                    <a:lnTo>
                      <a:pt x="102" y="288"/>
                    </a:lnTo>
                    <a:lnTo>
                      <a:pt x="118" y="304"/>
                    </a:lnTo>
                    <a:lnTo>
                      <a:pt x="132" y="312"/>
                    </a:lnTo>
                    <a:lnTo>
                      <a:pt x="132" y="32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>
                  <a:solidFill>
                    <a:sysClr val="windowText" lastClr="000000"/>
                  </a:solidFill>
                  <a:latin typeface="+mn-lt"/>
                  <a:cs typeface="+mn-cs"/>
                </a:endParaRPr>
              </a:p>
            </p:txBody>
          </p:sp>
          <p:sp>
            <p:nvSpPr>
              <p:cNvPr id="92" name="Freeform 65"/>
              <p:cNvSpPr>
                <a:spLocks/>
              </p:cNvSpPr>
              <p:nvPr/>
            </p:nvSpPr>
            <p:spPr bwMode="auto">
              <a:xfrm>
                <a:off x="1147893" y="2166520"/>
                <a:ext cx="307534" cy="1016906"/>
              </a:xfrm>
              <a:custGeom>
                <a:avLst/>
                <a:gdLst>
                  <a:gd name="T0" fmla="*/ 3175 w 198"/>
                  <a:gd name="T1" fmla="*/ 107950 h 642"/>
                  <a:gd name="T2" fmla="*/ 0 w 198"/>
                  <a:gd name="T3" fmla="*/ 133350 h 642"/>
                  <a:gd name="T4" fmla="*/ 12700 w 198"/>
                  <a:gd name="T5" fmla="*/ 161925 h 642"/>
                  <a:gd name="T6" fmla="*/ 50800 w 198"/>
                  <a:gd name="T7" fmla="*/ 200025 h 642"/>
                  <a:gd name="T8" fmla="*/ 117475 w 198"/>
                  <a:gd name="T9" fmla="*/ 260350 h 642"/>
                  <a:gd name="T10" fmla="*/ 165100 w 198"/>
                  <a:gd name="T11" fmla="*/ 304800 h 642"/>
                  <a:gd name="T12" fmla="*/ 190500 w 198"/>
                  <a:gd name="T13" fmla="*/ 333375 h 642"/>
                  <a:gd name="T14" fmla="*/ 180975 w 198"/>
                  <a:gd name="T15" fmla="*/ 349250 h 642"/>
                  <a:gd name="T16" fmla="*/ 168275 w 198"/>
                  <a:gd name="T17" fmla="*/ 365125 h 642"/>
                  <a:gd name="T18" fmla="*/ 142875 w 198"/>
                  <a:gd name="T19" fmla="*/ 371475 h 642"/>
                  <a:gd name="T20" fmla="*/ 107950 w 198"/>
                  <a:gd name="T21" fmla="*/ 384175 h 642"/>
                  <a:gd name="T22" fmla="*/ 133350 w 198"/>
                  <a:gd name="T23" fmla="*/ 409575 h 642"/>
                  <a:gd name="T24" fmla="*/ 165100 w 198"/>
                  <a:gd name="T25" fmla="*/ 438150 h 642"/>
                  <a:gd name="T26" fmla="*/ 177800 w 198"/>
                  <a:gd name="T27" fmla="*/ 450850 h 642"/>
                  <a:gd name="T28" fmla="*/ 193675 w 198"/>
                  <a:gd name="T29" fmla="*/ 463550 h 642"/>
                  <a:gd name="T30" fmla="*/ 196850 w 198"/>
                  <a:gd name="T31" fmla="*/ 476250 h 642"/>
                  <a:gd name="T32" fmla="*/ 196850 w 198"/>
                  <a:gd name="T33" fmla="*/ 492125 h 642"/>
                  <a:gd name="T34" fmla="*/ 193675 w 198"/>
                  <a:gd name="T35" fmla="*/ 536575 h 642"/>
                  <a:gd name="T36" fmla="*/ 187325 w 198"/>
                  <a:gd name="T37" fmla="*/ 609600 h 642"/>
                  <a:gd name="T38" fmla="*/ 177800 w 198"/>
                  <a:gd name="T39" fmla="*/ 708025 h 642"/>
                  <a:gd name="T40" fmla="*/ 155575 w 198"/>
                  <a:gd name="T41" fmla="*/ 844550 h 642"/>
                  <a:gd name="T42" fmla="*/ 196850 w 198"/>
                  <a:gd name="T43" fmla="*/ 965200 h 642"/>
                  <a:gd name="T44" fmla="*/ 222250 w 198"/>
                  <a:gd name="T45" fmla="*/ 1006475 h 642"/>
                  <a:gd name="T46" fmla="*/ 215900 w 198"/>
                  <a:gd name="T47" fmla="*/ 977900 h 642"/>
                  <a:gd name="T48" fmla="*/ 209550 w 198"/>
                  <a:gd name="T49" fmla="*/ 917575 h 642"/>
                  <a:gd name="T50" fmla="*/ 206375 w 198"/>
                  <a:gd name="T51" fmla="*/ 809625 h 642"/>
                  <a:gd name="T52" fmla="*/ 206375 w 198"/>
                  <a:gd name="T53" fmla="*/ 746125 h 642"/>
                  <a:gd name="T54" fmla="*/ 206375 w 198"/>
                  <a:gd name="T55" fmla="*/ 708025 h 642"/>
                  <a:gd name="T56" fmla="*/ 206375 w 198"/>
                  <a:gd name="T57" fmla="*/ 587375 h 642"/>
                  <a:gd name="T58" fmla="*/ 215900 w 198"/>
                  <a:gd name="T59" fmla="*/ 419100 h 642"/>
                  <a:gd name="T60" fmla="*/ 228600 w 198"/>
                  <a:gd name="T61" fmla="*/ 307975 h 642"/>
                  <a:gd name="T62" fmla="*/ 238125 w 198"/>
                  <a:gd name="T63" fmla="*/ 206375 h 642"/>
                  <a:gd name="T64" fmla="*/ 247650 w 198"/>
                  <a:gd name="T65" fmla="*/ 149225 h 642"/>
                  <a:gd name="T66" fmla="*/ 257175 w 198"/>
                  <a:gd name="T67" fmla="*/ 92075 h 642"/>
                  <a:gd name="T68" fmla="*/ 292100 w 198"/>
                  <a:gd name="T69" fmla="*/ 15875 h 642"/>
                  <a:gd name="T70" fmla="*/ 25400 w 198"/>
                  <a:gd name="T71" fmla="*/ 88900 h 642"/>
                  <a:gd name="T72" fmla="*/ 12700 w 198"/>
                  <a:gd name="T73" fmla="*/ 92075 h 642"/>
                  <a:gd name="T74" fmla="*/ 3175 w 198"/>
                  <a:gd name="T75" fmla="*/ 104775 h 642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198"/>
                  <a:gd name="T115" fmla="*/ 0 h 642"/>
                  <a:gd name="T116" fmla="*/ 198 w 198"/>
                  <a:gd name="T117" fmla="*/ 642 h 642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198" h="642">
                    <a:moveTo>
                      <a:pt x="2" y="66"/>
                    </a:moveTo>
                    <a:lnTo>
                      <a:pt x="2" y="68"/>
                    </a:lnTo>
                    <a:lnTo>
                      <a:pt x="2" y="74"/>
                    </a:lnTo>
                    <a:lnTo>
                      <a:pt x="0" y="84"/>
                    </a:lnTo>
                    <a:lnTo>
                      <a:pt x="0" y="92"/>
                    </a:lnTo>
                    <a:lnTo>
                      <a:pt x="8" y="102"/>
                    </a:lnTo>
                    <a:lnTo>
                      <a:pt x="18" y="112"/>
                    </a:lnTo>
                    <a:lnTo>
                      <a:pt x="32" y="126"/>
                    </a:lnTo>
                    <a:lnTo>
                      <a:pt x="48" y="142"/>
                    </a:lnTo>
                    <a:lnTo>
                      <a:pt x="74" y="164"/>
                    </a:lnTo>
                    <a:lnTo>
                      <a:pt x="96" y="184"/>
                    </a:lnTo>
                    <a:lnTo>
                      <a:pt x="104" y="192"/>
                    </a:lnTo>
                    <a:lnTo>
                      <a:pt x="112" y="202"/>
                    </a:lnTo>
                    <a:lnTo>
                      <a:pt x="120" y="210"/>
                    </a:lnTo>
                    <a:lnTo>
                      <a:pt x="124" y="220"/>
                    </a:lnTo>
                    <a:lnTo>
                      <a:pt x="114" y="220"/>
                    </a:lnTo>
                    <a:lnTo>
                      <a:pt x="100" y="226"/>
                    </a:lnTo>
                    <a:lnTo>
                      <a:pt x="106" y="230"/>
                    </a:lnTo>
                    <a:lnTo>
                      <a:pt x="98" y="230"/>
                    </a:lnTo>
                    <a:lnTo>
                      <a:pt x="90" y="234"/>
                    </a:lnTo>
                    <a:lnTo>
                      <a:pt x="80" y="236"/>
                    </a:lnTo>
                    <a:lnTo>
                      <a:pt x="68" y="242"/>
                    </a:lnTo>
                    <a:lnTo>
                      <a:pt x="68" y="248"/>
                    </a:lnTo>
                    <a:lnTo>
                      <a:pt x="84" y="258"/>
                    </a:lnTo>
                    <a:lnTo>
                      <a:pt x="96" y="270"/>
                    </a:lnTo>
                    <a:lnTo>
                      <a:pt x="104" y="276"/>
                    </a:lnTo>
                    <a:lnTo>
                      <a:pt x="108" y="280"/>
                    </a:lnTo>
                    <a:lnTo>
                      <a:pt x="112" y="284"/>
                    </a:lnTo>
                    <a:lnTo>
                      <a:pt x="118" y="288"/>
                    </a:lnTo>
                    <a:lnTo>
                      <a:pt x="122" y="292"/>
                    </a:lnTo>
                    <a:lnTo>
                      <a:pt x="124" y="296"/>
                    </a:lnTo>
                    <a:lnTo>
                      <a:pt x="124" y="300"/>
                    </a:lnTo>
                    <a:lnTo>
                      <a:pt x="124" y="302"/>
                    </a:lnTo>
                    <a:lnTo>
                      <a:pt x="124" y="310"/>
                    </a:lnTo>
                    <a:lnTo>
                      <a:pt x="124" y="320"/>
                    </a:lnTo>
                    <a:lnTo>
                      <a:pt x="122" y="338"/>
                    </a:lnTo>
                    <a:lnTo>
                      <a:pt x="120" y="358"/>
                    </a:lnTo>
                    <a:lnTo>
                      <a:pt x="118" y="384"/>
                    </a:lnTo>
                    <a:lnTo>
                      <a:pt x="116" y="412"/>
                    </a:lnTo>
                    <a:lnTo>
                      <a:pt x="112" y="446"/>
                    </a:lnTo>
                    <a:lnTo>
                      <a:pt x="106" y="486"/>
                    </a:lnTo>
                    <a:lnTo>
                      <a:pt x="98" y="532"/>
                    </a:lnTo>
                    <a:lnTo>
                      <a:pt x="96" y="544"/>
                    </a:lnTo>
                    <a:lnTo>
                      <a:pt x="124" y="608"/>
                    </a:lnTo>
                    <a:lnTo>
                      <a:pt x="142" y="642"/>
                    </a:lnTo>
                    <a:lnTo>
                      <a:pt x="140" y="634"/>
                    </a:lnTo>
                    <a:lnTo>
                      <a:pt x="138" y="626"/>
                    </a:lnTo>
                    <a:lnTo>
                      <a:pt x="136" y="616"/>
                    </a:lnTo>
                    <a:lnTo>
                      <a:pt x="134" y="606"/>
                    </a:lnTo>
                    <a:lnTo>
                      <a:pt x="132" y="578"/>
                    </a:lnTo>
                    <a:lnTo>
                      <a:pt x="130" y="548"/>
                    </a:lnTo>
                    <a:lnTo>
                      <a:pt x="130" y="510"/>
                    </a:lnTo>
                    <a:lnTo>
                      <a:pt x="130" y="490"/>
                    </a:lnTo>
                    <a:lnTo>
                      <a:pt x="130" y="470"/>
                    </a:lnTo>
                    <a:lnTo>
                      <a:pt x="130" y="456"/>
                    </a:lnTo>
                    <a:lnTo>
                      <a:pt x="130" y="446"/>
                    </a:lnTo>
                    <a:lnTo>
                      <a:pt x="130" y="422"/>
                    </a:lnTo>
                    <a:lnTo>
                      <a:pt x="130" y="370"/>
                    </a:lnTo>
                    <a:lnTo>
                      <a:pt x="134" y="314"/>
                    </a:lnTo>
                    <a:lnTo>
                      <a:pt x="136" y="264"/>
                    </a:lnTo>
                    <a:lnTo>
                      <a:pt x="142" y="216"/>
                    </a:lnTo>
                    <a:lnTo>
                      <a:pt x="144" y="194"/>
                    </a:lnTo>
                    <a:lnTo>
                      <a:pt x="144" y="172"/>
                    </a:lnTo>
                    <a:lnTo>
                      <a:pt x="150" y="130"/>
                    </a:lnTo>
                    <a:lnTo>
                      <a:pt x="154" y="110"/>
                    </a:lnTo>
                    <a:lnTo>
                      <a:pt x="156" y="94"/>
                    </a:lnTo>
                    <a:lnTo>
                      <a:pt x="160" y="74"/>
                    </a:lnTo>
                    <a:lnTo>
                      <a:pt x="162" y="58"/>
                    </a:lnTo>
                    <a:lnTo>
                      <a:pt x="168" y="28"/>
                    </a:lnTo>
                    <a:lnTo>
                      <a:pt x="184" y="10"/>
                    </a:lnTo>
                    <a:lnTo>
                      <a:pt x="198" y="0"/>
                    </a:lnTo>
                    <a:lnTo>
                      <a:pt x="16" y="56"/>
                    </a:lnTo>
                    <a:lnTo>
                      <a:pt x="12" y="56"/>
                    </a:lnTo>
                    <a:lnTo>
                      <a:pt x="8" y="58"/>
                    </a:lnTo>
                    <a:lnTo>
                      <a:pt x="6" y="60"/>
                    </a:lnTo>
                    <a:lnTo>
                      <a:pt x="2" y="66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>
                  <a:solidFill>
                    <a:sysClr val="windowText" lastClr="000000"/>
                  </a:solidFill>
                  <a:latin typeface="+mn-lt"/>
                  <a:cs typeface="+mn-cs"/>
                </a:endParaRPr>
              </a:p>
            </p:txBody>
          </p:sp>
          <p:sp>
            <p:nvSpPr>
              <p:cNvPr id="93" name="Freeform 66"/>
              <p:cNvSpPr>
                <a:spLocks/>
              </p:cNvSpPr>
              <p:nvPr/>
            </p:nvSpPr>
            <p:spPr bwMode="auto">
              <a:xfrm>
                <a:off x="805207" y="2255295"/>
                <a:ext cx="509633" cy="1097613"/>
              </a:xfrm>
              <a:custGeom>
                <a:avLst/>
                <a:gdLst>
                  <a:gd name="T0" fmla="*/ 44450 w 322"/>
                  <a:gd name="T1" fmla="*/ 346075 h 692"/>
                  <a:gd name="T2" fmla="*/ 0 w 322"/>
                  <a:gd name="T3" fmla="*/ 762000 h 692"/>
                  <a:gd name="T4" fmla="*/ 9525 w 322"/>
                  <a:gd name="T5" fmla="*/ 1022350 h 692"/>
                  <a:gd name="T6" fmla="*/ 82550 w 322"/>
                  <a:gd name="T7" fmla="*/ 1054100 h 692"/>
                  <a:gd name="T8" fmla="*/ 120650 w 322"/>
                  <a:gd name="T9" fmla="*/ 1066800 h 692"/>
                  <a:gd name="T10" fmla="*/ 200025 w 322"/>
                  <a:gd name="T11" fmla="*/ 1085850 h 692"/>
                  <a:gd name="T12" fmla="*/ 228600 w 322"/>
                  <a:gd name="T13" fmla="*/ 1089025 h 692"/>
                  <a:gd name="T14" fmla="*/ 241300 w 322"/>
                  <a:gd name="T15" fmla="*/ 1082675 h 692"/>
                  <a:gd name="T16" fmla="*/ 244475 w 322"/>
                  <a:gd name="T17" fmla="*/ 1012825 h 692"/>
                  <a:gd name="T18" fmla="*/ 247650 w 322"/>
                  <a:gd name="T19" fmla="*/ 955675 h 692"/>
                  <a:gd name="T20" fmla="*/ 250825 w 322"/>
                  <a:gd name="T21" fmla="*/ 911225 h 692"/>
                  <a:gd name="T22" fmla="*/ 250825 w 322"/>
                  <a:gd name="T23" fmla="*/ 876300 h 692"/>
                  <a:gd name="T24" fmla="*/ 257175 w 322"/>
                  <a:gd name="T25" fmla="*/ 876300 h 692"/>
                  <a:gd name="T26" fmla="*/ 260350 w 322"/>
                  <a:gd name="T27" fmla="*/ 904875 h 692"/>
                  <a:gd name="T28" fmla="*/ 266700 w 322"/>
                  <a:gd name="T29" fmla="*/ 949325 h 692"/>
                  <a:gd name="T30" fmla="*/ 288925 w 322"/>
                  <a:gd name="T31" fmla="*/ 1038225 h 692"/>
                  <a:gd name="T32" fmla="*/ 298450 w 322"/>
                  <a:gd name="T33" fmla="*/ 1098550 h 692"/>
                  <a:gd name="T34" fmla="*/ 384175 w 322"/>
                  <a:gd name="T35" fmla="*/ 1098550 h 692"/>
                  <a:gd name="T36" fmla="*/ 444500 w 322"/>
                  <a:gd name="T37" fmla="*/ 1066800 h 692"/>
                  <a:gd name="T38" fmla="*/ 454025 w 322"/>
                  <a:gd name="T39" fmla="*/ 1025525 h 692"/>
                  <a:gd name="T40" fmla="*/ 454025 w 322"/>
                  <a:gd name="T41" fmla="*/ 1006475 h 692"/>
                  <a:gd name="T42" fmla="*/ 450850 w 322"/>
                  <a:gd name="T43" fmla="*/ 977900 h 692"/>
                  <a:gd name="T44" fmla="*/ 450850 w 322"/>
                  <a:gd name="T45" fmla="*/ 977900 h 692"/>
                  <a:gd name="T46" fmla="*/ 479425 w 322"/>
                  <a:gd name="T47" fmla="*/ 996950 h 692"/>
                  <a:gd name="T48" fmla="*/ 508000 w 322"/>
                  <a:gd name="T49" fmla="*/ 1012825 h 692"/>
                  <a:gd name="T50" fmla="*/ 495300 w 322"/>
                  <a:gd name="T51" fmla="*/ 993775 h 692"/>
                  <a:gd name="T52" fmla="*/ 485775 w 322"/>
                  <a:gd name="T53" fmla="*/ 968375 h 692"/>
                  <a:gd name="T54" fmla="*/ 473075 w 322"/>
                  <a:gd name="T55" fmla="*/ 933450 h 692"/>
                  <a:gd name="T56" fmla="*/ 457200 w 322"/>
                  <a:gd name="T57" fmla="*/ 889000 h 692"/>
                  <a:gd name="T58" fmla="*/ 444500 w 322"/>
                  <a:gd name="T59" fmla="*/ 857250 h 692"/>
                  <a:gd name="T60" fmla="*/ 431800 w 322"/>
                  <a:gd name="T61" fmla="*/ 790575 h 692"/>
                  <a:gd name="T62" fmla="*/ 431800 w 322"/>
                  <a:gd name="T63" fmla="*/ 781050 h 692"/>
                  <a:gd name="T64" fmla="*/ 425450 w 322"/>
                  <a:gd name="T65" fmla="*/ 768350 h 692"/>
                  <a:gd name="T66" fmla="*/ 412750 w 322"/>
                  <a:gd name="T67" fmla="*/ 698500 h 692"/>
                  <a:gd name="T68" fmla="*/ 396875 w 322"/>
                  <a:gd name="T69" fmla="*/ 625475 h 692"/>
                  <a:gd name="T70" fmla="*/ 384175 w 322"/>
                  <a:gd name="T71" fmla="*/ 520700 h 692"/>
                  <a:gd name="T72" fmla="*/ 381000 w 322"/>
                  <a:gd name="T73" fmla="*/ 460375 h 692"/>
                  <a:gd name="T74" fmla="*/ 374650 w 322"/>
                  <a:gd name="T75" fmla="*/ 400050 h 692"/>
                  <a:gd name="T76" fmla="*/ 374650 w 322"/>
                  <a:gd name="T77" fmla="*/ 390525 h 692"/>
                  <a:gd name="T78" fmla="*/ 355600 w 322"/>
                  <a:gd name="T79" fmla="*/ 282575 h 692"/>
                  <a:gd name="T80" fmla="*/ 346075 w 322"/>
                  <a:gd name="T81" fmla="*/ 193675 h 692"/>
                  <a:gd name="T82" fmla="*/ 339725 w 322"/>
                  <a:gd name="T83" fmla="*/ 136525 h 692"/>
                  <a:gd name="T84" fmla="*/ 336550 w 322"/>
                  <a:gd name="T85" fmla="*/ 111125 h 692"/>
                  <a:gd name="T86" fmla="*/ 336550 w 322"/>
                  <a:gd name="T87" fmla="*/ 57150 h 692"/>
                  <a:gd name="T88" fmla="*/ 339725 w 322"/>
                  <a:gd name="T89" fmla="*/ 28575 h 692"/>
                  <a:gd name="T90" fmla="*/ 339725 w 322"/>
                  <a:gd name="T91" fmla="*/ 15875 h 692"/>
                  <a:gd name="T92" fmla="*/ 349250 w 322"/>
                  <a:gd name="T93" fmla="*/ 3175 h 692"/>
                  <a:gd name="T94" fmla="*/ 311150 w 322"/>
                  <a:gd name="T95" fmla="*/ 9525 h 692"/>
                  <a:gd name="T96" fmla="*/ 301625 w 322"/>
                  <a:gd name="T97" fmla="*/ 22225 h 692"/>
                  <a:gd name="T98" fmla="*/ 288925 w 322"/>
                  <a:gd name="T99" fmla="*/ 50800 h 692"/>
                  <a:gd name="T100" fmla="*/ 263525 w 322"/>
                  <a:gd name="T101" fmla="*/ 73025 h 692"/>
                  <a:gd name="T102" fmla="*/ 231775 w 322"/>
                  <a:gd name="T103" fmla="*/ 88900 h 692"/>
                  <a:gd name="T104" fmla="*/ 222250 w 322"/>
                  <a:gd name="T105" fmla="*/ 428625 h 692"/>
                  <a:gd name="T106" fmla="*/ 127000 w 322"/>
                  <a:gd name="T107" fmla="*/ 123825 h 692"/>
                  <a:gd name="T108" fmla="*/ 104775 w 322"/>
                  <a:gd name="T109" fmla="*/ 98425 h 692"/>
                  <a:gd name="T110" fmla="*/ 88900 w 322"/>
                  <a:gd name="T111" fmla="*/ 127000 h 692"/>
                  <a:gd name="T112" fmla="*/ 101600 w 322"/>
                  <a:gd name="T113" fmla="*/ 155575 h 692"/>
                  <a:gd name="T114" fmla="*/ 114300 w 322"/>
                  <a:gd name="T115" fmla="*/ 206375 h 692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w 322"/>
                  <a:gd name="T175" fmla="*/ 0 h 692"/>
                  <a:gd name="T176" fmla="*/ 322 w 322"/>
                  <a:gd name="T177" fmla="*/ 692 h 692"/>
                </a:gdLst>
                <a:ahLst/>
                <a:cxnLst>
                  <a:cxn ang="T116">
                    <a:pos x="T0" y="T1"/>
                  </a:cxn>
                  <a:cxn ang="T117">
                    <a:pos x="T2" y="T3"/>
                  </a:cxn>
                  <a:cxn ang="T118">
                    <a:pos x="T4" y="T5"/>
                  </a:cxn>
                  <a:cxn ang="T119">
                    <a:pos x="T6" y="T7"/>
                  </a:cxn>
                  <a:cxn ang="T120">
                    <a:pos x="T8" y="T9"/>
                  </a:cxn>
                  <a:cxn ang="T121">
                    <a:pos x="T10" y="T11"/>
                  </a:cxn>
                  <a:cxn ang="T122">
                    <a:pos x="T12" y="T13"/>
                  </a:cxn>
                  <a:cxn ang="T123">
                    <a:pos x="T14" y="T15"/>
                  </a:cxn>
                  <a:cxn ang="T124">
                    <a:pos x="T16" y="T17"/>
                  </a:cxn>
                  <a:cxn ang="T125">
                    <a:pos x="T18" y="T19"/>
                  </a:cxn>
                  <a:cxn ang="T126">
                    <a:pos x="T20" y="T21"/>
                  </a:cxn>
                  <a:cxn ang="T127">
                    <a:pos x="T22" y="T23"/>
                  </a:cxn>
                  <a:cxn ang="T128">
                    <a:pos x="T24" y="T25"/>
                  </a:cxn>
                  <a:cxn ang="T129">
                    <a:pos x="T26" y="T27"/>
                  </a:cxn>
                  <a:cxn ang="T130">
                    <a:pos x="T28" y="T29"/>
                  </a:cxn>
                  <a:cxn ang="T131">
                    <a:pos x="T30" y="T31"/>
                  </a:cxn>
                  <a:cxn ang="T132">
                    <a:pos x="T32" y="T33"/>
                  </a:cxn>
                  <a:cxn ang="T133">
                    <a:pos x="T34" y="T35"/>
                  </a:cxn>
                  <a:cxn ang="T134">
                    <a:pos x="T36" y="T37"/>
                  </a:cxn>
                  <a:cxn ang="T135">
                    <a:pos x="T38" y="T39"/>
                  </a:cxn>
                  <a:cxn ang="T136">
                    <a:pos x="T40" y="T41"/>
                  </a:cxn>
                  <a:cxn ang="T137">
                    <a:pos x="T42" y="T43"/>
                  </a:cxn>
                  <a:cxn ang="T138">
                    <a:pos x="T44" y="T45"/>
                  </a:cxn>
                  <a:cxn ang="T139">
                    <a:pos x="T46" y="T47"/>
                  </a:cxn>
                  <a:cxn ang="T140">
                    <a:pos x="T48" y="T49"/>
                  </a:cxn>
                  <a:cxn ang="T141">
                    <a:pos x="T50" y="T51"/>
                  </a:cxn>
                  <a:cxn ang="T142">
                    <a:pos x="T52" y="T53"/>
                  </a:cxn>
                  <a:cxn ang="T143">
                    <a:pos x="T54" y="T55"/>
                  </a:cxn>
                  <a:cxn ang="T144">
                    <a:pos x="T56" y="T57"/>
                  </a:cxn>
                  <a:cxn ang="T145">
                    <a:pos x="T58" y="T59"/>
                  </a:cxn>
                  <a:cxn ang="T146">
                    <a:pos x="T60" y="T61"/>
                  </a:cxn>
                  <a:cxn ang="T147">
                    <a:pos x="T62" y="T63"/>
                  </a:cxn>
                  <a:cxn ang="T148">
                    <a:pos x="T64" y="T65"/>
                  </a:cxn>
                  <a:cxn ang="T149">
                    <a:pos x="T66" y="T67"/>
                  </a:cxn>
                  <a:cxn ang="T150">
                    <a:pos x="T68" y="T69"/>
                  </a:cxn>
                  <a:cxn ang="T151">
                    <a:pos x="T70" y="T71"/>
                  </a:cxn>
                  <a:cxn ang="T152">
                    <a:pos x="T72" y="T73"/>
                  </a:cxn>
                  <a:cxn ang="T153">
                    <a:pos x="T74" y="T75"/>
                  </a:cxn>
                  <a:cxn ang="T154">
                    <a:pos x="T76" y="T77"/>
                  </a:cxn>
                  <a:cxn ang="T155">
                    <a:pos x="T78" y="T79"/>
                  </a:cxn>
                  <a:cxn ang="T156">
                    <a:pos x="T80" y="T81"/>
                  </a:cxn>
                  <a:cxn ang="T157">
                    <a:pos x="T82" y="T83"/>
                  </a:cxn>
                  <a:cxn ang="T158">
                    <a:pos x="T84" y="T85"/>
                  </a:cxn>
                  <a:cxn ang="T159">
                    <a:pos x="T86" y="T87"/>
                  </a:cxn>
                  <a:cxn ang="T160">
                    <a:pos x="T88" y="T89"/>
                  </a:cxn>
                  <a:cxn ang="T161">
                    <a:pos x="T90" y="T91"/>
                  </a:cxn>
                  <a:cxn ang="T162">
                    <a:pos x="T92" y="T93"/>
                  </a:cxn>
                  <a:cxn ang="T163">
                    <a:pos x="T94" y="T95"/>
                  </a:cxn>
                  <a:cxn ang="T164">
                    <a:pos x="T96" y="T97"/>
                  </a:cxn>
                  <a:cxn ang="T165">
                    <a:pos x="T98" y="T99"/>
                  </a:cxn>
                  <a:cxn ang="T166">
                    <a:pos x="T100" y="T101"/>
                  </a:cxn>
                  <a:cxn ang="T167">
                    <a:pos x="T102" y="T103"/>
                  </a:cxn>
                  <a:cxn ang="T168">
                    <a:pos x="T104" y="T105"/>
                  </a:cxn>
                  <a:cxn ang="T169">
                    <a:pos x="T106" y="T107"/>
                  </a:cxn>
                  <a:cxn ang="T170">
                    <a:pos x="T108" y="T109"/>
                  </a:cxn>
                  <a:cxn ang="T171">
                    <a:pos x="T110" y="T111"/>
                  </a:cxn>
                  <a:cxn ang="T172">
                    <a:pos x="T112" y="T113"/>
                  </a:cxn>
                  <a:cxn ang="T173">
                    <a:pos x="T114" y="T115"/>
                  </a:cxn>
                </a:cxnLst>
                <a:rect l="T174" t="T175" r="T176" b="T177"/>
                <a:pathLst>
                  <a:path w="322" h="692">
                    <a:moveTo>
                      <a:pt x="72" y="130"/>
                    </a:moveTo>
                    <a:lnTo>
                      <a:pt x="28" y="218"/>
                    </a:lnTo>
                    <a:lnTo>
                      <a:pt x="42" y="374"/>
                    </a:lnTo>
                    <a:lnTo>
                      <a:pt x="0" y="480"/>
                    </a:lnTo>
                    <a:lnTo>
                      <a:pt x="4" y="642"/>
                    </a:lnTo>
                    <a:lnTo>
                      <a:pt x="6" y="644"/>
                    </a:lnTo>
                    <a:lnTo>
                      <a:pt x="36" y="658"/>
                    </a:lnTo>
                    <a:lnTo>
                      <a:pt x="52" y="664"/>
                    </a:lnTo>
                    <a:lnTo>
                      <a:pt x="66" y="668"/>
                    </a:lnTo>
                    <a:lnTo>
                      <a:pt x="76" y="672"/>
                    </a:lnTo>
                    <a:lnTo>
                      <a:pt x="100" y="678"/>
                    </a:lnTo>
                    <a:lnTo>
                      <a:pt x="126" y="684"/>
                    </a:lnTo>
                    <a:lnTo>
                      <a:pt x="138" y="686"/>
                    </a:lnTo>
                    <a:lnTo>
                      <a:pt x="144" y="686"/>
                    </a:lnTo>
                    <a:lnTo>
                      <a:pt x="150" y="688"/>
                    </a:lnTo>
                    <a:lnTo>
                      <a:pt x="152" y="682"/>
                    </a:lnTo>
                    <a:lnTo>
                      <a:pt x="154" y="658"/>
                    </a:lnTo>
                    <a:lnTo>
                      <a:pt x="154" y="638"/>
                    </a:lnTo>
                    <a:lnTo>
                      <a:pt x="156" y="618"/>
                    </a:lnTo>
                    <a:lnTo>
                      <a:pt x="156" y="602"/>
                    </a:lnTo>
                    <a:lnTo>
                      <a:pt x="158" y="586"/>
                    </a:lnTo>
                    <a:lnTo>
                      <a:pt x="158" y="574"/>
                    </a:lnTo>
                    <a:lnTo>
                      <a:pt x="158" y="562"/>
                    </a:lnTo>
                    <a:lnTo>
                      <a:pt x="158" y="552"/>
                    </a:lnTo>
                    <a:lnTo>
                      <a:pt x="162" y="552"/>
                    </a:lnTo>
                    <a:lnTo>
                      <a:pt x="164" y="570"/>
                    </a:lnTo>
                    <a:lnTo>
                      <a:pt x="166" y="584"/>
                    </a:lnTo>
                    <a:lnTo>
                      <a:pt x="168" y="598"/>
                    </a:lnTo>
                    <a:lnTo>
                      <a:pt x="170" y="610"/>
                    </a:lnTo>
                    <a:lnTo>
                      <a:pt x="182" y="654"/>
                    </a:lnTo>
                    <a:lnTo>
                      <a:pt x="186" y="672"/>
                    </a:lnTo>
                    <a:lnTo>
                      <a:pt x="188" y="692"/>
                    </a:lnTo>
                    <a:lnTo>
                      <a:pt x="208" y="692"/>
                    </a:lnTo>
                    <a:lnTo>
                      <a:pt x="242" y="692"/>
                    </a:lnTo>
                    <a:lnTo>
                      <a:pt x="274" y="692"/>
                    </a:lnTo>
                    <a:lnTo>
                      <a:pt x="280" y="672"/>
                    </a:lnTo>
                    <a:lnTo>
                      <a:pt x="282" y="658"/>
                    </a:lnTo>
                    <a:lnTo>
                      <a:pt x="286" y="646"/>
                    </a:lnTo>
                    <a:lnTo>
                      <a:pt x="286" y="638"/>
                    </a:lnTo>
                    <a:lnTo>
                      <a:pt x="286" y="634"/>
                    </a:lnTo>
                    <a:lnTo>
                      <a:pt x="284" y="618"/>
                    </a:lnTo>
                    <a:lnTo>
                      <a:pt x="284" y="616"/>
                    </a:lnTo>
                    <a:lnTo>
                      <a:pt x="282" y="614"/>
                    </a:lnTo>
                    <a:lnTo>
                      <a:pt x="284" y="616"/>
                    </a:lnTo>
                    <a:lnTo>
                      <a:pt x="302" y="628"/>
                    </a:lnTo>
                    <a:lnTo>
                      <a:pt x="322" y="642"/>
                    </a:lnTo>
                    <a:lnTo>
                      <a:pt x="320" y="638"/>
                    </a:lnTo>
                    <a:lnTo>
                      <a:pt x="316" y="632"/>
                    </a:lnTo>
                    <a:lnTo>
                      <a:pt x="312" y="626"/>
                    </a:lnTo>
                    <a:lnTo>
                      <a:pt x="308" y="618"/>
                    </a:lnTo>
                    <a:lnTo>
                      <a:pt x="306" y="610"/>
                    </a:lnTo>
                    <a:lnTo>
                      <a:pt x="302" y="600"/>
                    </a:lnTo>
                    <a:lnTo>
                      <a:pt x="298" y="588"/>
                    </a:lnTo>
                    <a:lnTo>
                      <a:pt x="292" y="576"/>
                    </a:lnTo>
                    <a:lnTo>
                      <a:pt x="288" y="560"/>
                    </a:lnTo>
                    <a:lnTo>
                      <a:pt x="282" y="544"/>
                    </a:lnTo>
                    <a:lnTo>
                      <a:pt x="280" y="540"/>
                    </a:lnTo>
                    <a:lnTo>
                      <a:pt x="274" y="512"/>
                    </a:lnTo>
                    <a:lnTo>
                      <a:pt x="272" y="498"/>
                    </a:lnTo>
                    <a:lnTo>
                      <a:pt x="272" y="494"/>
                    </a:lnTo>
                    <a:lnTo>
                      <a:pt x="272" y="492"/>
                    </a:lnTo>
                    <a:lnTo>
                      <a:pt x="270" y="490"/>
                    </a:lnTo>
                    <a:lnTo>
                      <a:pt x="268" y="484"/>
                    </a:lnTo>
                    <a:lnTo>
                      <a:pt x="262" y="456"/>
                    </a:lnTo>
                    <a:lnTo>
                      <a:pt x="260" y="440"/>
                    </a:lnTo>
                    <a:lnTo>
                      <a:pt x="256" y="426"/>
                    </a:lnTo>
                    <a:lnTo>
                      <a:pt x="250" y="394"/>
                    </a:lnTo>
                    <a:lnTo>
                      <a:pt x="246" y="362"/>
                    </a:lnTo>
                    <a:lnTo>
                      <a:pt x="242" y="328"/>
                    </a:lnTo>
                    <a:lnTo>
                      <a:pt x="242" y="308"/>
                    </a:lnTo>
                    <a:lnTo>
                      <a:pt x="240" y="290"/>
                    </a:lnTo>
                    <a:lnTo>
                      <a:pt x="236" y="254"/>
                    </a:lnTo>
                    <a:lnTo>
                      <a:pt x="236" y="252"/>
                    </a:lnTo>
                    <a:lnTo>
                      <a:pt x="236" y="246"/>
                    </a:lnTo>
                    <a:lnTo>
                      <a:pt x="230" y="210"/>
                    </a:lnTo>
                    <a:lnTo>
                      <a:pt x="224" y="178"/>
                    </a:lnTo>
                    <a:lnTo>
                      <a:pt x="222" y="148"/>
                    </a:lnTo>
                    <a:lnTo>
                      <a:pt x="218" y="122"/>
                    </a:lnTo>
                    <a:lnTo>
                      <a:pt x="216" y="98"/>
                    </a:lnTo>
                    <a:lnTo>
                      <a:pt x="214" y="86"/>
                    </a:lnTo>
                    <a:lnTo>
                      <a:pt x="212" y="76"/>
                    </a:lnTo>
                    <a:lnTo>
                      <a:pt x="212" y="70"/>
                    </a:lnTo>
                    <a:lnTo>
                      <a:pt x="212" y="52"/>
                    </a:lnTo>
                    <a:lnTo>
                      <a:pt x="212" y="36"/>
                    </a:lnTo>
                    <a:lnTo>
                      <a:pt x="212" y="28"/>
                    </a:lnTo>
                    <a:lnTo>
                      <a:pt x="214" y="18"/>
                    </a:lnTo>
                    <a:lnTo>
                      <a:pt x="214" y="12"/>
                    </a:lnTo>
                    <a:lnTo>
                      <a:pt x="214" y="10"/>
                    </a:lnTo>
                    <a:lnTo>
                      <a:pt x="218" y="4"/>
                    </a:lnTo>
                    <a:lnTo>
                      <a:pt x="220" y="2"/>
                    </a:lnTo>
                    <a:lnTo>
                      <a:pt x="218" y="0"/>
                    </a:lnTo>
                    <a:lnTo>
                      <a:pt x="196" y="6"/>
                    </a:lnTo>
                    <a:lnTo>
                      <a:pt x="192" y="4"/>
                    </a:lnTo>
                    <a:lnTo>
                      <a:pt x="190" y="14"/>
                    </a:lnTo>
                    <a:lnTo>
                      <a:pt x="186" y="22"/>
                    </a:lnTo>
                    <a:lnTo>
                      <a:pt x="182" y="32"/>
                    </a:lnTo>
                    <a:lnTo>
                      <a:pt x="174" y="40"/>
                    </a:lnTo>
                    <a:lnTo>
                      <a:pt x="166" y="46"/>
                    </a:lnTo>
                    <a:lnTo>
                      <a:pt x="156" y="52"/>
                    </a:lnTo>
                    <a:lnTo>
                      <a:pt x="146" y="56"/>
                    </a:lnTo>
                    <a:lnTo>
                      <a:pt x="132" y="64"/>
                    </a:lnTo>
                    <a:lnTo>
                      <a:pt x="140" y="270"/>
                    </a:lnTo>
                    <a:lnTo>
                      <a:pt x="96" y="78"/>
                    </a:lnTo>
                    <a:lnTo>
                      <a:pt x="80" y="78"/>
                    </a:lnTo>
                    <a:lnTo>
                      <a:pt x="80" y="70"/>
                    </a:lnTo>
                    <a:lnTo>
                      <a:pt x="66" y="62"/>
                    </a:lnTo>
                    <a:lnTo>
                      <a:pt x="52" y="78"/>
                    </a:lnTo>
                    <a:lnTo>
                      <a:pt x="56" y="80"/>
                    </a:lnTo>
                    <a:lnTo>
                      <a:pt x="56" y="86"/>
                    </a:lnTo>
                    <a:lnTo>
                      <a:pt x="64" y="98"/>
                    </a:lnTo>
                    <a:lnTo>
                      <a:pt x="74" y="118"/>
                    </a:lnTo>
                    <a:lnTo>
                      <a:pt x="72" y="13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>
                  <a:solidFill>
                    <a:sysClr val="windowText" lastClr="000000"/>
                  </a:solidFill>
                  <a:latin typeface="+mn-lt"/>
                  <a:cs typeface="+mn-cs"/>
                </a:endParaRPr>
              </a:p>
            </p:txBody>
          </p:sp>
          <p:sp>
            <p:nvSpPr>
              <p:cNvPr id="94" name="Freeform 67"/>
              <p:cNvSpPr>
                <a:spLocks/>
              </p:cNvSpPr>
              <p:nvPr/>
            </p:nvSpPr>
            <p:spPr bwMode="auto">
              <a:xfrm>
                <a:off x="1147893" y="2368284"/>
                <a:ext cx="166946" cy="605304"/>
              </a:xfrm>
              <a:custGeom>
                <a:avLst/>
                <a:gdLst>
                  <a:gd name="T0" fmla="*/ 38100 w 106"/>
                  <a:gd name="T1" fmla="*/ 282575 h 382"/>
                  <a:gd name="T2" fmla="*/ 38100 w 106"/>
                  <a:gd name="T3" fmla="*/ 285750 h 382"/>
                  <a:gd name="T4" fmla="*/ 53975 w 106"/>
                  <a:gd name="T5" fmla="*/ 358775 h 382"/>
                  <a:gd name="T6" fmla="*/ 63500 w 106"/>
                  <a:gd name="T7" fmla="*/ 396875 h 382"/>
                  <a:gd name="T8" fmla="*/ 73025 w 106"/>
                  <a:gd name="T9" fmla="*/ 438150 h 382"/>
                  <a:gd name="T10" fmla="*/ 101600 w 106"/>
                  <a:gd name="T11" fmla="*/ 517525 h 382"/>
                  <a:gd name="T12" fmla="*/ 130175 w 106"/>
                  <a:gd name="T13" fmla="*/ 606425 h 382"/>
                  <a:gd name="T14" fmla="*/ 133350 w 106"/>
                  <a:gd name="T15" fmla="*/ 603250 h 382"/>
                  <a:gd name="T16" fmla="*/ 142875 w 106"/>
                  <a:gd name="T17" fmla="*/ 558800 h 382"/>
                  <a:gd name="T18" fmla="*/ 146050 w 106"/>
                  <a:gd name="T19" fmla="*/ 520700 h 382"/>
                  <a:gd name="T20" fmla="*/ 152400 w 106"/>
                  <a:gd name="T21" fmla="*/ 466725 h 382"/>
                  <a:gd name="T22" fmla="*/ 158750 w 106"/>
                  <a:gd name="T23" fmla="*/ 419100 h 382"/>
                  <a:gd name="T24" fmla="*/ 161925 w 106"/>
                  <a:gd name="T25" fmla="*/ 381000 h 382"/>
                  <a:gd name="T26" fmla="*/ 161925 w 106"/>
                  <a:gd name="T27" fmla="*/ 346075 h 382"/>
                  <a:gd name="T28" fmla="*/ 165100 w 106"/>
                  <a:gd name="T29" fmla="*/ 320675 h 382"/>
                  <a:gd name="T30" fmla="*/ 168275 w 106"/>
                  <a:gd name="T31" fmla="*/ 301625 h 382"/>
                  <a:gd name="T32" fmla="*/ 168275 w 106"/>
                  <a:gd name="T33" fmla="*/ 288925 h 382"/>
                  <a:gd name="T34" fmla="*/ 168275 w 106"/>
                  <a:gd name="T35" fmla="*/ 285750 h 382"/>
                  <a:gd name="T36" fmla="*/ 168275 w 106"/>
                  <a:gd name="T37" fmla="*/ 279400 h 382"/>
                  <a:gd name="T38" fmla="*/ 161925 w 106"/>
                  <a:gd name="T39" fmla="*/ 276225 h 382"/>
                  <a:gd name="T40" fmla="*/ 158750 w 106"/>
                  <a:gd name="T41" fmla="*/ 269875 h 382"/>
                  <a:gd name="T42" fmla="*/ 146050 w 106"/>
                  <a:gd name="T43" fmla="*/ 263525 h 382"/>
                  <a:gd name="T44" fmla="*/ 136525 w 106"/>
                  <a:gd name="T45" fmla="*/ 250825 h 382"/>
                  <a:gd name="T46" fmla="*/ 117475 w 106"/>
                  <a:gd name="T47" fmla="*/ 234950 h 382"/>
                  <a:gd name="T48" fmla="*/ 95250 w 106"/>
                  <a:gd name="T49" fmla="*/ 215900 h 382"/>
                  <a:gd name="T50" fmla="*/ 66675 w 106"/>
                  <a:gd name="T51" fmla="*/ 193675 h 382"/>
                  <a:gd name="T52" fmla="*/ 88900 w 106"/>
                  <a:gd name="T53" fmla="*/ 184150 h 382"/>
                  <a:gd name="T54" fmla="*/ 98425 w 106"/>
                  <a:gd name="T55" fmla="*/ 177800 h 382"/>
                  <a:gd name="T56" fmla="*/ 130175 w 106"/>
                  <a:gd name="T57" fmla="*/ 161925 h 382"/>
                  <a:gd name="T58" fmla="*/ 155575 w 106"/>
                  <a:gd name="T59" fmla="*/ 152400 h 382"/>
                  <a:gd name="T60" fmla="*/ 155575 w 106"/>
                  <a:gd name="T61" fmla="*/ 152400 h 382"/>
                  <a:gd name="T62" fmla="*/ 155575 w 106"/>
                  <a:gd name="T63" fmla="*/ 142875 h 382"/>
                  <a:gd name="T64" fmla="*/ 146050 w 106"/>
                  <a:gd name="T65" fmla="*/ 130175 h 382"/>
                  <a:gd name="T66" fmla="*/ 136525 w 106"/>
                  <a:gd name="T67" fmla="*/ 120650 h 382"/>
                  <a:gd name="T68" fmla="*/ 111125 w 106"/>
                  <a:gd name="T69" fmla="*/ 92075 h 382"/>
                  <a:gd name="T70" fmla="*/ 82550 w 106"/>
                  <a:gd name="T71" fmla="*/ 63500 h 382"/>
                  <a:gd name="T72" fmla="*/ 47625 w 106"/>
                  <a:gd name="T73" fmla="*/ 38100 h 382"/>
                  <a:gd name="T74" fmla="*/ 25400 w 106"/>
                  <a:gd name="T75" fmla="*/ 15875 h 382"/>
                  <a:gd name="T76" fmla="*/ 3175 w 106"/>
                  <a:gd name="T77" fmla="*/ 0 h 382"/>
                  <a:gd name="T78" fmla="*/ 0 w 106"/>
                  <a:gd name="T79" fmla="*/ 3175 h 382"/>
                  <a:gd name="T80" fmla="*/ 3175 w 106"/>
                  <a:gd name="T81" fmla="*/ 19050 h 382"/>
                  <a:gd name="T82" fmla="*/ 6350 w 106"/>
                  <a:gd name="T83" fmla="*/ 38100 h 382"/>
                  <a:gd name="T84" fmla="*/ 9525 w 106"/>
                  <a:gd name="T85" fmla="*/ 76200 h 382"/>
                  <a:gd name="T86" fmla="*/ 15875 w 106"/>
                  <a:gd name="T87" fmla="*/ 117475 h 382"/>
                  <a:gd name="T88" fmla="*/ 19050 w 106"/>
                  <a:gd name="T89" fmla="*/ 165100 h 382"/>
                  <a:gd name="T90" fmla="*/ 28575 w 106"/>
                  <a:gd name="T91" fmla="*/ 215900 h 382"/>
                  <a:gd name="T92" fmla="*/ 38100 w 106"/>
                  <a:gd name="T93" fmla="*/ 273050 h 382"/>
                  <a:gd name="T94" fmla="*/ 38100 w 106"/>
                  <a:gd name="T95" fmla="*/ 273050 h 382"/>
                  <a:gd name="T96" fmla="*/ 38100 w 106"/>
                  <a:gd name="T97" fmla="*/ 276225 h 382"/>
                  <a:gd name="T98" fmla="*/ 38100 w 106"/>
                  <a:gd name="T99" fmla="*/ 282575 h 382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w 106"/>
                  <a:gd name="T151" fmla="*/ 0 h 382"/>
                  <a:gd name="T152" fmla="*/ 106 w 106"/>
                  <a:gd name="T153" fmla="*/ 382 h 382"/>
                </a:gdLst>
                <a:ahLst/>
                <a:cxnLst>
                  <a:cxn ang="T100">
                    <a:pos x="T0" y="T1"/>
                  </a:cxn>
                  <a:cxn ang="T101">
                    <a:pos x="T2" y="T3"/>
                  </a:cxn>
                  <a:cxn ang="T102">
                    <a:pos x="T4" y="T5"/>
                  </a:cxn>
                  <a:cxn ang="T103">
                    <a:pos x="T6" y="T7"/>
                  </a:cxn>
                  <a:cxn ang="T104">
                    <a:pos x="T8" y="T9"/>
                  </a:cxn>
                  <a:cxn ang="T105">
                    <a:pos x="T10" y="T11"/>
                  </a:cxn>
                  <a:cxn ang="T106">
                    <a:pos x="T12" y="T13"/>
                  </a:cxn>
                  <a:cxn ang="T107">
                    <a:pos x="T14" y="T15"/>
                  </a:cxn>
                  <a:cxn ang="T108">
                    <a:pos x="T16" y="T17"/>
                  </a:cxn>
                  <a:cxn ang="T109">
                    <a:pos x="T18" y="T19"/>
                  </a:cxn>
                  <a:cxn ang="T110">
                    <a:pos x="T20" y="T21"/>
                  </a:cxn>
                  <a:cxn ang="T111">
                    <a:pos x="T22" y="T23"/>
                  </a:cxn>
                  <a:cxn ang="T112">
                    <a:pos x="T24" y="T25"/>
                  </a:cxn>
                  <a:cxn ang="T113">
                    <a:pos x="T26" y="T27"/>
                  </a:cxn>
                  <a:cxn ang="T114">
                    <a:pos x="T28" y="T29"/>
                  </a:cxn>
                  <a:cxn ang="T115">
                    <a:pos x="T30" y="T31"/>
                  </a:cxn>
                  <a:cxn ang="T116">
                    <a:pos x="T32" y="T33"/>
                  </a:cxn>
                  <a:cxn ang="T117">
                    <a:pos x="T34" y="T35"/>
                  </a:cxn>
                  <a:cxn ang="T118">
                    <a:pos x="T36" y="T37"/>
                  </a:cxn>
                  <a:cxn ang="T119">
                    <a:pos x="T38" y="T39"/>
                  </a:cxn>
                  <a:cxn ang="T120">
                    <a:pos x="T40" y="T41"/>
                  </a:cxn>
                  <a:cxn ang="T121">
                    <a:pos x="T42" y="T43"/>
                  </a:cxn>
                  <a:cxn ang="T122">
                    <a:pos x="T44" y="T45"/>
                  </a:cxn>
                  <a:cxn ang="T123">
                    <a:pos x="T46" y="T47"/>
                  </a:cxn>
                  <a:cxn ang="T124">
                    <a:pos x="T48" y="T49"/>
                  </a:cxn>
                  <a:cxn ang="T125">
                    <a:pos x="T50" y="T51"/>
                  </a:cxn>
                  <a:cxn ang="T126">
                    <a:pos x="T52" y="T53"/>
                  </a:cxn>
                  <a:cxn ang="T127">
                    <a:pos x="T54" y="T55"/>
                  </a:cxn>
                  <a:cxn ang="T128">
                    <a:pos x="T56" y="T57"/>
                  </a:cxn>
                  <a:cxn ang="T129">
                    <a:pos x="T58" y="T59"/>
                  </a:cxn>
                  <a:cxn ang="T130">
                    <a:pos x="T60" y="T61"/>
                  </a:cxn>
                  <a:cxn ang="T131">
                    <a:pos x="T62" y="T63"/>
                  </a:cxn>
                  <a:cxn ang="T132">
                    <a:pos x="T64" y="T65"/>
                  </a:cxn>
                  <a:cxn ang="T133">
                    <a:pos x="T66" y="T67"/>
                  </a:cxn>
                  <a:cxn ang="T134">
                    <a:pos x="T68" y="T69"/>
                  </a:cxn>
                  <a:cxn ang="T135">
                    <a:pos x="T70" y="T71"/>
                  </a:cxn>
                  <a:cxn ang="T136">
                    <a:pos x="T72" y="T73"/>
                  </a:cxn>
                  <a:cxn ang="T137">
                    <a:pos x="T74" y="T75"/>
                  </a:cxn>
                  <a:cxn ang="T138">
                    <a:pos x="T76" y="T77"/>
                  </a:cxn>
                  <a:cxn ang="T139">
                    <a:pos x="T78" y="T79"/>
                  </a:cxn>
                  <a:cxn ang="T140">
                    <a:pos x="T80" y="T81"/>
                  </a:cxn>
                  <a:cxn ang="T141">
                    <a:pos x="T82" y="T83"/>
                  </a:cxn>
                  <a:cxn ang="T142">
                    <a:pos x="T84" y="T85"/>
                  </a:cxn>
                  <a:cxn ang="T143">
                    <a:pos x="T86" y="T87"/>
                  </a:cxn>
                  <a:cxn ang="T144">
                    <a:pos x="T88" y="T89"/>
                  </a:cxn>
                  <a:cxn ang="T145">
                    <a:pos x="T90" y="T91"/>
                  </a:cxn>
                  <a:cxn ang="T146">
                    <a:pos x="T92" y="T93"/>
                  </a:cxn>
                  <a:cxn ang="T147">
                    <a:pos x="T94" y="T95"/>
                  </a:cxn>
                  <a:cxn ang="T148">
                    <a:pos x="T96" y="T97"/>
                  </a:cxn>
                  <a:cxn ang="T149">
                    <a:pos x="T98" y="T99"/>
                  </a:cxn>
                </a:cxnLst>
                <a:rect l="T150" t="T151" r="T152" b="T153"/>
                <a:pathLst>
                  <a:path w="106" h="382">
                    <a:moveTo>
                      <a:pt x="24" y="178"/>
                    </a:moveTo>
                    <a:lnTo>
                      <a:pt x="24" y="180"/>
                    </a:lnTo>
                    <a:lnTo>
                      <a:pt x="34" y="226"/>
                    </a:lnTo>
                    <a:lnTo>
                      <a:pt x="40" y="250"/>
                    </a:lnTo>
                    <a:lnTo>
                      <a:pt x="46" y="276"/>
                    </a:lnTo>
                    <a:lnTo>
                      <a:pt x="64" y="326"/>
                    </a:lnTo>
                    <a:lnTo>
                      <a:pt x="82" y="382"/>
                    </a:lnTo>
                    <a:lnTo>
                      <a:pt x="84" y="380"/>
                    </a:lnTo>
                    <a:lnTo>
                      <a:pt x="90" y="352"/>
                    </a:lnTo>
                    <a:lnTo>
                      <a:pt x="92" y="328"/>
                    </a:lnTo>
                    <a:lnTo>
                      <a:pt x="96" y="294"/>
                    </a:lnTo>
                    <a:lnTo>
                      <a:pt x="100" y="264"/>
                    </a:lnTo>
                    <a:lnTo>
                      <a:pt x="102" y="240"/>
                    </a:lnTo>
                    <a:lnTo>
                      <a:pt x="102" y="218"/>
                    </a:lnTo>
                    <a:lnTo>
                      <a:pt x="104" y="202"/>
                    </a:lnTo>
                    <a:lnTo>
                      <a:pt x="106" y="190"/>
                    </a:lnTo>
                    <a:lnTo>
                      <a:pt x="106" y="182"/>
                    </a:lnTo>
                    <a:lnTo>
                      <a:pt x="106" y="180"/>
                    </a:lnTo>
                    <a:lnTo>
                      <a:pt x="106" y="176"/>
                    </a:lnTo>
                    <a:lnTo>
                      <a:pt x="102" y="174"/>
                    </a:lnTo>
                    <a:lnTo>
                      <a:pt x="100" y="170"/>
                    </a:lnTo>
                    <a:lnTo>
                      <a:pt x="92" y="166"/>
                    </a:lnTo>
                    <a:lnTo>
                      <a:pt x="86" y="158"/>
                    </a:lnTo>
                    <a:lnTo>
                      <a:pt x="74" y="148"/>
                    </a:lnTo>
                    <a:lnTo>
                      <a:pt x="60" y="136"/>
                    </a:lnTo>
                    <a:lnTo>
                      <a:pt x="42" y="122"/>
                    </a:lnTo>
                    <a:lnTo>
                      <a:pt x="56" y="116"/>
                    </a:lnTo>
                    <a:lnTo>
                      <a:pt x="62" y="112"/>
                    </a:lnTo>
                    <a:lnTo>
                      <a:pt x="82" y="102"/>
                    </a:lnTo>
                    <a:lnTo>
                      <a:pt x="98" y="96"/>
                    </a:lnTo>
                    <a:lnTo>
                      <a:pt x="98" y="90"/>
                    </a:lnTo>
                    <a:lnTo>
                      <a:pt x="92" y="82"/>
                    </a:lnTo>
                    <a:lnTo>
                      <a:pt x="86" y="76"/>
                    </a:lnTo>
                    <a:lnTo>
                      <a:pt x="70" y="58"/>
                    </a:lnTo>
                    <a:lnTo>
                      <a:pt x="52" y="40"/>
                    </a:lnTo>
                    <a:lnTo>
                      <a:pt x="30" y="24"/>
                    </a:lnTo>
                    <a:lnTo>
                      <a:pt x="16" y="1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2" y="12"/>
                    </a:lnTo>
                    <a:lnTo>
                      <a:pt x="4" y="24"/>
                    </a:lnTo>
                    <a:lnTo>
                      <a:pt x="6" y="48"/>
                    </a:lnTo>
                    <a:lnTo>
                      <a:pt x="10" y="74"/>
                    </a:lnTo>
                    <a:lnTo>
                      <a:pt x="12" y="104"/>
                    </a:lnTo>
                    <a:lnTo>
                      <a:pt x="18" y="136"/>
                    </a:lnTo>
                    <a:lnTo>
                      <a:pt x="24" y="172"/>
                    </a:lnTo>
                    <a:lnTo>
                      <a:pt x="24" y="174"/>
                    </a:lnTo>
                    <a:lnTo>
                      <a:pt x="24" y="178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>
                  <a:solidFill>
                    <a:sysClr val="windowText" lastClr="000000"/>
                  </a:solidFill>
                  <a:latin typeface="+mn-lt"/>
                  <a:cs typeface="+mn-cs"/>
                </a:endParaRPr>
              </a:p>
            </p:txBody>
          </p:sp>
          <p:sp>
            <p:nvSpPr>
              <p:cNvPr id="95" name="Freeform 68"/>
              <p:cNvSpPr>
                <a:spLocks/>
              </p:cNvSpPr>
              <p:nvPr/>
            </p:nvSpPr>
            <p:spPr bwMode="auto">
              <a:xfrm>
                <a:off x="1147893" y="2303719"/>
                <a:ext cx="193309" cy="718293"/>
              </a:xfrm>
              <a:custGeom>
                <a:avLst/>
                <a:gdLst/>
                <a:ahLst/>
                <a:cxnLst>
                  <a:cxn ang="0">
                    <a:pos x="30" y="62"/>
                  </a:cxn>
                  <a:cxn ang="0">
                    <a:pos x="70" y="96"/>
                  </a:cxn>
                  <a:cxn ang="0">
                    <a:pos x="92" y="120"/>
                  </a:cxn>
                  <a:cxn ang="0">
                    <a:pos x="98" y="134"/>
                  </a:cxn>
                  <a:cxn ang="0">
                    <a:pos x="82" y="140"/>
                  </a:cxn>
                  <a:cxn ang="0">
                    <a:pos x="56" y="154"/>
                  </a:cxn>
                  <a:cxn ang="0">
                    <a:pos x="60" y="174"/>
                  </a:cxn>
                  <a:cxn ang="0">
                    <a:pos x="86" y="196"/>
                  </a:cxn>
                  <a:cxn ang="0">
                    <a:pos x="100" y="208"/>
                  </a:cxn>
                  <a:cxn ang="0">
                    <a:pos x="106" y="214"/>
                  </a:cxn>
                  <a:cxn ang="0">
                    <a:pos x="106" y="220"/>
                  </a:cxn>
                  <a:cxn ang="0">
                    <a:pos x="104" y="240"/>
                  </a:cxn>
                  <a:cxn ang="0">
                    <a:pos x="102" y="278"/>
                  </a:cxn>
                  <a:cxn ang="0">
                    <a:pos x="96" y="332"/>
                  </a:cxn>
                  <a:cxn ang="0">
                    <a:pos x="90" y="390"/>
                  </a:cxn>
                  <a:cxn ang="0">
                    <a:pos x="82" y="420"/>
                  </a:cxn>
                  <a:cxn ang="0">
                    <a:pos x="84" y="424"/>
                  </a:cxn>
                  <a:cxn ang="0">
                    <a:pos x="98" y="440"/>
                  </a:cxn>
                  <a:cxn ang="0">
                    <a:pos x="112" y="354"/>
                  </a:cxn>
                  <a:cxn ang="0">
                    <a:pos x="118" y="292"/>
                  </a:cxn>
                  <a:cxn ang="0">
                    <a:pos x="122" y="246"/>
                  </a:cxn>
                  <a:cxn ang="0">
                    <a:pos x="124" y="218"/>
                  </a:cxn>
                  <a:cxn ang="0">
                    <a:pos x="124" y="208"/>
                  </a:cxn>
                  <a:cxn ang="0">
                    <a:pos x="122" y="200"/>
                  </a:cxn>
                  <a:cxn ang="0">
                    <a:pos x="112" y="192"/>
                  </a:cxn>
                  <a:cxn ang="0">
                    <a:pos x="104" y="184"/>
                  </a:cxn>
                  <a:cxn ang="0">
                    <a:pos x="84" y="166"/>
                  </a:cxn>
                  <a:cxn ang="0">
                    <a:pos x="68" y="150"/>
                  </a:cxn>
                  <a:cxn ang="0">
                    <a:pos x="90" y="142"/>
                  </a:cxn>
                  <a:cxn ang="0">
                    <a:pos x="106" y="138"/>
                  </a:cxn>
                  <a:cxn ang="0">
                    <a:pos x="114" y="128"/>
                  </a:cxn>
                  <a:cxn ang="0">
                    <a:pos x="120" y="118"/>
                  </a:cxn>
                  <a:cxn ang="0">
                    <a:pos x="104" y="100"/>
                  </a:cxn>
                  <a:cxn ang="0">
                    <a:pos x="74" y="72"/>
                  </a:cxn>
                  <a:cxn ang="0">
                    <a:pos x="32" y="34"/>
                  </a:cxn>
                  <a:cxn ang="0">
                    <a:pos x="8" y="10"/>
                  </a:cxn>
                  <a:cxn ang="0">
                    <a:pos x="0" y="16"/>
                  </a:cxn>
                  <a:cxn ang="0">
                    <a:pos x="0" y="40"/>
                  </a:cxn>
                  <a:cxn ang="0">
                    <a:pos x="16" y="48"/>
                  </a:cxn>
                </a:cxnLst>
                <a:rect l="0" t="0" r="r" b="b"/>
                <a:pathLst>
                  <a:path w="124" h="452">
                    <a:moveTo>
                      <a:pt x="16" y="48"/>
                    </a:moveTo>
                    <a:lnTo>
                      <a:pt x="30" y="62"/>
                    </a:lnTo>
                    <a:lnTo>
                      <a:pt x="52" y="78"/>
                    </a:lnTo>
                    <a:lnTo>
                      <a:pt x="70" y="96"/>
                    </a:lnTo>
                    <a:lnTo>
                      <a:pt x="86" y="114"/>
                    </a:lnTo>
                    <a:lnTo>
                      <a:pt x="92" y="120"/>
                    </a:lnTo>
                    <a:lnTo>
                      <a:pt x="98" y="128"/>
                    </a:lnTo>
                    <a:lnTo>
                      <a:pt x="98" y="134"/>
                    </a:lnTo>
                    <a:lnTo>
                      <a:pt x="98" y="134"/>
                    </a:lnTo>
                    <a:lnTo>
                      <a:pt x="82" y="140"/>
                    </a:lnTo>
                    <a:lnTo>
                      <a:pt x="62" y="150"/>
                    </a:lnTo>
                    <a:lnTo>
                      <a:pt x="56" y="154"/>
                    </a:lnTo>
                    <a:lnTo>
                      <a:pt x="42" y="160"/>
                    </a:lnTo>
                    <a:lnTo>
                      <a:pt x="60" y="174"/>
                    </a:lnTo>
                    <a:lnTo>
                      <a:pt x="74" y="186"/>
                    </a:lnTo>
                    <a:lnTo>
                      <a:pt x="86" y="196"/>
                    </a:lnTo>
                    <a:lnTo>
                      <a:pt x="92" y="204"/>
                    </a:lnTo>
                    <a:lnTo>
                      <a:pt x="100" y="208"/>
                    </a:lnTo>
                    <a:lnTo>
                      <a:pt x="102" y="212"/>
                    </a:lnTo>
                    <a:lnTo>
                      <a:pt x="106" y="214"/>
                    </a:lnTo>
                    <a:lnTo>
                      <a:pt x="106" y="218"/>
                    </a:lnTo>
                    <a:lnTo>
                      <a:pt x="106" y="220"/>
                    </a:lnTo>
                    <a:lnTo>
                      <a:pt x="106" y="228"/>
                    </a:lnTo>
                    <a:lnTo>
                      <a:pt x="104" y="240"/>
                    </a:lnTo>
                    <a:lnTo>
                      <a:pt x="102" y="256"/>
                    </a:lnTo>
                    <a:lnTo>
                      <a:pt x="102" y="278"/>
                    </a:lnTo>
                    <a:lnTo>
                      <a:pt x="100" y="302"/>
                    </a:lnTo>
                    <a:lnTo>
                      <a:pt x="96" y="332"/>
                    </a:lnTo>
                    <a:lnTo>
                      <a:pt x="92" y="366"/>
                    </a:lnTo>
                    <a:lnTo>
                      <a:pt x="90" y="390"/>
                    </a:lnTo>
                    <a:lnTo>
                      <a:pt x="84" y="418"/>
                    </a:lnTo>
                    <a:lnTo>
                      <a:pt x="82" y="420"/>
                    </a:lnTo>
                    <a:lnTo>
                      <a:pt x="84" y="424"/>
                    </a:lnTo>
                    <a:lnTo>
                      <a:pt x="84" y="424"/>
                    </a:lnTo>
                    <a:lnTo>
                      <a:pt x="96" y="452"/>
                    </a:lnTo>
                    <a:lnTo>
                      <a:pt x="98" y="440"/>
                    </a:lnTo>
                    <a:lnTo>
                      <a:pt x="106" y="394"/>
                    </a:lnTo>
                    <a:lnTo>
                      <a:pt x="112" y="354"/>
                    </a:lnTo>
                    <a:lnTo>
                      <a:pt x="116" y="320"/>
                    </a:lnTo>
                    <a:lnTo>
                      <a:pt x="118" y="292"/>
                    </a:lnTo>
                    <a:lnTo>
                      <a:pt x="120" y="266"/>
                    </a:lnTo>
                    <a:lnTo>
                      <a:pt x="122" y="246"/>
                    </a:lnTo>
                    <a:lnTo>
                      <a:pt x="124" y="228"/>
                    </a:lnTo>
                    <a:lnTo>
                      <a:pt x="124" y="218"/>
                    </a:lnTo>
                    <a:lnTo>
                      <a:pt x="124" y="210"/>
                    </a:lnTo>
                    <a:lnTo>
                      <a:pt x="124" y="208"/>
                    </a:lnTo>
                    <a:lnTo>
                      <a:pt x="124" y="204"/>
                    </a:lnTo>
                    <a:lnTo>
                      <a:pt x="122" y="200"/>
                    </a:lnTo>
                    <a:lnTo>
                      <a:pt x="118" y="196"/>
                    </a:lnTo>
                    <a:lnTo>
                      <a:pt x="112" y="192"/>
                    </a:lnTo>
                    <a:lnTo>
                      <a:pt x="108" y="188"/>
                    </a:lnTo>
                    <a:lnTo>
                      <a:pt x="104" y="184"/>
                    </a:lnTo>
                    <a:lnTo>
                      <a:pt x="96" y="178"/>
                    </a:lnTo>
                    <a:lnTo>
                      <a:pt x="84" y="166"/>
                    </a:lnTo>
                    <a:lnTo>
                      <a:pt x="68" y="156"/>
                    </a:lnTo>
                    <a:lnTo>
                      <a:pt x="68" y="150"/>
                    </a:lnTo>
                    <a:lnTo>
                      <a:pt x="80" y="144"/>
                    </a:lnTo>
                    <a:lnTo>
                      <a:pt x="90" y="142"/>
                    </a:lnTo>
                    <a:lnTo>
                      <a:pt x="98" y="138"/>
                    </a:lnTo>
                    <a:lnTo>
                      <a:pt x="106" y="138"/>
                    </a:lnTo>
                    <a:lnTo>
                      <a:pt x="100" y="134"/>
                    </a:lnTo>
                    <a:lnTo>
                      <a:pt x="114" y="128"/>
                    </a:lnTo>
                    <a:lnTo>
                      <a:pt x="124" y="128"/>
                    </a:lnTo>
                    <a:lnTo>
                      <a:pt x="120" y="118"/>
                    </a:lnTo>
                    <a:lnTo>
                      <a:pt x="112" y="110"/>
                    </a:lnTo>
                    <a:lnTo>
                      <a:pt x="104" y="100"/>
                    </a:lnTo>
                    <a:lnTo>
                      <a:pt x="96" y="92"/>
                    </a:lnTo>
                    <a:lnTo>
                      <a:pt x="74" y="72"/>
                    </a:lnTo>
                    <a:lnTo>
                      <a:pt x="48" y="50"/>
                    </a:lnTo>
                    <a:lnTo>
                      <a:pt x="32" y="34"/>
                    </a:lnTo>
                    <a:lnTo>
                      <a:pt x="18" y="20"/>
                    </a:lnTo>
                    <a:lnTo>
                      <a:pt x="8" y="10"/>
                    </a:lnTo>
                    <a:lnTo>
                      <a:pt x="0" y="0"/>
                    </a:lnTo>
                    <a:lnTo>
                      <a:pt x="0" y="16"/>
                    </a:lnTo>
                    <a:lnTo>
                      <a:pt x="0" y="34"/>
                    </a:lnTo>
                    <a:lnTo>
                      <a:pt x="0" y="40"/>
                    </a:lnTo>
                    <a:lnTo>
                      <a:pt x="2" y="38"/>
                    </a:lnTo>
                    <a:lnTo>
                      <a:pt x="16" y="48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>
                  <a:solidFill>
                    <a:sysClr val="windowText" lastClr="000000"/>
                  </a:solidFill>
                  <a:latin typeface="Arial" pitchFamily="34" charset="0"/>
                  <a:cs typeface="+mn-cs"/>
                </a:endParaRPr>
              </a:p>
            </p:txBody>
          </p:sp>
          <p:sp>
            <p:nvSpPr>
              <p:cNvPr id="96" name="Freeform 69"/>
              <p:cNvSpPr>
                <a:spLocks/>
              </p:cNvSpPr>
              <p:nvPr/>
            </p:nvSpPr>
            <p:spPr bwMode="auto">
              <a:xfrm>
                <a:off x="1183041" y="2650761"/>
                <a:ext cx="254814" cy="702147"/>
              </a:xfrm>
              <a:custGeom>
                <a:avLst/>
                <a:gdLst>
                  <a:gd name="T0" fmla="*/ 158750 w 162"/>
                  <a:gd name="T1" fmla="*/ 514350 h 438"/>
                  <a:gd name="T2" fmla="*/ 155575 w 162"/>
                  <a:gd name="T3" fmla="*/ 539750 h 438"/>
                  <a:gd name="T4" fmla="*/ 152400 w 162"/>
                  <a:gd name="T5" fmla="*/ 555625 h 438"/>
                  <a:gd name="T6" fmla="*/ 139700 w 162"/>
                  <a:gd name="T7" fmla="*/ 581025 h 438"/>
                  <a:gd name="T8" fmla="*/ 152400 w 162"/>
                  <a:gd name="T9" fmla="*/ 555625 h 438"/>
                  <a:gd name="T10" fmla="*/ 155575 w 162"/>
                  <a:gd name="T11" fmla="*/ 539750 h 438"/>
                  <a:gd name="T12" fmla="*/ 158750 w 162"/>
                  <a:gd name="T13" fmla="*/ 514350 h 438"/>
                  <a:gd name="T14" fmla="*/ 158750 w 162"/>
                  <a:gd name="T15" fmla="*/ 473075 h 438"/>
                  <a:gd name="T16" fmla="*/ 95250 w 162"/>
                  <a:gd name="T17" fmla="*/ 327025 h 438"/>
                  <a:gd name="T18" fmla="*/ 92075 w 162"/>
                  <a:gd name="T19" fmla="*/ 320675 h 438"/>
                  <a:gd name="T20" fmla="*/ 34925 w 162"/>
                  <a:gd name="T21" fmla="*/ 152400 h 438"/>
                  <a:gd name="T22" fmla="*/ 15875 w 162"/>
                  <a:gd name="T23" fmla="*/ 73025 h 438"/>
                  <a:gd name="T24" fmla="*/ 0 w 162"/>
                  <a:gd name="T25" fmla="*/ 0 h 438"/>
                  <a:gd name="T26" fmla="*/ 9525 w 162"/>
                  <a:gd name="T27" fmla="*/ 85725 h 438"/>
                  <a:gd name="T28" fmla="*/ 15875 w 162"/>
                  <a:gd name="T29" fmla="*/ 171450 h 438"/>
                  <a:gd name="T30" fmla="*/ 31750 w 162"/>
                  <a:gd name="T31" fmla="*/ 273050 h 438"/>
                  <a:gd name="T32" fmla="*/ 41275 w 162"/>
                  <a:gd name="T33" fmla="*/ 320675 h 438"/>
                  <a:gd name="T34" fmla="*/ 53975 w 162"/>
                  <a:gd name="T35" fmla="*/ 374650 h 438"/>
                  <a:gd name="T36" fmla="*/ 57150 w 162"/>
                  <a:gd name="T37" fmla="*/ 381000 h 438"/>
                  <a:gd name="T38" fmla="*/ 60325 w 162"/>
                  <a:gd name="T39" fmla="*/ 409575 h 438"/>
                  <a:gd name="T40" fmla="*/ 73025 w 162"/>
                  <a:gd name="T41" fmla="*/ 460375 h 438"/>
                  <a:gd name="T42" fmla="*/ 88900 w 162"/>
                  <a:gd name="T43" fmla="*/ 511175 h 438"/>
                  <a:gd name="T44" fmla="*/ 104775 w 162"/>
                  <a:gd name="T45" fmla="*/ 549275 h 438"/>
                  <a:gd name="T46" fmla="*/ 114300 w 162"/>
                  <a:gd name="T47" fmla="*/ 577850 h 438"/>
                  <a:gd name="T48" fmla="*/ 127000 w 162"/>
                  <a:gd name="T49" fmla="*/ 600075 h 438"/>
                  <a:gd name="T50" fmla="*/ 136525 w 162"/>
                  <a:gd name="T51" fmla="*/ 615950 h 438"/>
                  <a:gd name="T52" fmla="*/ 76200 w 162"/>
                  <a:gd name="T53" fmla="*/ 574675 h 438"/>
                  <a:gd name="T54" fmla="*/ 76200 w 162"/>
                  <a:gd name="T55" fmla="*/ 577850 h 438"/>
                  <a:gd name="T56" fmla="*/ 79375 w 162"/>
                  <a:gd name="T57" fmla="*/ 609600 h 438"/>
                  <a:gd name="T58" fmla="*/ 73025 w 162"/>
                  <a:gd name="T59" fmla="*/ 641350 h 438"/>
                  <a:gd name="T60" fmla="*/ 60325 w 162"/>
                  <a:gd name="T61" fmla="*/ 695325 h 438"/>
                  <a:gd name="T62" fmla="*/ 107950 w 162"/>
                  <a:gd name="T63" fmla="*/ 688975 h 438"/>
                  <a:gd name="T64" fmla="*/ 206375 w 162"/>
                  <a:gd name="T65" fmla="*/ 676275 h 438"/>
                  <a:gd name="T66" fmla="*/ 225425 w 162"/>
                  <a:gd name="T67" fmla="*/ 669925 h 438"/>
                  <a:gd name="T68" fmla="*/ 254000 w 162"/>
                  <a:gd name="T69" fmla="*/ 666750 h 438"/>
                  <a:gd name="T70" fmla="*/ 222250 w 162"/>
                  <a:gd name="T71" fmla="*/ 596900 h 438"/>
                  <a:gd name="T72" fmla="*/ 187325 w 162"/>
                  <a:gd name="T73" fmla="*/ 527050 h 438"/>
                  <a:gd name="T74" fmla="*/ 158750 w 162"/>
                  <a:gd name="T75" fmla="*/ 495300 h 438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162"/>
                  <a:gd name="T115" fmla="*/ 0 h 438"/>
                  <a:gd name="T116" fmla="*/ 162 w 162"/>
                  <a:gd name="T117" fmla="*/ 438 h 438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162" h="438">
                    <a:moveTo>
                      <a:pt x="100" y="312"/>
                    </a:moveTo>
                    <a:lnTo>
                      <a:pt x="100" y="324"/>
                    </a:lnTo>
                    <a:lnTo>
                      <a:pt x="100" y="332"/>
                    </a:lnTo>
                    <a:lnTo>
                      <a:pt x="98" y="340"/>
                    </a:lnTo>
                    <a:lnTo>
                      <a:pt x="98" y="344"/>
                    </a:lnTo>
                    <a:lnTo>
                      <a:pt x="96" y="350"/>
                    </a:lnTo>
                    <a:lnTo>
                      <a:pt x="94" y="356"/>
                    </a:lnTo>
                    <a:lnTo>
                      <a:pt x="88" y="366"/>
                    </a:lnTo>
                    <a:lnTo>
                      <a:pt x="94" y="356"/>
                    </a:lnTo>
                    <a:lnTo>
                      <a:pt x="96" y="350"/>
                    </a:lnTo>
                    <a:lnTo>
                      <a:pt x="98" y="344"/>
                    </a:lnTo>
                    <a:lnTo>
                      <a:pt x="98" y="340"/>
                    </a:lnTo>
                    <a:lnTo>
                      <a:pt x="100" y="332"/>
                    </a:lnTo>
                    <a:lnTo>
                      <a:pt x="100" y="324"/>
                    </a:lnTo>
                    <a:lnTo>
                      <a:pt x="100" y="312"/>
                    </a:lnTo>
                    <a:lnTo>
                      <a:pt x="100" y="298"/>
                    </a:lnTo>
                    <a:lnTo>
                      <a:pt x="72" y="234"/>
                    </a:lnTo>
                    <a:lnTo>
                      <a:pt x="60" y="206"/>
                    </a:lnTo>
                    <a:lnTo>
                      <a:pt x="58" y="202"/>
                    </a:lnTo>
                    <a:lnTo>
                      <a:pt x="40" y="146"/>
                    </a:lnTo>
                    <a:lnTo>
                      <a:pt x="22" y="96"/>
                    </a:lnTo>
                    <a:lnTo>
                      <a:pt x="16" y="70"/>
                    </a:lnTo>
                    <a:lnTo>
                      <a:pt x="10" y="46"/>
                    </a:lnTo>
                    <a:lnTo>
                      <a:pt x="0" y="0"/>
                    </a:lnTo>
                    <a:lnTo>
                      <a:pt x="4" y="36"/>
                    </a:lnTo>
                    <a:lnTo>
                      <a:pt x="6" y="54"/>
                    </a:lnTo>
                    <a:lnTo>
                      <a:pt x="6" y="74"/>
                    </a:lnTo>
                    <a:lnTo>
                      <a:pt x="10" y="108"/>
                    </a:lnTo>
                    <a:lnTo>
                      <a:pt x="14" y="140"/>
                    </a:lnTo>
                    <a:lnTo>
                      <a:pt x="20" y="172"/>
                    </a:lnTo>
                    <a:lnTo>
                      <a:pt x="24" y="186"/>
                    </a:lnTo>
                    <a:lnTo>
                      <a:pt x="26" y="202"/>
                    </a:lnTo>
                    <a:lnTo>
                      <a:pt x="32" y="230"/>
                    </a:lnTo>
                    <a:lnTo>
                      <a:pt x="34" y="236"/>
                    </a:lnTo>
                    <a:lnTo>
                      <a:pt x="36" y="238"/>
                    </a:lnTo>
                    <a:lnTo>
                      <a:pt x="36" y="240"/>
                    </a:lnTo>
                    <a:lnTo>
                      <a:pt x="36" y="244"/>
                    </a:lnTo>
                    <a:lnTo>
                      <a:pt x="38" y="258"/>
                    </a:lnTo>
                    <a:lnTo>
                      <a:pt x="44" y="286"/>
                    </a:lnTo>
                    <a:lnTo>
                      <a:pt x="46" y="290"/>
                    </a:lnTo>
                    <a:lnTo>
                      <a:pt x="52" y="306"/>
                    </a:lnTo>
                    <a:lnTo>
                      <a:pt x="56" y="322"/>
                    </a:lnTo>
                    <a:lnTo>
                      <a:pt x="62" y="334"/>
                    </a:lnTo>
                    <a:lnTo>
                      <a:pt x="66" y="346"/>
                    </a:lnTo>
                    <a:lnTo>
                      <a:pt x="70" y="356"/>
                    </a:lnTo>
                    <a:lnTo>
                      <a:pt x="72" y="364"/>
                    </a:lnTo>
                    <a:lnTo>
                      <a:pt x="76" y="372"/>
                    </a:lnTo>
                    <a:lnTo>
                      <a:pt x="80" y="378"/>
                    </a:lnTo>
                    <a:lnTo>
                      <a:pt x="84" y="384"/>
                    </a:lnTo>
                    <a:lnTo>
                      <a:pt x="86" y="388"/>
                    </a:lnTo>
                    <a:lnTo>
                      <a:pt x="66" y="374"/>
                    </a:lnTo>
                    <a:lnTo>
                      <a:pt x="48" y="362"/>
                    </a:lnTo>
                    <a:lnTo>
                      <a:pt x="48" y="364"/>
                    </a:lnTo>
                    <a:lnTo>
                      <a:pt x="50" y="380"/>
                    </a:lnTo>
                    <a:lnTo>
                      <a:pt x="50" y="384"/>
                    </a:lnTo>
                    <a:lnTo>
                      <a:pt x="50" y="392"/>
                    </a:lnTo>
                    <a:lnTo>
                      <a:pt x="46" y="404"/>
                    </a:lnTo>
                    <a:lnTo>
                      <a:pt x="44" y="418"/>
                    </a:lnTo>
                    <a:lnTo>
                      <a:pt x="38" y="438"/>
                    </a:lnTo>
                    <a:lnTo>
                      <a:pt x="54" y="436"/>
                    </a:lnTo>
                    <a:lnTo>
                      <a:pt x="68" y="434"/>
                    </a:lnTo>
                    <a:lnTo>
                      <a:pt x="98" y="430"/>
                    </a:lnTo>
                    <a:lnTo>
                      <a:pt x="130" y="426"/>
                    </a:lnTo>
                    <a:lnTo>
                      <a:pt x="138" y="422"/>
                    </a:lnTo>
                    <a:lnTo>
                      <a:pt x="142" y="422"/>
                    </a:lnTo>
                    <a:lnTo>
                      <a:pt x="144" y="422"/>
                    </a:lnTo>
                    <a:lnTo>
                      <a:pt x="160" y="420"/>
                    </a:lnTo>
                    <a:lnTo>
                      <a:pt x="162" y="418"/>
                    </a:lnTo>
                    <a:lnTo>
                      <a:pt x="140" y="376"/>
                    </a:lnTo>
                    <a:lnTo>
                      <a:pt x="118" y="334"/>
                    </a:lnTo>
                    <a:lnTo>
                      <a:pt x="118" y="332"/>
                    </a:lnTo>
                    <a:lnTo>
                      <a:pt x="100" y="298"/>
                    </a:lnTo>
                    <a:lnTo>
                      <a:pt x="100" y="312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>
                  <a:solidFill>
                    <a:sysClr val="windowText" lastClr="000000"/>
                  </a:solidFill>
                  <a:latin typeface="+mn-lt"/>
                  <a:cs typeface="+mn-cs"/>
                </a:endParaRPr>
              </a:p>
            </p:txBody>
          </p:sp>
          <p:sp>
            <p:nvSpPr>
              <p:cNvPr id="97" name="Freeform 70"/>
              <p:cNvSpPr>
                <a:spLocks/>
              </p:cNvSpPr>
              <p:nvPr/>
            </p:nvSpPr>
            <p:spPr bwMode="auto">
              <a:xfrm>
                <a:off x="690981" y="2408640"/>
                <a:ext cx="237240" cy="887775"/>
              </a:xfrm>
              <a:custGeom>
                <a:avLst/>
                <a:gdLst>
                  <a:gd name="T0" fmla="*/ 184150 w 148"/>
                  <a:gd name="T1" fmla="*/ 438150 h 558"/>
                  <a:gd name="T2" fmla="*/ 161925 w 148"/>
                  <a:gd name="T3" fmla="*/ 190500 h 558"/>
                  <a:gd name="T4" fmla="*/ 231775 w 148"/>
                  <a:gd name="T5" fmla="*/ 50800 h 558"/>
                  <a:gd name="T6" fmla="*/ 234950 w 148"/>
                  <a:gd name="T7" fmla="*/ 31750 h 558"/>
                  <a:gd name="T8" fmla="*/ 219075 w 148"/>
                  <a:gd name="T9" fmla="*/ 0 h 558"/>
                  <a:gd name="T10" fmla="*/ 209550 w 148"/>
                  <a:gd name="T11" fmla="*/ 6350 h 558"/>
                  <a:gd name="T12" fmla="*/ 206375 w 148"/>
                  <a:gd name="T13" fmla="*/ 15875 h 558"/>
                  <a:gd name="T14" fmla="*/ 104775 w 148"/>
                  <a:gd name="T15" fmla="*/ 285750 h 558"/>
                  <a:gd name="T16" fmla="*/ 79375 w 148"/>
                  <a:gd name="T17" fmla="*/ 520700 h 558"/>
                  <a:gd name="T18" fmla="*/ 0 w 148"/>
                  <a:gd name="T19" fmla="*/ 885825 h 558"/>
                  <a:gd name="T20" fmla="*/ 117475 w 148"/>
                  <a:gd name="T21" fmla="*/ 606425 h 558"/>
                  <a:gd name="T22" fmla="*/ 184150 w 148"/>
                  <a:gd name="T23" fmla="*/ 438150 h 558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148"/>
                  <a:gd name="T37" fmla="*/ 0 h 558"/>
                  <a:gd name="T38" fmla="*/ 148 w 148"/>
                  <a:gd name="T39" fmla="*/ 558 h 558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148" h="558">
                    <a:moveTo>
                      <a:pt x="116" y="276"/>
                    </a:moveTo>
                    <a:lnTo>
                      <a:pt x="102" y="120"/>
                    </a:lnTo>
                    <a:lnTo>
                      <a:pt x="146" y="32"/>
                    </a:lnTo>
                    <a:lnTo>
                      <a:pt x="148" y="20"/>
                    </a:lnTo>
                    <a:lnTo>
                      <a:pt x="138" y="0"/>
                    </a:lnTo>
                    <a:lnTo>
                      <a:pt x="132" y="4"/>
                    </a:lnTo>
                    <a:lnTo>
                      <a:pt x="130" y="10"/>
                    </a:lnTo>
                    <a:lnTo>
                      <a:pt x="66" y="180"/>
                    </a:lnTo>
                    <a:lnTo>
                      <a:pt x="50" y="328"/>
                    </a:lnTo>
                    <a:lnTo>
                      <a:pt x="0" y="558"/>
                    </a:lnTo>
                    <a:lnTo>
                      <a:pt x="74" y="382"/>
                    </a:lnTo>
                    <a:lnTo>
                      <a:pt x="116" y="276"/>
                    </a:lnTo>
                    <a:close/>
                  </a:path>
                </a:pathLst>
              </a:custGeom>
              <a:grpFill/>
              <a:ln w="8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>
                  <a:solidFill>
                    <a:sysClr val="windowText" lastClr="000000"/>
                  </a:solidFill>
                  <a:latin typeface="+mn-lt"/>
                  <a:cs typeface="+mn-cs"/>
                </a:endParaRPr>
              </a:p>
            </p:txBody>
          </p:sp>
          <p:sp>
            <p:nvSpPr>
              <p:cNvPr id="98" name="Freeform 71"/>
              <p:cNvSpPr>
                <a:spLocks/>
              </p:cNvSpPr>
              <p:nvPr/>
            </p:nvSpPr>
            <p:spPr bwMode="auto">
              <a:xfrm>
                <a:off x="1042452" y="3126929"/>
                <a:ext cx="61505" cy="225979"/>
              </a:xfrm>
              <a:custGeom>
                <a:avLst/>
                <a:gdLst>
                  <a:gd name="T0" fmla="*/ 50800 w 38"/>
                  <a:gd name="T1" fmla="*/ 161925 h 140"/>
                  <a:gd name="T2" fmla="*/ 31750 w 38"/>
                  <a:gd name="T3" fmla="*/ 92075 h 140"/>
                  <a:gd name="T4" fmla="*/ 28575 w 38"/>
                  <a:gd name="T5" fmla="*/ 73025 h 140"/>
                  <a:gd name="T6" fmla="*/ 25400 w 38"/>
                  <a:gd name="T7" fmla="*/ 50800 h 140"/>
                  <a:gd name="T8" fmla="*/ 22225 w 38"/>
                  <a:gd name="T9" fmla="*/ 28575 h 140"/>
                  <a:gd name="T10" fmla="*/ 19050 w 38"/>
                  <a:gd name="T11" fmla="*/ 0 h 140"/>
                  <a:gd name="T12" fmla="*/ 12700 w 38"/>
                  <a:gd name="T13" fmla="*/ 0 h 140"/>
                  <a:gd name="T14" fmla="*/ 12700 w 38"/>
                  <a:gd name="T15" fmla="*/ 15875 h 140"/>
                  <a:gd name="T16" fmla="*/ 12700 w 38"/>
                  <a:gd name="T17" fmla="*/ 34925 h 140"/>
                  <a:gd name="T18" fmla="*/ 12700 w 38"/>
                  <a:gd name="T19" fmla="*/ 53975 h 140"/>
                  <a:gd name="T20" fmla="*/ 9525 w 38"/>
                  <a:gd name="T21" fmla="*/ 79375 h 140"/>
                  <a:gd name="T22" fmla="*/ 9525 w 38"/>
                  <a:gd name="T23" fmla="*/ 104775 h 140"/>
                  <a:gd name="T24" fmla="*/ 6350 w 38"/>
                  <a:gd name="T25" fmla="*/ 136525 h 140"/>
                  <a:gd name="T26" fmla="*/ 6350 w 38"/>
                  <a:gd name="T27" fmla="*/ 168275 h 140"/>
                  <a:gd name="T28" fmla="*/ 3175 w 38"/>
                  <a:gd name="T29" fmla="*/ 206375 h 140"/>
                  <a:gd name="T30" fmla="*/ 0 w 38"/>
                  <a:gd name="T31" fmla="*/ 215900 h 140"/>
                  <a:gd name="T32" fmla="*/ 60325 w 38"/>
                  <a:gd name="T33" fmla="*/ 222250 h 140"/>
                  <a:gd name="T34" fmla="*/ 57150 w 38"/>
                  <a:gd name="T35" fmla="*/ 190500 h 140"/>
                  <a:gd name="T36" fmla="*/ 50800 w 38"/>
                  <a:gd name="T37" fmla="*/ 161925 h 140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w 38"/>
                  <a:gd name="T58" fmla="*/ 0 h 140"/>
                  <a:gd name="T59" fmla="*/ 38 w 38"/>
                  <a:gd name="T60" fmla="*/ 140 h 140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T57" t="T58" r="T59" b="T60"/>
                <a:pathLst>
                  <a:path w="38" h="140">
                    <a:moveTo>
                      <a:pt x="32" y="102"/>
                    </a:moveTo>
                    <a:lnTo>
                      <a:pt x="20" y="58"/>
                    </a:lnTo>
                    <a:lnTo>
                      <a:pt x="18" y="46"/>
                    </a:lnTo>
                    <a:lnTo>
                      <a:pt x="16" y="32"/>
                    </a:lnTo>
                    <a:lnTo>
                      <a:pt x="14" y="18"/>
                    </a:lnTo>
                    <a:lnTo>
                      <a:pt x="12" y="0"/>
                    </a:lnTo>
                    <a:lnTo>
                      <a:pt x="8" y="0"/>
                    </a:lnTo>
                    <a:lnTo>
                      <a:pt x="8" y="10"/>
                    </a:lnTo>
                    <a:lnTo>
                      <a:pt x="8" y="22"/>
                    </a:lnTo>
                    <a:lnTo>
                      <a:pt x="8" y="34"/>
                    </a:lnTo>
                    <a:lnTo>
                      <a:pt x="6" y="50"/>
                    </a:lnTo>
                    <a:lnTo>
                      <a:pt x="6" y="66"/>
                    </a:lnTo>
                    <a:lnTo>
                      <a:pt x="4" y="86"/>
                    </a:lnTo>
                    <a:lnTo>
                      <a:pt x="4" y="106"/>
                    </a:lnTo>
                    <a:lnTo>
                      <a:pt x="2" y="130"/>
                    </a:lnTo>
                    <a:lnTo>
                      <a:pt x="0" y="136"/>
                    </a:lnTo>
                    <a:lnTo>
                      <a:pt x="38" y="140"/>
                    </a:lnTo>
                    <a:lnTo>
                      <a:pt x="36" y="120"/>
                    </a:lnTo>
                    <a:lnTo>
                      <a:pt x="32" y="102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>
                  <a:solidFill>
                    <a:sysClr val="windowText" lastClr="000000"/>
                  </a:solidFill>
                  <a:latin typeface="+mn-lt"/>
                  <a:cs typeface="+mn-cs"/>
                </a:endParaRPr>
              </a:p>
            </p:txBody>
          </p:sp>
          <p:sp>
            <p:nvSpPr>
              <p:cNvPr id="99" name="Freeform 72"/>
              <p:cNvSpPr>
                <a:spLocks/>
              </p:cNvSpPr>
              <p:nvPr/>
            </p:nvSpPr>
            <p:spPr bwMode="auto">
              <a:xfrm>
                <a:off x="647045" y="3013939"/>
                <a:ext cx="219672" cy="847424"/>
              </a:xfrm>
              <a:custGeom>
                <a:avLst/>
                <a:gdLst>
                  <a:gd name="T0" fmla="*/ 209550 w 140"/>
                  <a:gd name="T1" fmla="*/ 358775 h 532"/>
                  <a:gd name="T2" fmla="*/ 222250 w 140"/>
                  <a:gd name="T3" fmla="*/ 282575 h 532"/>
                  <a:gd name="T4" fmla="*/ 174625 w 140"/>
                  <a:gd name="T5" fmla="*/ 260350 h 532"/>
                  <a:gd name="T6" fmla="*/ 171450 w 140"/>
                  <a:gd name="T7" fmla="*/ 257175 h 532"/>
                  <a:gd name="T8" fmla="*/ 165100 w 140"/>
                  <a:gd name="T9" fmla="*/ 0 h 532"/>
                  <a:gd name="T10" fmla="*/ 47625 w 140"/>
                  <a:gd name="T11" fmla="*/ 279400 h 532"/>
                  <a:gd name="T12" fmla="*/ 22225 w 140"/>
                  <a:gd name="T13" fmla="*/ 358775 h 532"/>
                  <a:gd name="T14" fmla="*/ 22225 w 140"/>
                  <a:gd name="T15" fmla="*/ 361950 h 532"/>
                  <a:gd name="T16" fmla="*/ 15875 w 140"/>
                  <a:gd name="T17" fmla="*/ 406400 h 532"/>
                  <a:gd name="T18" fmla="*/ 6350 w 140"/>
                  <a:gd name="T19" fmla="*/ 511175 h 532"/>
                  <a:gd name="T20" fmla="*/ 0 w 140"/>
                  <a:gd name="T21" fmla="*/ 577850 h 532"/>
                  <a:gd name="T22" fmla="*/ 3175 w 140"/>
                  <a:gd name="T23" fmla="*/ 577850 h 532"/>
                  <a:gd name="T24" fmla="*/ 6350 w 140"/>
                  <a:gd name="T25" fmla="*/ 844550 h 532"/>
                  <a:gd name="T26" fmla="*/ 123825 w 140"/>
                  <a:gd name="T27" fmla="*/ 339725 h 532"/>
                  <a:gd name="T28" fmla="*/ 209550 w 140"/>
                  <a:gd name="T29" fmla="*/ 358775 h 532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140"/>
                  <a:gd name="T46" fmla="*/ 0 h 532"/>
                  <a:gd name="T47" fmla="*/ 140 w 140"/>
                  <a:gd name="T48" fmla="*/ 532 h 532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140" h="532">
                    <a:moveTo>
                      <a:pt x="132" y="226"/>
                    </a:moveTo>
                    <a:lnTo>
                      <a:pt x="140" y="178"/>
                    </a:lnTo>
                    <a:lnTo>
                      <a:pt x="110" y="164"/>
                    </a:lnTo>
                    <a:lnTo>
                      <a:pt x="108" y="162"/>
                    </a:lnTo>
                    <a:lnTo>
                      <a:pt x="104" y="0"/>
                    </a:lnTo>
                    <a:lnTo>
                      <a:pt x="30" y="176"/>
                    </a:lnTo>
                    <a:lnTo>
                      <a:pt x="14" y="226"/>
                    </a:lnTo>
                    <a:lnTo>
                      <a:pt x="14" y="228"/>
                    </a:lnTo>
                    <a:lnTo>
                      <a:pt x="10" y="256"/>
                    </a:lnTo>
                    <a:lnTo>
                      <a:pt x="4" y="322"/>
                    </a:lnTo>
                    <a:lnTo>
                      <a:pt x="0" y="364"/>
                    </a:lnTo>
                    <a:lnTo>
                      <a:pt x="2" y="364"/>
                    </a:lnTo>
                    <a:lnTo>
                      <a:pt x="4" y="532"/>
                    </a:lnTo>
                    <a:lnTo>
                      <a:pt x="78" y="214"/>
                    </a:lnTo>
                    <a:lnTo>
                      <a:pt x="132" y="226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>
                  <a:solidFill>
                    <a:sysClr val="windowText" lastClr="000000"/>
                  </a:solidFill>
                  <a:latin typeface="+mn-lt"/>
                  <a:cs typeface="+mn-cs"/>
                </a:endParaRPr>
              </a:p>
            </p:txBody>
          </p:sp>
          <p:sp>
            <p:nvSpPr>
              <p:cNvPr id="100" name="Freeform 73"/>
              <p:cNvSpPr>
                <a:spLocks/>
              </p:cNvSpPr>
              <p:nvPr/>
            </p:nvSpPr>
            <p:spPr bwMode="auto">
              <a:xfrm>
                <a:off x="603114" y="3296415"/>
                <a:ext cx="535990" cy="1606063"/>
              </a:xfrm>
              <a:custGeom>
                <a:avLst/>
                <a:gdLst>
                  <a:gd name="T0" fmla="*/ 79375 w 336"/>
                  <a:gd name="T1" fmla="*/ 1562100 h 1014"/>
                  <a:gd name="T2" fmla="*/ 127000 w 336"/>
                  <a:gd name="T3" fmla="*/ 1463675 h 1014"/>
                  <a:gd name="T4" fmla="*/ 136525 w 336"/>
                  <a:gd name="T5" fmla="*/ 1143000 h 1014"/>
                  <a:gd name="T6" fmla="*/ 120650 w 336"/>
                  <a:gd name="T7" fmla="*/ 1092200 h 1014"/>
                  <a:gd name="T8" fmla="*/ 158750 w 336"/>
                  <a:gd name="T9" fmla="*/ 1012825 h 1014"/>
                  <a:gd name="T10" fmla="*/ 215900 w 336"/>
                  <a:gd name="T11" fmla="*/ 555625 h 1014"/>
                  <a:gd name="T12" fmla="*/ 279400 w 336"/>
                  <a:gd name="T13" fmla="*/ 530225 h 1014"/>
                  <a:gd name="T14" fmla="*/ 206375 w 336"/>
                  <a:gd name="T15" fmla="*/ 447675 h 1014"/>
                  <a:gd name="T16" fmla="*/ 314325 w 336"/>
                  <a:gd name="T17" fmla="*/ 447675 h 1014"/>
                  <a:gd name="T18" fmla="*/ 238125 w 336"/>
                  <a:gd name="T19" fmla="*/ 346075 h 1014"/>
                  <a:gd name="T20" fmla="*/ 304800 w 336"/>
                  <a:gd name="T21" fmla="*/ 95250 h 1014"/>
                  <a:gd name="T22" fmla="*/ 403225 w 336"/>
                  <a:gd name="T23" fmla="*/ 311150 h 1014"/>
                  <a:gd name="T24" fmla="*/ 403225 w 336"/>
                  <a:gd name="T25" fmla="*/ 142875 h 1014"/>
                  <a:gd name="T26" fmla="*/ 390525 w 336"/>
                  <a:gd name="T27" fmla="*/ 136525 h 1014"/>
                  <a:gd name="T28" fmla="*/ 374650 w 336"/>
                  <a:gd name="T29" fmla="*/ 133350 h 1014"/>
                  <a:gd name="T30" fmla="*/ 377825 w 336"/>
                  <a:gd name="T31" fmla="*/ 53975 h 1014"/>
                  <a:gd name="T32" fmla="*/ 396875 w 336"/>
                  <a:gd name="T33" fmla="*/ 57150 h 1014"/>
                  <a:gd name="T34" fmla="*/ 400050 w 336"/>
                  <a:gd name="T35" fmla="*/ 57150 h 1014"/>
                  <a:gd name="T36" fmla="*/ 403225 w 336"/>
                  <a:gd name="T37" fmla="*/ 60325 h 1014"/>
                  <a:gd name="T38" fmla="*/ 409575 w 336"/>
                  <a:gd name="T39" fmla="*/ 63500 h 1014"/>
                  <a:gd name="T40" fmla="*/ 419100 w 336"/>
                  <a:gd name="T41" fmla="*/ 63500 h 1014"/>
                  <a:gd name="T42" fmla="*/ 425450 w 336"/>
                  <a:gd name="T43" fmla="*/ 63500 h 1014"/>
                  <a:gd name="T44" fmla="*/ 428625 w 336"/>
                  <a:gd name="T45" fmla="*/ 63500 h 1014"/>
                  <a:gd name="T46" fmla="*/ 447675 w 336"/>
                  <a:gd name="T47" fmla="*/ 66675 h 1014"/>
                  <a:gd name="T48" fmla="*/ 466725 w 336"/>
                  <a:gd name="T49" fmla="*/ 66675 h 1014"/>
                  <a:gd name="T50" fmla="*/ 488950 w 336"/>
                  <a:gd name="T51" fmla="*/ 69850 h 1014"/>
                  <a:gd name="T52" fmla="*/ 533400 w 336"/>
                  <a:gd name="T53" fmla="*/ 69850 h 1014"/>
                  <a:gd name="T54" fmla="*/ 533400 w 336"/>
                  <a:gd name="T55" fmla="*/ 53975 h 1014"/>
                  <a:gd name="T56" fmla="*/ 501650 w 336"/>
                  <a:gd name="T57" fmla="*/ 53975 h 1014"/>
                  <a:gd name="T58" fmla="*/ 441325 w 336"/>
                  <a:gd name="T59" fmla="*/ 47625 h 1014"/>
                  <a:gd name="T60" fmla="*/ 431800 w 336"/>
                  <a:gd name="T61" fmla="*/ 44450 h 1014"/>
                  <a:gd name="T62" fmla="*/ 422275 w 336"/>
                  <a:gd name="T63" fmla="*/ 44450 h 1014"/>
                  <a:gd name="T64" fmla="*/ 403225 w 336"/>
                  <a:gd name="T65" fmla="*/ 41275 h 1014"/>
                  <a:gd name="T66" fmla="*/ 361950 w 336"/>
                  <a:gd name="T67" fmla="*/ 31750 h 1014"/>
                  <a:gd name="T68" fmla="*/ 323850 w 336"/>
                  <a:gd name="T69" fmla="*/ 22225 h 1014"/>
                  <a:gd name="T70" fmla="*/ 307975 w 336"/>
                  <a:gd name="T71" fmla="*/ 15875 h 1014"/>
                  <a:gd name="T72" fmla="*/ 285750 w 336"/>
                  <a:gd name="T73" fmla="*/ 9525 h 1014"/>
                  <a:gd name="T74" fmla="*/ 260350 w 336"/>
                  <a:gd name="T75" fmla="*/ 0 h 1014"/>
                  <a:gd name="T76" fmla="*/ 247650 w 336"/>
                  <a:gd name="T77" fmla="*/ 76200 h 1014"/>
                  <a:gd name="T78" fmla="*/ 161925 w 336"/>
                  <a:gd name="T79" fmla="*/ 57150 h 1014"/>
                  <a:gd name="T80" fmla="*/ 44450 w 336"/>
                  <a:gd name="T81" fmla="*/ 561975 h 1014"/>
                  <a:gd name="T82" fmla="*/ 47625 w 336"/>
                  <a:gd name="T83" fmla="*/ 736600 h 1014"/>
                  <a:gd name="T84" fmla="*/ 0 w 336"/>
                  <a:gd name="T85" fmla="*/ 1466850 h 1014"/>
                  <a:gd name="T86" fmla="*/ 12700 w 336"/>
                  <a:gd name="T87" fmla="*/ 1549400 h 1014"/>
                  <a:gd name="T88" fmla="*/ 3175 w 336"/>
                  <a:gd name="T89" fmla="*/ 1577975 h 1014"/>
                  <a:gd name="T90" fmla="*/ 117475 w 336"/>
                  <a:gd name="T91" fmla="*/ 1609725 h 1014"/>
                  <a:gd name="T92" fmla="*/ 79375 w 336"/>
                  <a:gd name="T93" fmla="*/ 1562100 h 1014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w 336"/>
                  <a:gd name="T142" fmla="*/ 0 h 1014"/>
                  <a:gd name="T143" fmla="*/ 336 w 336"/>
                  <a:gd name="T144" fmla="*/ 1014 h 1014"/>
                </a:gdLst>
                <a:ahLst/>
                <a:cxnLst>
                  <a:cxn ang="T94">
                    <a:pos x="T0" y="T1"/>
                  </a:cxn>
                  <a:cxn ang="T95">
                    <a:pos x="T2" y="T3"/>
                  </a:cxn>
                  <a:cxn ang="T96">
                    <a:pos x="T4" y="T5"/>
                  </a:cxn>
                  <a:cxn ang="T97">
                    <a:pos x="T6" y="T7"/>
                  </a:cxn>
                  <a:cxn ang="T98">
                    <a:pos x="T8" y="T9"/>
                  </a:cxn>
                  <a:cxn ang="T99">
                    <a:pos x="T10" y="T11"/>
                  </a:cxn>
                  <a:cxn ang="T100">
                    <a:pos x="T12" y="T13"/>
                  </a:cxn>
                  <a:cxn ang="T101">
                    <a:pos x="T14" y="T15"/>
                  </a:cxn>
                  <a:cxn ang="T102">
                    <a:pos x="T16" y="T17"/>
                  </a:cxn>
                  <a:cxn ang="T103">
                    <a:pos x="T18" y="T19"/>
                  </a:cxn>
                  <a:cxn ang="T104">
                    <a:pos x="T20" y="T21"/>
                  </a:cxn>
                  <a:cxn ang="T105">
                    <a:pos x="T22" y="T23"/>
                  </a:cxn>
                  <a:cxn ang="T106">
                    <a:pos x="T24" y="T25"/>
                  </a:cxn>
                  <a:cxn ang="T107">
                    <a:pos x="T26" y="T27"/>
                  </a:cxn>
                  <a:cxn ang="T108">
                    <a:pos x="T28" y="T29"/>
                  </a:cxn>
                  <a:cxn ang="T109">
                    <a:pos x="T30" y="T31"/>
                  </a:cxn>
                  <a:cxn ang="T110">
                    <a:pos x="T32" y="T33"/>
                  </a:cxn>
                  <a:cxn ang="T111">
                    <a:pos x="T34" y="T35"/>
                  </a:cxn>
                  <a:cxn ang="T112">
                    <a:pos x="T36" y="T37"/>
                  </a:cxn>
                  <a:cxn ang="T113">
                    <a:pos x="T38" y="T39"/>
                  </a:cxn>
                  <a:cxn ang="T114">
                    <a:pos x="T40" y="T41"/>
                  </a:cxn>
                  <a:cxn ang="T115">
                    <a:pos x="T42" y="T43"/>
                  </a:cxn>
                  <a:cxn ang="T116">
                    <a:pos x="T44" y="T45"/>
                  </a:cxn>
                  <a:cxn ang="T117">
                    <a:pos x="T46" y="T47"/>
                  </a:cxn>
                  <a:cxn ang="T118">
                    <a:pos x="T48" y="T49"/>
                  </a:cxn>
                  <a:cxn ang="T119">
                    <a:pos x="T50" y="T51"/>
                  </a:cxn>
                  <a:cxn ang="T120">
                    <a:pos x="T52" y="T53"/>
                  </a:cxn>
                  <a:cxn ang="T121">
                    <a:pos x="T54" y="T55"/>
                  </a:cxn>
                  <a:cxn ang="T122">
                    <a:pos x="T56" y="T57"/>
                  </a:cxn>
                  <a:cxn ang="T123">
                    <a:pos x="T58" y="T59"/>
                  </a:cxn>
                  <a:cxn ang="T124">
                    <a:pos x="T60" y="T61"/>
                  </a:cxn>
                  <a:cxn ang="T125">
                    <a:pos x="T62" y="T63"/>
                  </a:cxn>
                  <a:cxn ang="T126">
                    <a:pos x="T64" y="T65"/>
                  </a:cxn>
                  <a:cxn ang="T127">
                    <a:pos x="T66" y="T67"/>
                  </a:cxn>
                  <a:cxn ang="T128">
                    <a:pos x="T68" y="T69"/>
                  </a:cxn>
                  <a:cxn ang="T129">
                    <a:pos x="T70" y="T71"/>
                  </a:cxn>
                  <a:cxn ang="T130">
                    <a:pos x="T72" y="T73"/>
                  </a:cxn>
                  <a:cxn ang="T131">
                    <a:pos x="T74" y="T75"/>
                  </a:cxn>
                  <a:cxn ang="T132">
                    <a:pos x="T76" y="T77"/>
                  </a:cxn>
                  <a:cxn ang="T133">
                    <a:pos x="T78" y="T79"/>
                  </a:cxn>
                  <a:cxn ang="T134">
                    <a:pos x="T80" y="T81"/>
                  </a:cxn>
                  <a:cxn ang="T135">
                    <a:pos x="T82" y="T83"/>
                  </a:cxn>
                  <a:cxn ang="T136">
                    <a:pos x="T84" y="T85"/>
                  </a:cxn>
                  <a:cxn ang="T137">
                    <a:pos x="T86" y="T87"/>
                  </a:cxn>
                  <a:cxn ang="T138">
                    <a:pos x="T88" y="T89"/>
                  </a:cxn>
                  <a:cxn ang="T139">
                    <a:pos x="T90" y="T91"/>
                  </a:cxn>
                  <a:cxn ang="T140">
                    <a:pos x="T92" y="T93"/>
                  </a:cxn>
                </a:cxnLst>
                <a:rect l="T141" t="T142" r="T143" b="T144"/>
                <a:pathLst>
                  <a:path w="336" h="1014">
                    <a:moveTo>
                      <a:pt x="50" y="984"/>
                    </a:moveTo>
                    <a:lnTo>
                      <a:pt x="80" y="922"/>
                    </a:lnTo>
                    <a:lnTo>
                      <a:pt x="86" y="720"/>
                    </a:lnTo>
                    <a:lnTo>
                      <a:pt x="76" y="688"/>
                    </a:lnTo>
                    <a:lnTo>
                      <a:pt x="100" y="638"/>
                    </a:lnTo>
                    <a:lnTo>
                      <a:pt x="136" y="350"/>
                    </a:lnTo>
                    <a:lnTo>
                      <a:pt x="176" y="334"/>
                    </a:lnTo>
                    <a:lnTo>
                      <a:pt x="130" y="282"/>
                    </a:lnTo>
                    <a:lnTo>
                      <a:pt x="198" y="282"/>
                    </a:lnTo>
                    <a:lnTo>
                      <a:pt x="150" y="218"/>
                    </a:lnTo>
                    <a:lnTo>
                      <a:pt x="192" y="60"/>
                    </a:lnTo>
                    <a:lnTo>
                      <a:pt x="254" y="196"/>
                    </a:lnTo>
                    <a:lnTo>
                      <a:pt x="254" y="90"/>
                    </a:lnTo>
                    <a:lnTo>
                      <a:pt x="246" y="86"/>
                    </a:lnTo>
                    <a:lnTo>
                      <a:pt x="236" y="84"/>
                    </a:lnTo>
                    <a:lnTo>
                      <a:pt x="238" y="34"/>
                    </a:lnTo>
                    <a:lnTo>
                      <a:pt x="250" y="36"/>
                    </a:lnTo>
                    <a:lnTo>
                      <a:pt x="252" y="36"/>
                    </a:lnTo>
                    <a:lnTo>
                      <a:pt x="254" y="38"/>
                    </a:lnTo>
                    <a:lnTo>
                      <a:pt x="258" y="40"/>
                    </a:lnTo>
                    <a:lnTo>
                      <a:pt x="264" y="40"/>
                    </a:lnTo>
                    <a:lnTo>
                      <a:pt x="268" y="40"/>
                    </a:lnTo>
                    <a:lnTo>
                      <a:pt x="270" y="40"/>
                    </a:lnTo>
                    <a:lnTo>
                      <a:pt x="282" y="42"/>
                    </a:lnTo>
                    <a:lnTo>
                      <a:pt x="294" y="42"/>
                    </a:lnTo>
                    <a:lnTo>
                      <a:pt x="308" y="44"/>
                    </a:lnTo>
                    <a:lnTo>
                      <a:pt x="336" y="44"/>
                    </a:lnTo>
                    <a:lnTo>
                      <a:pt x="336" y="34"/>
                    </a:lnTo>
                    <a:lnTo>
                      <a:pt x="316" y="34"/>
                    </a:lnTo>
                    <a:lnTo>
                      <a:pt x="278" y="30"/>
                    </a:lnTo>
                    <a:lnTo>
                      <a:pt x="272" y="28"/>
                    </a:lnTo>
                    <a:lnTo>
                      <a:pt x="266" y="28"/>
                    </a:lnTo>
                    <a:lnTo>
                      <a:pt x="254" y="26"/>
                    </a:lnTo>
                    <a:lnTo>
                      <a:pt x="228" y="20"/>
                    </a:lnTo>
                    <a:lnTo>
                      <a:pt x="204" y="14"/>
                    </a:lnTo>
                    <a:lnTo>
                      <a:pt x="194" y="10"/>
                    </a:lnTo>
                    <a:lnTo>
                      <a:pt x="180" y="6"/>
                    </a:lnTo>
                    <a:lnTo>
                      <a:pt x="164" y="0"/>
                    </a:lnTo>
                    <a:lnTo>
                      <a:pt x="156" y="48"/>
                    </a:lnTo>
                    <a:lnTo>
                      <a:pt x="102" y="36"/>
                    </a:lnTo>
                    <a:lnTo>
                      <a:pt x="28" y="354"/>
                    </a:lnTo>
                    <a:lnTo>
                      <a:pt x="30" y="464"/>
                    </a:lnTo>
                    <a:lnTo>
                      <a:pt x="0" y="924"/>
                    </a:lnTo>
                    <a:lnTo>
                      <a:pt x="8" y="976"/>
                    </a:lnTo>
                    <a:lnTo>
                      <a:pt x="2" y="994"/>
                    </a:lnTo>
                    <a:lnTo>
                      <a:pt x="74" y="1014"/>
                    </a:lnTo>
                    <a:lnTo>
                      <a:pt x="50" y="984"/>
                    </a:lnTo>
                    <a:close/>
                  </a:path>
                </a:pathLst>
              </a:custGeom>
              <a:grpFill/>
              <a:ln w="8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>
                  <a:solidFill>
                    <a:sysClr val="windowText" lastClr="000000"/>
                  </a:solidFill>
                  <a:latin typeface="+mn-lt"/>
                  <a:cs typeface="+mn-cs"/>
                </a:endParaRPr>
              </a:p>
            </p:txBody>
          </p:sp>
          <p:sp>
            <p:nvSpPr>
              <p:cNvPr id="101" name="Freeform 74"/>
              <p:cNvSpPr>
                <a:spLocks/>
              </p:cNvSpPr>
              <p:nvPr/>
            </p:nvSpPr>
            <p:spPr bwMode="auto">
              <a:xfrm>
                <a:off x="1103957" y="3457829"/>
                <a:ext cx="843530" cy="1614137"/>
              </a:xfrm>
              <a:custGeom>
                <a:avLst/>
                <a:gdLst>
                  <a:gd name="T0" fmla="*/ 685800 w 530"/>
                  <a:gd name="T1" fmla="*/ 1482725 h 1018"/>
                  <a:gd name="T2" fmla="*/ 695325 w 530"/>
                  <a:gd name="T3" fmla="*/ 1393825 h 1018"/>
                  <a:gd name="T4" fmla="*/ 615950 w 530"/>
                  <a:gd name="T5" fmla="*/ 1403350 h 1018"/>
                  <a:gd name="T6" fmla="*/ 647700 w 530"/>
                  <a:gd name="T7" fmla="*/ 1314450 h 1018"/>
                  <a:gd name="T8" fmla="*/ 520700 w 530"/>
                  <a:gd name="T9" fmla="*/ 1060450 h 1018"/>
                  <a:gd name="T10" fmla="*/ 390525 w 530"/>
                  <a:gd name="T11" fmla="*/ 974725 h 1018"/>
                  <a:gd name="T12" fmla="*/ 400050 w 530"/>
                  <a:gd name="T13" fmla="*/ 885825 h 1018"/>
                  <a:gd name="T14" fmla="*/ 206375 w 530"/>
                  <a:gd name="T15" fmla="*/ 396875 h 1018"/>
                  <a:gd name="T16" fmla="*/ 149225 w 530"/>
                  <a:gd name="T17" fmla="*/ 358775 h 1018"/>
                  <a:gd name="T18" fmla="*/ 225425 w 530"/>
                  <a:gd name="T19" fmla="*/ 279400 h 1018"/>
                  <a:gd name="T20" fmla="*/ 85725 w 530"/>
                  <a:gd name="T21" fmla="*/ 263525 h 1018"/>
                  <a:gd name="T22" fmla="*/ 225425 w 530"/>
                  <a:gd name="T23" fmla="*/ 142875 h 1018"/>
                  <a:gd name="T24" fmla="*/ 41275 w 530"/>
                  <a:gd name="T25" fmla="*/ 190500 h 1018"/>
                  <a:gd name="T26" fmla="*/ 161925 w 530"/>
                  <a:gd name="T27" fmla="*/ 0 h 1018"/>
                  <a:gd name="T28" fmla="*/ 0 w 530"/>
                  <a:gd name="T29" fmla="*/ 130175 h 1018"/>
                  <a:gd name="T30" fmla="*/ 3175 w 530"/>
                  <a:gd name="T31" fmla="*/ 431800 h 1018"/>
                  <a:gd name="T32" fmla="*/ 254000 w 530"/>
                  <a:gd name="T33" fmla="*/ 1003300 h 1018"/>
                  <a:gd name="T34" fmla="*/ 609600 w 530"/>
                  <a:gd name="T35" fmla="*/ 1590675 h 1018"/>
                  <a:gd name="T36" fmla="*/ 654050 w 530"/>
                  <a:gd name="T37" fmla="*/ 1603375 h 1018"/>
                  <a:gd name="T38" fmla="*/ 692150 w 530"/>
                  <a:gd name="T39" fmla="*/ 1612900 h 1018"/>
                  <a:gd name="T40" fmla="*/ 733425 w 530"/>
                  <a:gd name="T41" fmla="*/ 1616075 h 1018"/>
                  <a:gd name="T42" fmla="*/ 768350 w 530"/>
                  <a:gd name="T43" fmla="*/ 1616075 h 1018"/>
                  <a:gd name="T44" fmla="*/ 771525 w 530"/>
                  <a:gd name="T45" fmla="*/ 1612900 h 1018"/>
                  <a:gd name="T46" fmla="*/ 841375 w 530"/>
                  <a:gd name="T47" fmla="*/ 1587500 h 1018"/>
                  <a:gd name="T48" fmla="*/ 685800 w 530"/>
                  <a:gd name="T49" fmla="*/ 1482725 h 1018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w 530"/>
                  <a:gd name="T76" fmla="*/ 0 h 1018"/>
                  <a:gd name="T77" fmla="*/ 530 w 530"/>
                  <a:gd name="T78" fmla="*/ 1018 h 1018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T75" t="T76" r="T77" b="T78"/>
                <a:pathLst>
                  <a:path w="530" h="1018">
                    <a:moveTo>
                      <a:pt x="432" y="934"/>
                    </a:moveTo>
                    <a:lnTo>
                      <a:pt x="438" y="878"/>
                    </a:lnTo>
                    <a:lnTo>
                      <a:pt x="388" y="884"/>
                    </a:lnTo>
                    <a:lnTo>
                      <a:pt x="408" y="828"/>
                    </a:lnTo>
                    <a:lnTo>
                      <a:pt x="328" y="668"/>
                    </a:lnTo>
                    <a:lnTo>
                      <a:pt x="246" y="614"/>
                    </a:lnTo>
                    <a:lnTo>
                      <a:pt x="252" y="558"/>
                    </a:lnTo>
                    <a:lnTo>
                      <a:pt x="130" y="250"/>
                    </a:lnTo>
                    <a:lnTo>
                      <a:pt x="94" y="226"/>
                    </a:lnTo>
                    <a:lnTo>
                      <a:pt x="142" y="176"/>
                    </a:lnTo>
                    <a:lnTo>
                      <a:pt x="54" y="166"/>
                    </a:lnTo>
                    <a:lnTo>
                      <a:pt x="142" y="90"/>
                    </a:lnTo>
                    <a:lnTo>
                      <a:pt x="26" y="120"/>
                    </a:lnTo>
                    <a:lnTo>
                      <a:pt x="102" y="0"/>
                    </a:lnTo>
                    <a:lnTo>
                      <a:pt x="0" y="82"/>
                    </a:lnTo>
                    <a:lnTo>
                      <a:pt x="2" y="272"/>
                    </a:lnTo>
                    <a:lnTo>
                      <a:pt x="160" y="632"/>
                    </a:lnTo>
                    <a:lnTo>
                      <a:pt x="384" y="1002"/>
                    </a:lnTo>
                    <a:lnTo>
                      <a:pt x="412" y="1010"/>
                    </a:lnTo>
                    <a:lnTo>
                      <a:pt x="436" y="1016"/>
                    </a:lnTo>
                    <a:lnTo>
                      <a:pt x="462" y="1018"/>
                    </a:lnTo>
                    <a:lnTo>
                      <a:pt x="484" y="1018"/>
                    </a:lnTo>
                    <a:lnTo>
                      <a:pt x="486" y="1016"/>
                    </a:lnTo>
                    <a:lnTo>
                      <a:pt x="530" y="1000"/>
                    </a:lnTo>
                    <a:lnTo>
                      <a:pt x="432" y="934"/>
                    </a:lnTo>
                    <a:close/>
                  </a:path>
                </a:pathLst>
              </a:custGeom>
              <a:grpFill/>
              <a:ln w="8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>
                  <a:solidFill>
                    <a:sysClr val="windowText" lastClr="000000"/>
                  </a:solidFill>
                  <a:latin typeface="+mn-lt"/>
                  <a:cs typeface="+mn-cs"/>
                </a:endParaRPr>
              </a:p>
            </p:txBody>
          </p:sp>
          <p:sp>
            <p:nvSpPr>
              <p:cNvPr id="102" name="Freeform 75"/>
              <p:cNvSpPr>
                <a:spLocks/>
              </p:cNvSpPr>
              <p:nvPr/>
            </p:nvSpPr>
            <p:spPr bwMode="auto">
              <a:xfrm>
                <a:off x="506456" y="1658064"/>
                <a:ext cx="1625556" cy="3599525"/>
              </a:xfrm>
              <a:custGeom>
                <a:avLst/>
                <a:gdLst>
                  <a:gd name="T0" fmla="*/ 1558925 w 1024"/>
                  <a:gd name="T1" fmla="*/ 3314700 h 2268"/>
                  <a:gd name="T2" fmla="*/ 1558925 w 1024"/>
                  <a:gd name="T3" fmla="*/ 3282950 h 2268"/>
                  <a:gd name="T4" fmla="*/ 1543050 w 1024"/>
                  <a:gd name="T5" fmla="*/ 3241674 h 2268"/>
                  <a:gd name="T6" fmla="*/ 1104900 w 1024"/>
                  <a:gd name="T7" fmla="*/ 1943100 h 2268"/>
                  <a:gd name="T8" fmla="*/ 1466850 w 1024"/>
                  <a:gd name="T9" fmla="*/ 1733550 h 2268"/>
                  <a:gd name="T10" fmla="*/ 1155700 w 1024"/>
                  <a:gd name="T11" fmla="*/ 863600 h 2268"/>
                  <a:gd name="T12" fmla="*/ 1203325 w 1024"/>
                  <a:gd name="T13" fmla="*/ 860425 h 2268"/>
                  <a:gd name="T14" fmla="*/ 1346200 w 1024"/>
                  <a:gd name="T15" fmla="*/ 838200 h 2268"/>
                  <a:gd name="T16" fmla="*/ 1454150 w 1024"/>
                  <a:gd name="T17" fmla="*/ 784225 h 2268"/>
                  <a:gd name="T18" fmla="*/ 1314450 w 1024"/>
                  <a:gd name="T19" fmla="*/ 82550 h 2268"/>
                  <a:gd name="T20" fmla="*/ 1289050 w 1024"/>
                  <a:gd name="T21" fmla="*/ 0 h 2268"/>
                  <a:gd name="T22" fmla="*/ 1133475 w 1024"/>
                  <a:gd name="T23" fmla="*/ 28575 h 2268"/>
                  <a:gd name="T24" fmla="*/ 1111250 w 1024"/>
                  <a:gd name="T25" fmla="*/ 88900 h 2268"/>
                  <a:gd name="T26" fmla="*/ 1101725 w 1024"/>
                  <a:gd name="T27" fmla="*/ 130175 h 2268"/>
                  <a:gd name="T28" fmla="*/ 1143000 w 1024"/>
                  <a:gd name="T29" fmla="*/ 161925 h 2268"/>
                  <a:gd name="T30" fmla="*/ 1174750 w 1024"/>
                  <a:gd name="T31" fmla="*/ 168275 h 2268"/>
                  <a:gd name="T32" fmla="*/ 1181100 w 1024"/>
                  <a:gd name="T33" fmla="*/ 203200 h 2268"/>
                  <a:gd name="T34" fmla="*/ 1216025 w 1024"/>
                  <a:gd name="T35" fmla="*/ 574675 h 2268"/>
                  <a:gd name="T36" fmla="*/ 1193800 w 1024"/>
                  <a:gd name="T37" fmla="*/ 568325 h 2268"/>
                  <a:gd name="T38" fmla="*/ 1190625 w 1024"/>
                  <a:gd name="T39" fmla="*/ 590550 h 2268"/>
                  <a:gd name="T40" fmla="*/ 1133475 w 1024"/>
                  <a:gd name="T41" fmla="*/ 568325 h 2268"/>
                  <a:gd name="T42" fmla="*/ 971550 w 1024"/>
                  <a:gd name="T43" fmla="*/ 498475 h 2268"/>
                  <a:gd name="T44" fmla="*/ 904875 w 1024"/>
                  <a:gd name="T45" fmla="*/ 549275 h 2268"/>
                  <a:gd name="T46" fmla="*/ 885825 w 1024"/>
                  <a:gd name="T47" fmla="*/ 654050 h 2268"/>
                  <a:gd name="T48" fmla="*/ 866775 w 1024"/>
                  <a:gd name="T49" fmla="*/ 777875 h 2268"/>
                  <a:gd name="T50" fmla="*/ 854075 w 1024"/>
                  <a:gd name="T51" fmla="*/ 923925 h 2268"/>
                  <a:gd name="T52" fmla="*/ 844550 w 1024"/>
                  <a:gd name="T53" fmla="*/ 1174750 h 2268"/>
                  <a:gd name="T54" fmla="*/ 844550 w 1024"/>
                  <a:gd name="T55" fmla="*/ 1250950 h 2268"/>
                  <a:gd name="T56" fmla="*/ 844550 w 1024"/>
                  <a:gd name="T57" fmla="*/ 1374775 h 2268"/>
                  <a:gd name="T58" fmla="*/ 854075 w 1024"/>
                  <a:gd name="T59" fmla="*/ 1482725 h 2268"/>
                  <a:gd name="T60" fmla="*/ 863600 w 1024"/>
                  <a:gd name="T61" fmla="*/ 1524000 h 2268"/>
                  <a:gd name="T62" fmla="*/ 933450 w 1024"/>
                  <a:gd name="T63" fmla="*/ 1660525 h 2268"/>
                  <a:gd name="T64" fmla="*/ 930275 w 1024"/>
                  <a:gd name="T65" fmla="*/ 1663700 h 2268"/>
                  <a:gd name="T66" fmla="*/ 895350 w 1024"/>
                  <a:gd name="T67" fmla="*/ 1666875 h 2268"/>
                  <a:gd name="T68" fmla="*/ 784225 w 1024"/>
                  <a:gd name="T69" fmla="*/ 1685925 h 2268"/>
                  <a:gd name="T70" fmla="*/ 685800 w 1024"/>
                  <a:gd name="T71" fmla="*/ 1692275 h 2268"/>
                  <a:gd name="T72" fmla="*/ 447675 w 1024"/>
                  <a:gd name="T73" fmla="*/ 1689100 h 2268"/>
                  <a:gd name="T74" fmla="*/ 501650 w 1024"/>
                  <a:gd name="T75" fmla="*/ 1797050 h 2268"/>
                  <a:gd name="T76" fmla="*/ 336550 w 1024"/>
                  <a:gd name="T77" fmla="*/ 1984375 h 2268"/>
                  <a:gd name="T78" fmla="*/ 377825 w 1024"/>
                  <a:gd name="T79" fmla="*/ 2168525 h 2268"/>
                  <a:gd name="T80" fmla="*/ 219075 w 1024"/>
                  <a:gd name="T81" fmla="*/ 2730500 h 2268"/>
                  <a:gd name="T82" fmla="*/ 177800 w 1024"/>
                  <a:gd name="T83" fmla="*/ 3200399 h 2268"/>
                  <a:gd name="T84" fmla="*/ 0 w 1024"/>
                  <a:gd name="T85" fmla="*/ 3556000 h 2268"/>
                  <a:gd name="T86" fmla="*/ 28575 w 1024"/>
                  <a:gd name="T87" fmla="*/ 3578225 h 2268"/>
                  <a:gd name="T88" fmla="*/ 69850 w 1024"/>
                  <a:gd name="T89" fmla="*/ 3594100 h 2268"/>
                  <a:gd name="T90" fmla="*/ 98425 w 1024"/>
                  <a:gd name="T91" fmla="*/ 3597275 h 2268"/>
                  <a:gd name="T92" fmla="*/ 142875 w 1024"/>
                  <a:gd name="T93" fmla="*/ 3597275 h 2268"/>
                  <a:gd name="T94" fmla="*/ 196850 w 1024"/>
                  <a:gd name="T95" fmla="*/ 3556000 h 2268"/>
                  <a:gd name="T96" fmla="*/ 288925 w 1024"/>
                  <a:gd name="T97" fmla="*/ 3419475 h 2268"/>
                  <a:gd name="T98" fmla="*/ 320675 w 1024"/>
                  <a:gd name="T99" fmla="*/ 3397250 h 2268"/>
                  <a:gd name="T100" fmla="*/ 333375 w 1024"/>
                  <a:gd name="T101" fmla="*/ 3270250 h 2268"/>
                  <a:gd name="T102" fmla="*/ 476250 w 1024"/>
                  <a:gd name="T103" fmla="*/ 2717800 h 2268"/>
                  <a:gd name="T104" fmla="*/ 596900 w 1024"/>
                  <a:gd name="T105" fmla="*/ 1927225 h 2268"/>
                  <a:gd name="T106" fmla="*/ 822325 w 1024"/>
                  <a:gd name="T107" fmla="*/ 1939925 h 2268"/>
                  <a:gd name="T108" fmla="*/ 746125 w 1024"/>
                  <a:gd name="T109" fmla="*/ 2155825 h 2268"/>
                  <a:gd name="T110" fmla="*/ 987425 w 1024"/>
                  <a:gd name="T111" fmla="*/ 2771775 h 2268"/>
                  <a:gd name="T112" fmla="*/ 1212850 w 1024"/>
                  <a:gd name="T113" fmla="*/ 3200399 h 2268"/>
                  <a:gd name="T114" fmla="*/ 1438275 w 1024"/>
                  <a:gd name="T115" fmla="*/ 3384550 h 2268"/>
                  <a:gd name="T116" fmla="*/ 1444625 w 1024"/>
                  <a:gd name="T117" fmla="*/ 3524250 h 2268"/>
                  <a:gd name="T118" fmla="*/ 1476375 w 1024"/>
                  <a:gd name="T119" fmla="*/ 3527425 h 2268"/>
                  <a:gd name="T120" fmla="*/ 1552575 w 1024"/>
                  <a:gd name="T121" fmla="*/ 3517900 h 2268"/>
                  <a:gd name="T122" fmla="*/ 1603375 w 1024"/>
                  <a:gd name="T123" fmla="*/ 3502025 h 2268"/>
                  <a:gd name="T124" fmla="*/ 1549400 w 1024"/>
                  <a:gd name="T125" fmla="*/ 3333750 h 2268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  <a:gd name="T189" fmla="*/ 0 w 1024"/>
                  <a:gd name="T190" fmla="*/ 0 h 2268"/>
                  <a:gd name="T191" fmla="*/ 1024 w 1024"/>
                  <a:gd name="T192" fmla="*/ 2268 h 2268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T189" t="T190" r="T191" b="T192"/>
                <a:pathLst>
                  <a:path w="1024" h="2268">
                    <a:moveTo>
                      <a:pt x="976" y="2100"/>
                    </a:moveTo>
                    <a:lnTo>
                      <a:pt x="980" y="2094"/>
                    </a:lnTo>
                    <a:lnTo>
                      <a:pt x="982" y="2088"/>
                    </a:lnTo>
                    <a:lnTo>
                      <a:pt x="984" y="2082"/>
                    </a:lnTo>
                    <a:lnTo>
                      <a:pt x="982" y="2076"/>
                    </a:lnTo>
                    <a:lnTo>
                      <a:pt x="982" y="2068"/>
                    </a:lnTo>
                    <a:lnTo>
                      <a:pt x="980" y="2060"/>
                    </a:lnTo>
                    <a:lnTo>
                      <a:pt x="978" y="2050"/>
                    </a:lnTo>
                    <a:lnTo>
                      <a:pt x="972" y="2042"/>
                    </a:lnTo>
                    <a:lnTo>
                      <a:pt x="900" y="1962"/>
                    </a:lnTo>
                    <a:lnTo>
                      <a:pt x="708" y="1488"/>
                    </a:lnTo>
                    <a:lnTo>
                      <a:pt x="696" y="1224"/>
                    </a:lnTo>
                    <a:lnTo>
                      <a:pt x="714" y="1260"/>
                    </a:lnTo>
                    <a:lnTo>
                      <a:pt x="924" y="1092"/>
                    </a:lnTo>
                    <a:lnTo>
                      <a:pt x="670" y="540"/>
                    </a:lnTo>
                    <a:lnTo>
                      <a:pt x="700" y="542"/>
                    </a:lnTo>
                    <a:lnTo>
                      <a:pt x="728" y="544"/>
                    </a:lnTo>
                    <a:lnTo>
                      <a:pt x="736" y="542"/>
                    </a:lnTo>
                    <a:lnTo>
                      <a:pt x="744" y="542"/>
                    </a:lnTo>
                    <a:lnTo>
                      <a:pt x="758" y="542"/>
                    </a:lnTo>
                    <a:lnTo>
                      <a:pt x="788" y="540"/>
                    </a:lnTo>
                    <a:lnTo>
                      <a:pt x="818" y="534"/>
                    </a:lnTo>
                    <a:lnTo>
                      <a:pt x="848" y="528"/>
                    </a:lnTo>
                    <a:lnTo>
                      <a:pt x="878" y="518"/>
                    </a:lnTo>
                    <a:lnTo>
                      <a:pt x="908" y="510"/>
                    </a:lnTo>
                    <a:lnTo>
                      <a:pt x="916" y="494"/>
                    </a:lnTo>
                    <a:lnTo>
                      <a:pt x="914" y="172"/>
                    </a:lnTo>
                    <a:lnTo>
                      <a:pt x="862" y="66"/>
                    </a:lnTo>
                    <a:lnTo>
                      <a:pt x="828" y="52"/>
                    </a:lnTo>
                    <a:lnTo>
                      <a:pt x="822" y="28"/>
                    </a:lnTo>
                    <a:lnTo>
                      <a:pt x="818" y="14"/>
                    </a:lnTo>
                    <a:lnTo>
                      <a:pt x="812" y="0"/>
                    </a:lnTo>
                    <a:lnTo>
                      <a:pt x="732" y="0"/>
                    </a:lnTo>
                    <a:lnTo>
                      <a:pt x="726" y="8"/>
                    </a:lnTo>
                    <a:lnTo>
                      <a:pt x="714" y="18"/>
                    </a:lnTo>
                    <a:lnTo>
                      <a:pt x="706" y="32"/>
                    </a:lnTo>
                    <a:lnTo>
                      <a:pt x="704" y="42"/>
                    </a:lnTo>
                    <a:lnTo>
                      <a:pt x="700" y="56"/>
                    </a:lnTo>
                    <a:lnTo>
                      <a:pt x="700" y="66"/>
                    </a:lnTo>
                    <a:lnTo>
                      <a:pt x="696" y="74"/>
                    </a:lnTo>
                    <a:lnTo>
                      <a:pt x="694" y="82"/>
                    </a:lnTo>
                    <a:lnTo>
                      <a:pt x="688" y="90"/>
                    </a:lnTo>
                    <a:lnTo>
                      <a:pt x="706" y="96"/>
                    </a:lnTo>
                    <a:lnTo>
                      <a:pt x="720" y="102"/>
                    </a:lnTo>
                    <a:lnTo>
                      <a:pt x="728" y="106"/>
                    </a:lnTo>
                    <a:lnTo>
                      <a:pt x="734" y="110"/>
                    </a:lnTo>
                    <a:lnTo>
                      <a:pt x="740" y="106"/>
                    </a:lnTo>
                    <a:lnTo>
                      <a:pt x="742" y="106"/>
                    </a:lnTo>
                    <a:lnTo>
                      <a:pt x="758" y="110"/>
                    </a:lnTo>
                    <a:lnTo>
                      <a:pt x="744" y="128"/>
                    </a:lnTo>
                    <a:lnTo>
                      <a:pt x="782" y="372"/>
                    </a:lnTo>
                    <a:lnTo>
                      <a:pt x="774" y="364"/>
                    </a:lnTo>
                    <a:lnTo>
                      <a:pt x="766" y="362"/>
                    </a:lnTo>
                    <a:lnTo>
                      <a:pt x="760" y="358"/>
                    </a:lnTo>
                    <a:lnTo>
                      <a:pt x="754" y="358"/>
                    </a:lnTo>
                    <a:lnTo>
                      <a:pt x="752" y="358"/>
                    </a:lnTo>
                    <a:lnTo>
                      <a:pt x="750" y="362"/>
                    </a:lnTo>
                    <a:lnTo>
                      <a:pt x="750" y="364"/>
                    </a:lnTo>
                    <a:lnTo>
                      <a:pt x="750" y="372"/>
                    </a:lnTo>
                    <a:lnTo>
                      <a:pt x="746" y="374"/>
                    </a:lnTo>
                    <a:lnTo>
                      <a:pt x="746" y="370"/>
                    </a:lnTo>
                    <a:lnTo>
                      <a:pt x="714" y="358"/>
                    </a:lnTo>
                    <a:lnTo>
                      <a:pt x="682" y="346"/>
                    </a:lnTo>
                    <a:lnTo>
                      <a:pt x="648" y="330"/>
                    </a:lnTo>
                    <a:lnTo>
                      <a:pt x="612" y="314"/>
                    </a:lnTo>
                    <a:lnTo>
                      <a:pt x="600" y="318"/>
                    </a:lnTo>
                    <a:lnTo>
                      <a:pt x="586" y="328"/>
                    </a:lnTo>
                    <a:lnTo>
                      <a:pt x="570" y="346"/>
                    </a:lnTo>
                    <a:lnTo>
                      <a:pt x="564" y="376"/>
                    </a:lnTo>
                    <a:lnTo>
                      <a:pt x="562" y="392"/>
                    </a:lnTo>
                    <a:lnTo>
                      <a:pt x="558" y="412"/>
                    </a:lnTo>
                    <a:lnTo>
                      <a:pt x="556" y="428"/>
                    </a:lnTo>
                    <a:lnTo>
                      <a:pt x="552" y="448"/>
                    </a:lnTo>
                    <a:lnTo>
                      <a:pt x="546" y="490"/>
                    </a:lnTo>
                    <a:lnTo>
                      <a:pt x="546" y="512"/>
                    </a:lnTo>
                    <a:lnTo>
                      <a:pt x="544" y="534"/>
                    </a:lnTo>
                    <a:lnTo>
                      <a:pt x="538" y="582"/>
                    </a:lnTo>
                    <a:lnTo>
                      <a:pt x="536" y="632"/>
                    </a:lnTo>
                    <a:lnTo>
                      <a:pt x="532" y="688"/>
                    </a:lnTo>
                    <a:lnTo>
                      <a:pt x="532" y="740"/>
                    </a:lnTo>
                    <a:lnTo>
                      <a:pt x="532" y="764"/>
                    </a:lnTo>
                    <a:lnTo>
                      <a:pt x="532" y="774"/>
                    </a:lnTo>
                    <a:lnTo>
                      <a:pt x="532" y="788"/>
                    </a:lnTo>
                    <a:lnTo>
                      <a:pt x="532" y="808"/>
                    </a:lnTo>
                    <a:lnTo>
                      <a:pt x="532" y="828"/>
                    </a:lnTo>
                    <a:lnTo>
                      <a:pt x="532" y="866"/>
                    </a:lnTo>
                    <a:lnTo>
                      <a:pt x="534" y="896"/>
                    </a:lnTo>
                    <a:lnTo>
                      <a:pt x="536" y="924"/>
                    </a:lnTo>
                    <a:lnTo>
                      <a:pt x="538" y="934"/>
                    </a:lnTo>
                    <a:lnTo>
                      <a:pt x="540" y="944"/>
                    </a:lnTo>
                    <a:lnTo>
                      <a:pt x="542" y="952"/>
                    </a:lnTo>
                    <a:lnTo>
                      <a:pt x="544" y="960"/>
                    </a:lnTo>
                    <a:lnTo>
                      <a:pt x="544" y="962"/>
                    </a:lnTo>
                    <a:lnTo>
                      <a:pt x="566" y="1004"/>
                    </a:lnTo>
                    <a:lnTo>
                      <a:pt x="588" y="1046"/>
                    </a:lnTo>
                    <a:lnTo>
                      <a:pt x="590" y="1046"/>
                    </a:lnTo>
                    <a:lnTo>
                      <a:pt x="590" y="1048"/>
                    </a:lnTo>
                    <a:lnTo>
                      <a:pt x="586" y="1048"/>
                    </a:lnTo>
                    <a:lnTo>
                      <a:pt x="570" y="1050"/>
                    </a:lnTo>
                    <a:lnTo>
                      <a:pt x="568" y="1050"/>
                    </a:lnTo>
                    <a:lnTo>
                      <a:pt x="564" y="1050"/>
                    </a:lnTo>
                    <a:lnTo>
                      <a:pt x="556" y="1054"/>
                    </a:lnTo>
                    <a:lnTo>
                      <a:pt x="524" y="1058"/>
                    </a:lnTo>
                    <a:lnTo>
                      <a:pt x="494" y="1062"/>
                    </a:lnTo>
                    <a:lnTo>
                      <a:pt x="480" y="1064"/>
                    </a:lnTo>
                    <a:lnTo>
                      <a:pt x="464" y="1066"/>
                    </a:lnTo>
                    <a:lnTo>
                      <a:pt x="432" y="1066"/>
                    </a:lnTo>
                    <a:lnTo>
                      <a:pt x="398" y="1066"/>
                    </a:lnTo>
                    <a:lnTo>
                      <a:pt x="398" y="1074"/>
                    </a:lnTo>
                    <a:lnTo>
                      <a:pt x="282" y="1064"/>
                    </a:lnTo>
                    <a:lnTo>
                      <a:pt x="276" y="1108"/>
                    </a:lnTo>
                    <a:lnTo>
                      <a:pt x="308" y="1130"/>
                    </a:lnTo>
                    <a:lnTo>
                      <a:pt x="316" y="1132"/>
                    </a:lnTo>
                    <a:lnTo>
                      <a:pt x="316" y="1228"/>
                    </a:lnTo>
                    <a:lnTo>
                      <a:pt x="254" y="1092"/>
                    </a:lnTo>
                    <a:lnTo>
                      <a:pt x="212" y="1250"/>
                    </a:lnTo>
                    <a:lnTo>
                      <a:pt x="260" y="1314"/>
                    </a:lnTo>
                    <a:lnTo>
                      <a:pt x="192" y="1314"/>
                    </a:lnTo>
                    <a:lnTo>
                      <a:pt x="238" y="1366"/>
                    </a:lnTo>
                    <a:lnTo>
                      <a:pt x="198" y="1382"/>
                    </a:lnTo>
                    <a:lnTo>
                      <a:pt x="162" y="1670"/>
                    </a:lnTo>
                    <a:lnTo>
                      <a:pt x="138" y="1720"/>
                    </a:lnTo>
                    <a:lnTo>
                      <a:pt x="148" y="1752"/>
                    </a:lnTo>
                    <a:lnTo>
                      <a:pt x="142" y="1954"/>
                    </a:lnTo>
                    <a:lnTo>
                      <a:pt x="112" y="2016"/>
                    </a:lnTo>
                    <a:lnTo>
                      <a:pt x="136" y="2046"/>
                    </a:lnTo>
                    <a:lnTo>
                      <a:pt x="64" y="2026"/>
                    </a:lnTo>
                    <a:lnTo>
                      <a:pt x="0" y="2240"/>
                    </a:lnTo>
                    <a:lnTo>
                      <a:pt x="4" y="2244"/>
                    </a:lnTo>
                    <a:lnTo>
                      <a:pt x="10" y="2250"/>
                    </a:lnTo>
                    <a:lnTo>
                      <a:pt x="18" y="2254"/>
                    </a:lnTo>
                    <a:lnTo>
                      <a:pt x="26" y="2260"/>
                    </a:lnTo>
                    <a:lnTo>
                      <a:pt x="36" y="2262"/>
                    </a:lnTo>
                    <a:lnTo>
                      <a:pt x="44" y="2264"/>
                    </a:lnTo>
                    <a:lnTo>
                      <a:pt x="48" y="2266"/>
                    </a:lnTo>
                    <a:lnTo>
                      <a:pt x="56" y="2266"/>
                    </a:lnTo>
                    <a:lnTo>
                      <a:pt x="62" y="2266"/>
                    </a:lnTo>
                    <a:lnTo>
                      <a:pt x="76" y="2268"/>
                    </a:lnTo>
                    <a:lnTo>
                      <a:pt x="84" y="2268"/>
                    </a:lnTo>
                    <a:lnTo>
                      <a:pt x="90" y="2266"/>
                    </a:lnTo>
                    <a:lnTo>
                      <a:pt x="102" y="2260"/>
                    </a:lnTo>
                    <a:lnTo>
                      <a:pt x="116" y="2248"/>
                    </a:lnTo>
                    <a:lnTo>
                      <a:pt x="124" y="2240"/>
                    </a:lnTo>
                    <a:lnTo>
                      <a:pt x="130" y="2230"/>
                    </a:lnTo>
                    <a:lnTo>
                      <a:pt x="166" y="2160"/>
                    </a:lnTo>
                    <a:lnTo>
                      <a:pt x="182" y="2154"/>
                    </a:lnTo>
                    <a:lnTo>
                      <a:pt x="194" y="2148"/>
                    </a:lnTo>
                    <a:lnTo>
                      <a:pt x="200" y="2144"/>
                    </a:lnTo>
                    <a:lnTo>
                      <a:pt x="202" y="2140"/>
                    </a:lnTo>
                    <a:lnTo>
                      <a:pt x="204" y="2136"/>
                    </a:lnTo>
                    <a:lnTo>
                      <a:pt x="204" y="2134"/>
                    </a:lnTo>
                    <a:lnTo>
                      <a:pt x="210" y="2060"/>
                    </a:lnTo>
                    <a:lnTo>
                      <a:pt x="248" y="2022"/>
                    </a:lnTo>
                    <a:lnTo>
                      <a:pt x="256" y="1748"/>
                    </a:lnTo>
                    <a:lnTo>
                      <a:pt x="300" y="1712"/>
                    </a:lnTo>
                    <a:lnTo>
                      <a:pt x="358" y="1362"/>
                    </a:lnTo>
                    <a:lnTo>
                      <a:pt x="378" y="1404"/>
                    </a:lnTo>
                    <a:lnTo>
                      <a:pt x="376" y="1214"/>
                    </a:lnTo>
                    <a:lnTo>
                      <a:pt x="478" y="1132"/>
                    </a:lnTo>
                    <a:lnTo>
                      <a:pt x="402" y="1252"/>
                    </a:lnTo>
                    <a:lnTo>
                      <a:pt x="518" y="1222"/>
                    </a:lnTo>
                    <a:lnTo>
                      <a:pt x="430" y="1298"/>
                    </a:lnTo>
                    <a:lnTo>
                      <a:pt x="518" y="1308"/>
                    </a:lnTo>
                    <a:lnTo>
                      <a:pt x="470" y="1358"/>
                    </a:lnTo>
                    <a:lnTo>
                      <a:pt x="506" y="1382"/>
                    </a:lnTo>
                    <a:lnTo>
                      <a:pt x="628" y="1690"/>
                    </a:lnTo>
                    <a:lnTo>
                      <a:pt x="622" y="1746"/>
                    </a:lnTo>
                    <a:lnTo>
                      <a:pt x="704" y="1800"/>
                    </a:lnTo>
                    <a:lnTo>
                      <a:pt x="784" y="1960"/>
                    </a:lnTo>
                    <a:lnTo>
                      <a:pt x="764" y="2016"/>
                    </a:lnTo>
                    <a:lnTo>
                      <a:pt x="814" y="2010"/>
                    </a:lnTo>
                    <a:lnTo>
                      <a:pt x="808" y="2066"/>
                    </a:lnTo>
                    <a:lnTo>
                      <a:pt x="906" y="2132"/>
                    </a:lnTo>
                    <a:lnTo>
                      <a:pt x="862" y="2148"/>
                    </a:lnTo>
                    <a:lnTo>
                      <a:pt x="894" y="2218"/>
                    </a:lnTo>
                    <a:lnTo>
                      <a:pt x="910" y="2220"/>
                    </a:lnTo>
                    <a:lnTo>
                      <a:pt x="920" y="2220"/>
                    </a:lnTo>
                    <a:lnTo>
                      <a:pt x="924" y="2220"/>
                    </a:lnTo>
                    <a:lnTo>
                      <a:pt x="930" y="2222"/>
                    </a:lnTo>
                    <a:lnTo>
                      <a:pt x="948" y="2220"/>
                    </a:lnTo>
                    <a:lnTo>
                      <a:pt x="964" y="2220"/>
                    </a:lnTo>
                    <a:lnTo>
                      <a:pt x="978" y="2216"/>
                    </a:lnTo>
                    <a:lnTo>
                      <a:pt x="990" y="2214"/>
                    </a:lnTo>
                    <a:lnTo>
                      <a:pt x="1000" y="2210"/>
                    </a:lnTo>
                    <a:lnTo>
                      <a:pt x="1010" y="2206"/>
                    </a:lnTo>
                    <a:lnTo>
                      <a:pt x="1018" y="2200"/>
                    </a:lnTo>
                    <a:lnTo>
                      <a:pt x="1024" y="2196"/>
                    </a:lnTo>
                    <a:lnTo>
                      <a:pt x="976" y="210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>
                  <a:solidFill>
                    <a:sysClr val="windowText" lastClr="000000"/>
                  </a:solidFill>
                  <a:latin typeface="+mn-lt"/>
                  <a:cs typeface="+mn-cs"/>
                </a:endParaRPr>
              </a:p>
            </p:txBody>
          </p:sp>
        </p:grpSp>
        <p:grpSp>
          <p:nvGrpSpPr>
            <p:cNvPr id="82" name="Gruppe 171"/>
            <p:cNvGrpSpPr>
              <a:grpSpLocks/>
            </p:cNvGrpSpPr>
            <p:nvPr/>
          </p:nvGrpSpPr>
          <p:grpSpPr bwMode="auto">
            <a:xfrm>
              <a:off x="6217739" y="1849623"/>
              <a:ext cx="331952" cy="802872"/>
              <a:chOff x="6044564" y="1849623"/>
              <a:chExt cx="331952" cy="802872"/>
            </a:xfrm>
            <a:grpFill/>
          </p:grpSpPr>
          <p:grpSp>
            <p:nvGrpSpPr>
              <p:cNvPr id="83" name="Gruppe 70"/>
              <p:cNvGrpSpPr>
                <a:grpSpLocks/>
              </p:cNvGrpSpPr>
              <p:nvPr/>
            </p:nvGrpSpPr>
            <p:grpSpPr bwMode="auto">
              <a:xfrm>
                <a:off x="6044564" y="1849623"/>
                <a:ext cx="331952" cy="802872"/>
                <a:chOff x="7627938" y="4784725"/>
                <a:chExt cx="3409950" cy="8248650"/>
              </a:xfrm>
              <a:grpFill/>
            </p:grpSpPr>
            <p:sp>
              <p:nvSpPr>
                <p:cNvPr id="88" name="Freeform 96"/>
                <p:cNvSpPr>
                  <a:spLocks noEditPoints="1"/>
                </p:cNvSpPr>
                <p:nvPr/>
              </p:nvSpPr>
              <p:spPr bwMode="auto">
                <a:xfrm>
                  <a:off x="7635792" y="4784725"/>
                  <a:ext cx="3402096" cy="8248650"/>
                </a:xfrm>
                <a:custGeom>
                  <a:avLst/>
                  <a:gdLst>
                    <a:gd name="T0" fmla="*/ 3187699 w 2148"/>
                    <a:gd name="T1" fmla="*/ 193675 h 5196"/>
                    <a:gd name="T2" fmla="*/ 3003549 w 2148"/>
                    <a:gd name="T3" fmla="*/ 234950 h 5196"/>
                    <a:gd name="T4" fmla="*/ 2943224 w 2148"/>
                    <a:gd name="T5" fmla="*/ 330200 h 5196"/>
                    <a:gd name="T6" fmla="*/ 2987674 w 2148"/>
                    <a:gd name="T7" fmla="*/ 479425 h 5196"/>
                    <a:gd name="T8" fmla="*/ 2832099 w 2148"/>
                    <a:gd name="T9" fmla="*/ 1012825 h 5196"/>
                    <a:gd name="T10" fmla="*/ 2574925 w 2148"/>
                    <a:gd name="T11" fmla="*/ 1492250 h 5196"/>
                    <a:gd name="T12" fmla="*/ 2339975 w 2148"/>
                    <a:gd name="T13" fmla="*/ 1885950 h 5196"/>
                    <a:gd name="T14" fmla="*/ 2165350 w 2148"/>
                    <a:gd name="T15" fmla="*/ 2127250 h 5196"/>
                    <a:gd name="T16" fmla="*/ 1968500 w 2148"/>
                    <a:gd name="T17" fmla="*/ 2152650 h 5196"/>
                    <a:gd name="T18" fmla="*/ 1882775 w 2148"/>
                    <a:gd name="T19" fmla="*/ 1612900 h 5196"/>
                    <a:gd name="T20" fmla="*/ 1485900 w 2148"/>
                    <a:gd name="T21" fmla="*/ 1476375 h 5196"/>
                    <a:gd name="T22" fmla="*/ 1260475 w 2148"/>
                    <a:gd name="T23" fmla="*/ 1676400 h 5196"/>
                    <a:gd name="T24" fmla="*/ 1165225 w 2148"/>
                    <a:gd name="T25" fmla="*/ 2168525 h 5196"/>
                    <a:gd name="T26" fmla="*/ 1231900 w 2148"/>
                    <a:gd name="T27" fmla="*/ 2336800 h 5196"/>
                    <a:gd name="T28" fmla="*/ 1060450 w 2148"/>
                    <a:gd name="T29" fmla="*/ 2184400 h 5196"/>
                    <a:gd name="T30" fmla="*/ 742950 w 2148"/>
                    <a:gd name="T31" fmla="*/ 1473200 h 5196"/>
                    <a:gd name="T32" fmla="*/ 561975 w 2148"/>
                    <a:gd name="T33" fmla="*/ 854075 h 5196"/>
                    <a:gd name="T34" fmla="*/ 438150 w 2148"/>
                    <a:gd name="T35" fmla="*/ 371475 h 5196"/>
                    <a:gd name="T36" fmla="*/ 527050 w 2148"/>
                    <a:gd name="T37" fmla="*/ 174625 h 5196"/>
                    <a:gd name="T38" fmla="*/ 282575 w 2148"/>
                    <a:gd name="T39" fmla="*/ 6350 h 5196"/>
                    <a:gd name="T40" fmla="*/ 123825 w 2148"/>
                    <a:gd name="T41" fmla="*/ 63500 h 5196"/>
                    <a:gd name="T42" fmla="*/ 25400 w 2148"/>
                    <a:gd name="T43" fmla="*/ 228600 h 5196"/>
                    <a:gd name="T44" fmla="*/ 53975 w 2148"/>
                    <a:gd name="T45" fmla="*/ 346075 h 5196"/>
                    <a:gd name="T46" fmla="*/ 117475 w 2148"/>
                    <a:gd name="T47" fmla="*/ 479425 h 5196"/>
                    <a:gd name="T48" fmla="*/ 101600 w 2148"/>
                    <a:gd name="T49" fmla="*/ 822325 h 5196"/>
                    <a:gd name="T50" fmla="*/ 390525 w 2148"/>
                    <a:gd name="T51" fmla="*/ 1812925 h 5196"/>
                    <a:gd name="T52" fmla="*/ 508000 w 2148"/>
                    <a:gd name="T53" fmla="*/ 2000250 h 5196"/>
                    <a:gd name="T54" fmla="*/ 828675 w 2148"/>
                    <a:gd name="T55" fmla="*/ 2930525 h 5196"/>
                    <a:gd name="T56" fmla="*/ 812800 w 2148"/>
                    <a:gd name="T57" fmla="*/ 3502025 h 5196"/>
                    <a:gd name="T58" fmla="*/ 946150 w 2148"/>
                    <a:gd name="T59" fmla="*/ 4152900 h 5196"/>
                    <a:gd name="T60" fmla="*/ 920750 w 2148"/>
                    <a:gd name="T61" fmla="*/ 4610100 h 5196"/>
                    <a:gd name="T62" fmla="*/ 939800 w 2148"/>
                    <a:gd name="T63" fmla="*/ 5038725 h 5196"/>
                    <a:gd name="T64" fmla="*/ 939800 w 2148"/>
                    <a:gd name="T65" fmla="*/ 5902324 h 5196"/>
                    <a:gd name="T66" fmla="*/ 996950 w 2148"/>
                    <a:gd name="T67" fmla="*/ 6394449 h 5196"/>
                    <a:gd name="T68" fmla="*/ 1111250 w 2148"/>
                    <a:gd name="T69" fmla="*/ 7019925 h 5196"/>
                    <a:gd name="T70" fmla="*/ 1247775 w 2148"/>
                    <a:gd name="T71" fmla="*/ 7629525 h 5196"/>
                    <a:gd name="T72" fmla="*/ 1273175 w 2148"/>
                    <a:gd name="T73" fmla="*/ 8086725 h 5196"/>
                    <a:gd name="T74" fmla="*/ 1447800 w 2148"/>
                    <a:gd name="T75" fmla="*/ 8235950 h 5196"/>
                    <a:gd name="T76" fmla="*/ 1647825 w 2148"/>
                    <a:gd name="T77" fmla="*/ 8178800 h 5196"/>
                    <a:gd name="T78" fmla="*/ 1876425 w 2148"/>
                    <a:gd name="T79" fmla="*/ 8191500 h 5196"/>
                    <a:gd name="T80" fmla="*/ 1806575 w 2148"/>
                    <a:gd name="T81" fmla="*/ 7947025 h 5196"/>
                    <a:gd name="T82" fmla="*/ 1778000 w 2148"/>
                    <a:gd name="T83" fmla="*/ 7600950 h 5196"/>
                    <a:gd name="T84" fmla="*/ 2152650 w 2148"/>
                    <a:gd name="T85" fmla="*/ 6267449 h 5196"/>
                    <a:gd name="T86" fmla="*/ 2247900 w 2148"/>
                    <a:gd name="T87" fmla="*/ 4978400 h 5196"/>
                    <a:gd name="T88" fmla="*/ 2244725 w 2148"/>
                    <a:gd name="T89" fmla="*/ 3673475 h 5196"/>
                    <a:gd name="T90" fmla="*/ 2263775 w 2148"/>
                    <a:gd name="T91" fmla="*/ 3352800 h 5196"/>
                    <a:gd name="T92" fmla="*/ 2292350 w 2148"/>
                    <a:gd name="T93" fmla="*/ 2879725 h 5196"/>
                    <a:gd name="T94" fmla="*/ 2416175 w 2148"/>
                    <a:gd name="T95" fmla="*/ 2644775 h 5196"/>
                    <a:gd name="T96" fmla="*/ 2574925 w 2148"/>
                    <a:gd name="T97" fmla="*/ 2225675 h 5196"/>
                    <a:gd name="T98" fmla="*/ 2781300 w 2148"/>
                    <a:gd name="T99" fmla="*/ 1958975 h 5196"/>
                    <a:gd name="T100" fmla="*/ 2886074 w 2148"/>
                    <a:gd name="T101" fmla="*/ 1657350 h 5196"/>
                    <a:gd name="T102" fmla="*/ 3105149 w 2148"/>
                    <a:gd name="T103" fmla="*/ 1292225 h 5196"/>
                    <a:gd name="T104" fmla="*/ 3197224 w 2148"/>
                    <a:gd name="T105" fmla="*/ 847725 h 5196"/>
                    <a:gd name="T106" fmla="*/ 3286125 w 2148"/>
                    <a:gd name="T107" fmla="*/ 647700 h 5196"/>
                    <a:gd name="T108" fmla="*/ 3403600 w 2148"/>
                    <a:gd name="T109" fmla="*/ 473075 h 5196"/>
                    <a:gd name="T110" fmla="*/ 1527175 w 2148"/>
                    <a:gd name="T111" fmla="*/ 7864475 h 5196"/>
                    <a:gd name="T112" fmla="*/ 1765300 w 2148"/>
                    <a:gd name="T113" fmla="*/ 6511926 h 5196"/>
                    <a:gd name="T114" fmla="*/ 1660525 w 2148"/>
                    <a:gd name="T115" fmla="*/ 7194550 h 5196"/>
                    <a:gd name="T116" fmla="*/ 1508125 w 2148"/>
                    <a:gd name="T117" fmla="*/ 7597775 h 5196"/>
                    <a:gd name="T118" fmla="*/ 1412875 w 2148"/>
                    <a:gd name="T119" fmla="*/ 7264400 h 5196"/>
                    <a:gd name="T120" fmla="*/ 1330325 w 2148"/>
                    <a:gd name="T121" fmla="*/ 6384924 h 5196"/>
                    <a:gd name="T122" fmla="*/ 1638300 w 2148"/>
                    <a:gd name="T123" fmla="*/ 6235699 h 519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60000 65536"/>
                    <a:gd name="T184" fmla="*/ 0 60000 65536"/>
                    <a:gd name="T185" fmla="*/ 0 60000 65536"/>
                    <a:gd name="T186" fmla="*/ 0 w 2148"/>
                    <a:gd name="T187" fmla="*/ 0 h 5196"/>
                    <a:gd name="T188" fmla="*/ 2148 w 2148"/>
                    <a:gd name="T189" fmla="*/ 5196 h 5196"/>
                  </a:gdLst>
                  <a:ahLst/>
                  <a:cxnLst>
                    <a:cxn ang="T124">
                      <a:pos x="T0" y="T1"/>
                    </a:cxn>
                    <a:cxn ang="T125">
                      <a:pos x="T2" y="T3"/>
                    </a:cxn>
                    <a:cxn ang="T126">
                      <a:pos x="T4" y="T5"/>
                    </a:cxn>
                    <a:cxn ang="T127">
                      <a:pos x="T6" y="T7"/>
                    </a:cxn>
                    <a:cxn ang="T128">
                      <a:pos x="T8" y="T9"/>
                    </a:cxn>
                    <a:cxn ang="T129">
                      <a:pos x="T10" y="T11"/>
                    </a:cxn>
                    <a:cxn ang="T130">
                      <a:pos x="T12" y="T13"/>
                    </a:cxn>
                    <a:cxn ang="T131">
                      <a:pos x="T14" y="T15"/>
                    </a:cxn>
                    <a:cxn ang="T132">
                      <a:pos x="T16" y="T17"/>
                    </a:cxn>
                    <a:cxn ang="T133">
                      <a:pos x="T18" y="T19"/>
                    </a:cxn>
                    <a:cxn ang="T134">
                      <a:pos x="T20" y="T21"/>
                    </a:cxn>
                    <a:cxn ang="T135">
                      <a:pos x="T22" y="T23"/>
                    </a:cxn>
                    <a:cxn ang="T136">
                      <a:pos x="T24" y="T25"/>
                    </a:cxn>
                    <a:cxn ang="T137">
                      <a:pos x="T26" y="T27"/>
                    </a:cxn>
                    <a:cxn ang="T138">
                      <a:pos x="T28" y="T29"/>
                    </a:cxn>
                    <a:cxn ang="T139">
                      <a:pos x="T30" y="T31"/>
                    </a:cxn>
                    <a:cxn ang="T140">
                      <a:pos x="T32" y="T33"/>
                    </a:cxn>
                    <a:cxn ang="T141">
                      <a:pos x="T34" y="T35"/>
                    </a:cxn>
                    <a:cxn ang="T142">
                      <a:pos x="T36" y="T37"/>
                    </a:cxn>
                    <a:cxn ang="T143">
                      <a:pos x="T38" y="T39"/>
                    </a:cxn>
                    <a:cxn ang="T144">
                      <a:pos x="T40" y="T41"/>
                    </a:cxn>
                    <a:cxn ang="T145">
                      <a:pos x="T42" y="T43"/>
                    </a:cxn>
                    <a:cxn ang="T146">
                      <a:pos x="T44" y="T45"/>
                    </a:cxn>
                    <a:cxn ang="T147">
                      <a:pos x="T46" y="T47"/>
                    </a:cxn>
                    <a:cxn ang="T148">
                      <a:pos x="T48" y="T49"/>
                    </a:cxn>
                    <a:cxn ang="T149">
                      <a:pos x="T50" y="T51"/>
                    </a:cxn>
                    <a:cxn ang="T150">
                      <a:pos x="T52" y="T53"/>
                    </a:cxn>
                    <a:cxn ang="T151">
                      <a:pos x="T54" y="T55"/>
                    </a:cxn>
                    <a:cxn ang="T152">
                      <a:pos x="T56" y="T57"/>
                    </a:cxn>
                    <a:cxn ang="T153">
                      <a:pos x="T58" y="T59"/>
                    </a:cxn>
                    <a:cxn ang="T154">
                      <a:pos x="T60" y="T61"/>
                    </a:cxn>
                    <a:cxn ang="T155">
                      <a:pos x="T62" y="T63"/>
                    </a:cxn>
                    <a:cxn ang="T156">
                      <a:pos x="T64" y="T65"/>
                    </a:cxn>
                    <a:cxn ang="T157">
                      <a:pos x="T66" y="T67"/>
                    </a:cxn>
                    <a:cxn ang="T158">
                      <a:pos x="T68" y="T69"/>
                    </a:cxn>
                    <a:cxn ang="T159">
                      <a:pos x="T70" y="T71"/>
                    </a:cxn>
                    <a:cxn ang="T160">
                      <a:pos x="T72" y="T73"/>
                    </a:cxn>
                    <a:cxn ang="T161">
                      <a:pos x="T74" y="T75"/>
                    </a:cxn>
                    <a:cxn ang="T162">
                      <a:pos x="T76" y="T77"/>
                    </a:cxn>
                    <a:cxn ang="T163">
                      <a:pos x="T78" y="T79"/>
                    </a:cxn>
                    <a:cxn ang="T164">
                      <a:pos x="T80" y="T81"/>
                    </a:cxn>
                    <a:cxn ang="T165">
                      <a:pos x="T82" y="T83"/>
                    </a:cxn>
                    <a:cxn ang="T166">
                      <a:pos x="T84" y="T85"/>
                    </a:cxn>
                    <a:cxn ang="T167">
                      <a:pos x="T86" y="T87"/>
                    </a:cxn>
                    <a:cxn ang="T168">
                      <a:pos x="T88" y="T89"/>
                    </a:cxn>
                    <a:cxn ang="T169">
                      <a:pos x="T90" y="T91"/>
                    </a:cxn>
                    <a:cxn ang="T170">
                      <a:pos x="T92" y="T93"/>
                    </a:cxn>
                    <a:cxn ang="T171">
                      <a:pos x="T94" y="T95"/>
                    </a:cxn>
                    <a:cxn ang="T172">
                      <a:pos x="T96" y="T97"/>
                    </a:cxn>
                    <a:cxn ang="T173">
                      <a:pos x="T98" y="T99"/>
                    </a:cxn>
                    <a:cxn ang="T174">
                      <a:pos x="T100" y="T101"/>
                    </a:cxn>
                    <a:cxn ang="T175">
                      <a:pos x="T102" y="T103"/>
                    </a:cxn>
                    <a:cxn ang="T176">
                      <a:pos x="T104" y="T105"/>
                    </a:cxn>
                    <a:cxn ang="T177">
                      <a:pos x="T106" y="T107"/>
                    </a:cxn>
                    <a:cxn ang="T178">
                      <a:pos x="T108" y="T109"/>
                    </a:cxn>
                    <a:cxn ang="T179">
                      <a:pos x="T110" y="T111"/>
                    </a:cxn>
                    <a:cxn ang="T180">
                      <a:pos x="T112" y="T113"/>
                    </a:cxn>
                    <a:cxn ang="T181">
                      <a:pos x="T114" y="T115"/>
                    </a:cxn>
                    <a:cxn ang="T182">
                      <a:pos x="T116" y="T117"/>
                    </a:cxn>
                    <a:cxn ang="T183">
                      <a:pos x="T118" y="T119"/>
                    </a:cxn>
                    <a:cxn ang="T184">
                      <a:pos x="T120" y="T121"/>
                    </a:cxn>
                    <a:cxn ang="T185">
                      <a:pos x="T122" y="T123"/>
                    </a:cxn>
                  </a:cxnLst>
                  <a:rect l="T186" t="T187" r="T188" b="T189"/>
                  <a:pathLst>
                    <a:path w="2148" h="5196">
                      <a:moveTo>
                        <a:pt x="2136" y="254"/>
                      </a:moveTo>
                      <a:lnTo>
                        <a:pt x="2086" y="166"/>
                      </a:lnTo>
                      <a:lnTo>
                        <a:pt x="2078" y="154"/>
                      </a:lnTo>
                      <a:lnTo>
                        <a:pt x="2068" y="142"/>
                      </a:lnTo>
                      <a:lnTo>
                        <a:pt x="2060" y="136"/>
                      </a:lnTo>
                      <a:lnTo>
                        <a:pt x="2054" y="132"/>
                      </a:lnTo>
                      <a:lnTo>
                        <a:pt x="2026" y="126"/>
                      </a:lnTo>
                      <a:lnTo>
                        <a:pt x="2008" y="122"/>
                      </a:lnTo>
                      <a:lnTo>
                        <a:pt x="1990" y="120"/>
                      </a:lnTo>
                      <a:lnTo>
                        <a:pt x="1976" y="120"/>
                      </a:lnTo>
                      <a:lnTo>
                        <a:pt x="1964" y="124"/>
                      </a:lnTo>
                      <a:lnTo>
                        <a:pt x="1938" y="130"/>
                      </a:lnTo>
                      <a:lnTo>
                        <a:pt x="1914" y="140"/>
                      </a:lnTo>
                      <a:lnTo>
                        <a:pt x="1892" y="148"/>
                      </a:lnTo>
                      <a:lnTo>
                        <a:pt x="1872" y="150"/>
                      </a:lnTo>
                      <a:lnTo>
                        <a:pt x="1868" y="152"/>
                      </a:lnTo>
                      <a:lnTo>
                        <a:pt x="1864" y="156"/>
                      </a:lnTo>
                      <a:lnTo>
                        <a:pt x="1858" y="164"/>
                      </a:lnTo>
                      <a:lnTo>
                        <a:pt x="1854" y="176"/>
                      </a:lnTo>
                      <a:lnTo>
                        <a:pt x="1852" y="184"/>
                      </a:lnTo>
                      <a:lnTo>
                        <a:pt x="1854" y="208"/>
                      </a:lnTo>
                      <a:lnTo>
                        <a:pt x="1856" y="234"/>
                      </a:lnTo>
                      <a:lnTo>
                        <a:pt x="1858" y="252"/>
                      </a:lnTo>
                      <a:lnTo>
                        <a:pt x="1860" y="258"/>
                      </a:lnTo>
                      <a:lnTo>
                        <a:pt x="1864" y="264"/>
                      </a:lnTo>
                      <a:lnTo>
                        <a:pt x="1872" y="270"/>
                      </a:lnTo>
                      <a:lnTo>
                        <a:pt x="1882" y="302"/>
                      </a:lnTo>
                      <a:lnTo>
                        <a:pt x="1888" y="330"/>
                      </a:lnTo>
                      <a:lnTo>
                        <a:pt x="1890" y="362"/>
                      </a:lnTo>
                      <a:lnTo>
                        <a:pt x="1888" y="394"/>
                      </a:lnTo>
                      <a:lnTo>
                        <a:pt x="1882" y="428"/>
                      </a:lnTo>
                      <a:lnTo>
                        <a:pt x="1876" y="450"/>
                      </a:lnTo>
                      <a:lnTo>
                        <a:pt x="1866" y="484"/>
                      </a:lnTo>
                      <a:lnTo>
                        <a:pt x="1850" y="516"/>
                      </a:lnTo>
                      <a:lnTo>
                        <a:pt x="1784" y="638"/>
                      </a:lnTo>
                      <a:lnTo>
                        <a:pt x="1752" y="702"/>
                      </a:lnTo>
                      <a:lnTo>
                        <a:pt x="1730" y="744"/>
                      </a:lnTo>
                      <a:lnTo>
                        <a:pt x="1712" y="776"/>
                      </a:lnTo>
                      <a:lnTo>
                        <a:pt x="1694" y="808"/>
                      </a:lnTo>
                      <a:lnTo>
                        <a:pt x="1648" y="878"/>
                      </a:lnTo>
                      <a:lnTo>
                        <a:pt x="1640" y="892"/>
                      </a:lnTo>
                      <a:lnTo>
                        <a:pt x="1632" y="908"/>
                      </a:lnTo>
                      <a:lnTo>
                        <a:pt x="1626" y="924"/>
                      </a:lnTo>
                      <a:lnTo>
                        <a:pt x="1622" y="940"/>
                      </a:lnTo>
                      <a:lnTo>
                        <a:pt x="1610" y="970"/>
                      </a:lnTo>
                      <a:lnTo>
                        <a:pt x="1596" y="1002"/>
                      </a:lnTo>
                      <a:lnTo>
                        <a:pt x="1584" y="1022"/>
                      </a:lnTo>
                      <a:lnTo>
                        <a:pt x="1548" y="1086"/>
                      </a:lnTo>
                      <a:lnTo>
                        <a:pt x="1532" y="1108"/>
                      </a:lnTo>
                      <a:lnTo>
                        <a:pt x="1512" y="1138"/>
                      </a:lnTo>
                      <a:lnTo>
                        <a:pt x="1490" y="1168"/>
                      </a:lnTo>
                      <a:lnTo>
                        <a:pt x="1474" y="1188"/>
                      </a:lnTo>
                      <a:lnTo>
                        <a:pt x="1458" y="1212"/>
                      </a:lnTo>
                      <a:lnTo>
                        <a:pt x="1448" y="1228"/>
                      </a:lnTo>
                      <a:lnTo>
                        <a:pt x="1440" y="1246"/>
                      </a:lnTo>
                      <a:lnTo>
                        <a:pt x="1424" y="1270"/>
                      </a:lnTo>
                      <a:lnTo>
                        <a:pt x="1402" y="1302"/>
                      </a:lnTo>
                      <a:lnTo>
                        <a:pt x="1392" y="1316"/>
                      </a:lnTo>
                      <a:lnTo>
                        <a:pt x="1378" y="1328"/>
                      </a:lnTo>
                      <a:lnTo>
                        <a:pt x="1364" y="1340"/>
                      </a:lnTo>
                      <a:lnTo>
                        <a:pt x="1350" y="1350"/>
                      </a:lnTo>
                      <a:lnTo>
                        <a:pt x="1306" y="1376"/>
                      </a:lnTo>
                      <a:lnTo>
                        <a:pt x="1292" y="1382"/>
                      </a:lnTo>
                      <a:lnTo>
                        <a:pt x="1278" y="1384"/>
                      </a:lnTo>
                      <a:lnTo>
                        <a:pt x="1264" y="1384"/>
                      </a:lnTo>
                      <a:lnTo>
                        <a:pt x="1260" y="1382"/>
                      </a:lnTo>
                      <a:lnTo>
                        <a:pt x="1256" y="1378"/>
                      </a:lnTo>
                      <a:lnTo>
                        <a:pt x="1248" y="1370"/>
                      </a:lnTo>
                      <a:lnTo>
                        <a:pt x="1240" y="1356"/>
                      </a:lnTo>
                      <a:lnTo>
                        <a:pt x="1236" y="1342"/>
                      </a:lnTo>
                      <a:lnTo>
                        <a:pt x="1234" y="1326"/>
                      </a:lnTo>
                      <a:lnTo>
                        <a:pt x="1230" y="1230"/>
                      </a:lnTo>
                      <a:lnTo>
                        <a:pt x="1226" y="1194"/>
                      </a:lnTo>
                      <a:lnTo>
                        <a:pt x="1222" y="1158"/>
                      </a:lnTo>
                      <a:lnTo>
                        <a:pt x="1204" y="1068"/>
                      </a:lnTo>
                      <a:lnTo>
                        <a:pt x="1200" y="1052"/>
                      </a:lnTo>
                      <a:lnTo>
                        <a:pt x="1194" y="1034"/>
                      </a:lnTo>
                      <a:lnTo>
                        <a:pt x="1186" y="1016"/>
                      </a:lnTo>
                      <a:lnTo>
                        <a:pt x="1176" y="1002"/>
                      </a:lnTo>
                      <a:lnTo>
                        <a:pt x="1148" y="962"/>
                      </a:lnTo>
                      <a:lnTo>
                        <a:pt x="1138" y="950"/>
                      </a:lnTo>
                      <a:lnTo>
                        <a:pt x="1124" y="940"/>
                      </a:lnTo>
                      <a:lnTo>
                        <a:pt x="1108" y="932"/>
                      </a:lnTo>
                      <a:lnTo>
                        <a:pt x="1092" y="930"/>
                      </a:lnTo>
                      <a:lnTo>
                        <a:pt x="972" y="926"/>
                      </a:lnTo>
                      <a:lnTo>
                        <a:pt x="954" y="926"/>
                      </a:lnTo>
                      <a:lnTo>
                        <a:pt x="936" y="930"/>
                      </a:lnTo>
                      <a:lnTo>
                        <a:pt x="918" y="936"/>
                      </a:lnTo>
                      <a:lnTo>
                        <a:pt x="904" y="942"/>
                      </a:lnTo>
                      <a:lnTo>
                        <a:pt x="890" y="952"/>
                      </a:lnTo>
                      <a:lnTo>
                        <a:pt x="876" y="960"/>
                      </a:lnTo>
                      <a:lnTo>
                        <a:pt x="860" y="972"/>
                      </a:lnTo>
                      <a:lnTo>
                        <a:pt x="846" y="986"/>
                      </a:lnTo>
                      <a:lnTo>
                        <a:pt x="836" y="998"/>
                      </a:lnTo>
                      <a:lnTo>
                        <a:pt x="804" y="1042"/>
                      </a:lnTo>
                      <a:lnTo>
                        <a:pt x="794" y="1056"/>
                      </a:lnTo>
                      <a:lnTo>
                        <a:pt x="784" y="1072"/>
                      </a:lnTo>
                      <a:lnTo>
                        <a:pt x="776" y="1090"/>
                      </a:lnTo>
                      <a:lnTo>
                        <a:pt x="770" y="1104"/>
                      </a:lnTo>
                      <a:lnTo>
                        <a:pt x="754" y="1152"/>
                      </a:lnTo>
                      <a:lnTo>
                        <a:pt x="746" y="1186"/>
                      </a:lnTo>
                      <a:lnTo>
                        <a:pt x="740" y="1222"/>
                      </a:lnTo>
                      <a:lnTo>
                        <a:pt x="738" y="1272"/>
                      </a:lnTo>
                      <a:lnTo>
                        <a:pt x="734" y="1346"/>
                      </a:lnTo>
                      <a:lnTo>
                        <a:pt x="734" y="1366"/>
                      </a:lnTo>
                      <a:lnTo>
                        <a:pt x="736" y="1382"/>
                      </a:lnTo>
                      <a:lnTo>
                        <a:pt x="742" y="1398"/>
                      </a:lnTo>
                      <a:lnTo>
                        <a:pt x="750" y="1416"/>
                      </a:lnTo>
                      <a:lnTo>
                        <a:pt x="758" y="1428"/>
                      </a:lnTo>
                      <a:lnTo>
                        <a:pt x="764" y="1436"/>
                      </a:lnTo>
                      <a:lnTo>
                        <a:pt x="772" y="1448"/>
                      </a:lnTo>
                      <a:lnTo>
                        <a:pt x="778" y="1458"/>
                      </a:lnTo>
                      <a:lnTo>
                        <a:pt x="778" y="1468"/>
                      </a:lnTo>
                      <a:lnTo>
                        <a:pt x="776" y="1472"/>
                      </a:lnTo>
                      <a:lnTo>
                        <a:pt x="774" y="1474"/>
                      </a:lnTo>
                      <a:lnTo>
                        <a:pt x="770" y="1476"/>
                      </a:lnTo>
                      <a:lnTo>
                        <a:pt x="766" y="1478"/>
                      </a:lnTo>
                      <a:lnTo>
                        <a:pt x="756" y="1474"/>
                      </a:lnTo>
                      <a:lnTo>
                        <a:pt x="744" y="1468"/>
                      </a:lnTo>
                      <a:lnTo>
                        <a:pt x="734" y="1458"/>
                      </a:lnTo>
                      <a:lnTo>
                        <a:pt x="690" y="1406"/>
                      </a:lnTo>
                      <a:lnTo>
                        <a:pt x="678" y="1392"/>
                      </a:lnTo>
                      <a:lnTo>
                        <a:pt x="668" y="1376"/>
                      </a:lnTo>
                      <a:lnTo>
                        <a:pt x="658" y="1360"/>
                      </a:lnTo>
                      <a:lnTo>
                        <a:pt x="650" y="1346"/>
                      </a:lnTo>
                      <a:lnTo>
                        <a:pt x="618" y="1272"/>
                      </a:lnTo>
                      <a:lnTo>
                        <a:pt x="588" y="1208"/>
                      </a:lnTo>
                      <a:lnTo>
                        <a:pt x="528" y="1088"/>
                      </a:lnTo>
                      <a:lnTo>
                        <a:pt x="512" y="1054"/>
                      </a:lnTo>
                      <a:lnTo>
                        <a:pt x="500" y="1020"/>
                      </a:lnTo>
                      <a:lnTo>
                        <a:pt x="468" y="928"/>
                      </a:lnTo>
                      <a:lnTo>
                        <a:pt x="444" y="858"/>
                      </a:lnTo>
                      <a:lnTo>
                        <a:pt x="408" y="758"/>
                      </a:lnTo>
                      <a:lnTo>
                        <a:pt x="398" y="722"/>
                      </a:lnTo>
                      <a:lnTo>
                        <a:pt x="390" y="688"/>
                      </a:lnTo>
                      <a:lnTo>
                        <a:pt x="378" y="606"/>
                      </a:lnTo>
                      <a:lnTo>
                        <a:pt x="374" y="588"/>
                      </a:lnTo>
                      <a:lnTo>
                        <a:pt x="368" y="570"/>
                      </a:lnTo>
                      <a:lnTo>
                        <a:pt x="362" y="554"/>
                      </a:lnTo>
                      <a:lnTo>
                        <a:pt x="354" y="538"/>
                      </a:lnTo>
                      <a:lnTo>
                        <a:pt x="318" y="476"/>
                      </a:lnTo>
                      <a:lnTo>
                        <a:pt x="258" y="362"/>
                      </a:lnTo>
                      <a:lnTo>
                        <a:pt x="252" y="348"/>
                      </a:lnTo>
                      <a:lnTo>
                        <a:pt x="250" y="330"/>
                      </a:lnTo>
                      <a:lnTo>
                        <a:pt x="250" y="312"/>
                      </a:lnTo>
                      <a:lnTo>
                        <a:pt x="254" y="296"/>
                      </a:lnTo>
                      <a:lnTo>
                        <a:pt x="276" y="234"/>
                      </a:lnTo>
                      <a:lnTo>
                        <a:pt x="292" y="188"/>
                      </a:lnTo>
                      <a:lnTo>
                        <a:pt x="300" y="178"/>
                      </a:lnTo>
                      <a:lnTo>
                        <a:pt x="308" y="170"/>
                      </a:lnTo>
                      <a:lnTo>
                        <a:pt x="312" y="164"/>
                      </a:lnTo>
                      <a:lnTo>
                        <a:pt x="318" y="156"/>
                      </a:lnTo>
                      <a:lnTo>
                        <a:pt x="322" y="146"/>
                      </a:lnTo>
                      <a:lnTo>
                        <a:pt x="326" y="134"/>
                      </a:lnTo>
                      <a:lnTo>
                        <a:pt x="332" y="110"/>
                      </a:lnTo>
                      <a:lnTo>
                        <a:pt x="334" y="92"/>
                      </a:lnTo>
                      <a:lnTo>
                        <a:pt x="332" y="84"/>
                      </a:lnTo>
                      <a:lnTo>
                        <a:pt x="330" y="76"/>
                      </a:lnTo>
                      <a:lnTo>
                        <a:pt x="322" y="58"/>
                      </a:lnTo>
                      <a:lnTo>
                        <a:pt x="314" y="50"/>
                      </a:lnTo>
                      <a:lnTo>
                        <a:pt x="304" y="42"/>
                      </a:lnTo>
                      <a:lnTo>
                        <a:pt x="290" y="36"/>
                      </a:lnTo>
                      <a:lnTo>
                        <a:pt x="276" y="30"/>
                      </a:lnTo>
                      <a:lnTo>
                        <a:pt x="178" y="4"/>
                      </a:lnTo>
                      <a:lnTo>
                        <a:pt x="162" y="2"/>
                      </a:lnTo>
                      <a:lnTo>
                        <a:pt x="150" y="0"/>
                      </a:lnTo>
                      <a:lnTo>
                        <a:pt x="138" y="0"/>
                      </a:lnTo>
                      <a:lnTo>
                        <a:pt x="132" y="2"/>
                      </a:lnTo>
                      <a:lnTo>
                        <a:pt x="106" y="18"/>
                      </a:lnTo>
                      <a:lnTo>
                        <a:pt x="92" y="28"/>
                      </a:lnTo>
                      <a:lnTo>
                        <a:pt x="78" y="40"/>
                      </a:lnTo>
                      <a:lnTo>
                        <a:pt x="68" y="50"/>
                      </a:lnTo>
                      <a:lnTo>
                        <a:pt x="60" y="60"/>
                      </a:lnTo>
                      <a:lnTo>
                        <a:pt x="48" y="84"/>
                      </a:lnTo>
                      <a:lnTo>
                        <a:pt x="38" y="108"/>
                      </a:lnTo>
                      <a:lnTo>
                        <a:pt x="28" y="128"/>
                      </a:lnTo>
                      <a:lnTo>
                        <a:pt x="16" y="144"/>
                      </a:lnTo>
                      <a:lnTo>
                        <a:pt x="4" y="158"/>
                      </a:lnTo>
                      <a:lnTo>
                        <a:pt x="2" y="160"/>
                      </a:lnTo>
                      <a:lnTo>
                        <a:pt x="0" y="166"/>
                      </a:lnTo>
                      <a:lnTo>
                        <a:pt x="2" y="174"/>
                      </a:lnTo>
                      <a:lnTo>
                        <a:pt x="6" y="184"/>
                      </a:lnTo>
                      <a:lnTo>
                        <a:pt x="16" y="196"/>
                      </a:lnTo>
                      <a:lnTo>
                        <a:pt x="26" y="206"/>
                      </a:lnTo>
                      <a:lnTo>
                        <a:pt x="34" y="218"/>
                      </a:lnTo>
                      <a:lnTo>
                        <a:pt x="40" y="228"/>
                      </a:lnTo>
                      <a:lnTo>
                        <a:pt x="50" y="240"/>
                      </a:lnTo>
                      <a:lnTo>
                        <a:pt x="60" y="254"/>
                      </a:lnTo>
                      <a:lnTo>
                        <a:pt x="68" y="272"/>
                      </a:lnTo>
                      <a:lnTo>
                        <a:pt x="74" y="292"/>
                      </a:lnTo>
                      <a:lnTo>
                        <a:pt x="74" y="298"/>
                      </a:lnTo>
                      <a:lnTo>
                        <a:pt x="74" y="302"/>
                      </a:lnTo>
                      <a:lnTo>
                        <a:pt x="74" y="316"/>
                      </a:lnTo>
                      <a:lnTo>
                        <a:pt x="76" y="344"/>
                      </a:lnTo>
                      <a:lnTo>
                        <a:pt x="84" y="426"/>
                      </a:lnTo>
                      <a:lnTo>
                        <a:pt x="84" y="442"/>
                      </a:lnTo>
                      <a:lnTo>
                        <a:pt x="82" y="458"/>
                      </a:lnTo>
                      <a:lnTo>
                        <a:pt x="78" y="474"/>
                      </a:lnTo>
                      <a:lnTo>
                        <a:pt x="72" y="488"/>
                      </a:lnTo>
                      <a:lnTo>
                        <a:pt x="66" y="502"/>
                      </a:lnTo>
                      <a:lnTo>
                        <a:pt x="64" y="518"/>
                      </a:lnTo>
                      <a:lnTo>
                        <a:pt x="64" y="534"/>
                      </a:lnTo>
                      <a:lnTo>
                        <a:pt x="66" y="550"/>
                      </a:lnTo>
                      <a:lnTo>
                        <a:pt x="100" y="666"/>
                      </a:lnTo>
                      <a:lnTo>
                        <a:pt x="122" y="734"/>
                      </a:lnTo>
                      <a:lnTo>
                        <a:pt x="230" y="1044"/>
                      </a:lnTo>
                      <a:lnTo>
                        <a:pt x="238" y="1078"/>
                      </a:lnTo>
                      <a:lnTo>
                        <a:pt x="244" y="1114"/>
                      </a:lnTo>
                      <a:lnTo>
                        <a:pt x="246" y="1142"/>
                      </a:lnTo>
                      <a:lnTo>
                        <a:pt x="250" y="1156"/>
                      </a:lnTo>
                      <a:lnTo>
                        <a:pt x="256" y="1170"/>
                      </a:lnTo>
                      <a:lnTo>
                        <a:pt x="264" y="1180"/>
                      </a:lnTo>
                      <a:lnTo>
                        <a:pt x="268" y="1184"/>
                      </a:lnTo>
                      <a:lnTo>
                        <a:pt x="272" y="1186"/>
                      </a:lnTo>
                      <a:lnTo>
                        <a:pt x="282" y="1192"/>
                      </a:lnTo>
                      <a:lnTo>
                        <a:pt x="292" y="1202"/>
                      </a:lnTo>
                      <a:lnTo>
                        <a:pt x="302" y="1214"/>
                      </a:lnTo>
                      <a:lnTo>
                        <a:pt x="308" y="1228"/>
                      </a:lnTo>
                      <a:lnTo>
                        <a:pt x="320" y="1260"/>
                      </a:lnTo>
                      <a:lnTo>
                        <a:pt x="332" y="1294"/>
                      </a:lnTo>
                      <a:lnTo>
                        <a:pt x="340" y="1330"/>
                      </a:lnTo>
                      <a:lnTo>
                        <a:pt x="344" y="1366"/>
                      </a:lnTo>
                      <a:lnTo>
                        <a:pt x="352" y="1400"/>
                      </a:lnTo>
                      <a:lnTo>
                        <a:pt x="364" y="1436"/>
                      </a:lnTo>
                      <a:lnTo>
                        <a:pt x="444" y="1622"/>
                      </a:lnTo>
                      <a:lnTo>
                        <a:pt x="470" y="1690"/>
                      </a:lnTo>
                      <a:lnTo>
                        <a:pt x="522" y="1846"/>
                      </a:lnTo>
                      <a:lnTo>
                        <a:pt x="528" y="1862"/>
                      </a:lnTo>
                      <a:lnTo>
                        <a:pt x="532" y="1880"/>
                      </a:lnTo>
                      <a:lnTo>
                        <a:pt x="534" y="1898"/>
                      </a:lnTo>
                      <a:lnTo>
                        <a:pt x="536" y="1916"/>
                      </a:lnTo>
                      <a:lnTo>
                        <a:pt x="540" y="2044"/>
                      </a:lnTo>
                      <a:lnTo>
                        <a:pt x="540" y="2080"/>
                      </a:lnTo>
                      <a:lnTo>
                        <a:pt x="534" y="2116"/>
                      </a:lnTo>
                      <a:lnTo>
                        <a:pt x="512" y="2206"/>
                      </a:lnTo>
                      <a:lnTo>
                        <a:pt x="502" y="2240"/>
                      </a:lnTo>
                      <a:lnTo>
                        <a:pt x="488" y="2274"/>
                      </a:lnTo>
                      <a:lnTo>
                        <a:pt x="442" y="2364"/>
                      </a:lnTo>
                      <a:lnTo>
                        <a:pt x="410" y="2428"/>
                      </a:lnTo>
                      <a:lnTo>
                        <a:pt x="382" y="2486"/>
                      </a:lnTo>
                      <a:lnTo>
                        <a:pt x="370" y="2508"/>
                      </a:lnTo>
                      <a:lnTo>
                        <a:pt x="588" y="2612"/>
                      </a:lnTo>
                      <a:lnTo>
                        <a:pt x="586" y="2614"/>
                      </a:lnTo>
                      <a:lnTo>
                        <a:pt x="596" y="2616"/>
                      </a:lnTo>
                      <a:lnTo>
                        <a:pt x="600" y="2618"/>
                      </a:lnTo>
                      <a:lnTo>
                        <a:pt x="602" y="2698"/>
                      </a:lnTo>
                      <a:lnTo>
                        <a:pt x="592" y="2740"/>
                      </a:lnTo>
                      <a:lnTo>
                        <a:pt x="594" y="2740"/>
                      </a:lnTo>
                      <a:lnTo>
                        <a:pt x="588" y="2756"/>
                      </a:lnTo>
                      <a:lnTo>
                        <a:pt x="584" y="2824"/>
                      </a:lnTo>
                      <a:lnTo>
                        <a:pt x="580" y="2904"/>
                      </a:lnTo>
                      <a:lnTo>
                        <a:pt x="586" y="2988"/>
                      </a:lnTo>
                      <a:lnTo>
                        <a:pt x="592" y="3056"/>
                      </a:lnTo>
                      <a:lnTo>
                        <a:pt x="592" y="3070"/>
                      </a:lnTo>
                      <a:lnTo>
                        <a:pt x="594" y="3072"/>
                      </a:lnTo>
                      <a:lnTo>
                        <a:pt x="594" y="3076"/>
                      </a:lnTo>
                      <a:lnTo>
                        <a:pt x="594" y="3086"/>
                      </a:lnTo>
                      <a:lnTo>
                        <a:pt x="592" y="3096"/>
                      </a:lnTo>
                      <a:lnTo>
                        <a:pt x="592" y="3102"/>
                      </a:lnTo>
                      <a:lnTo>
                        <a:pt x="592" y="3174"/>
                      </a:lnTo>
                      <a:lnTo>
                        <a:pt x="590" y="3250"/>
                      </a:lnTo>
                      <a:lnTo>
                        <a:pt x="582" y="3396"/>
                      </a:lnTo>
                      <a:lnTo>
                        <a:pt x="582" y="3460"/>
                      </a:lnTo>
                      <a:lnTo>
                        <a:pt x="584" y="3492"/>
                      </a:lnTo>
                      <a:lnTo>
                        <a:pt x="588" y="3526"/>
                      </a:lnTo>
                      <a:lnTo>
                        <a:pt x="592" y="3574"/>
                      </a:lnTo>
                      <a:lnTo>
                        <a:pt x="594" y="3622"/>
                      </a:lnTo>
                      <a:lnTo>
                        <a:pt x="594" y="3670"/>
                      </a:lnTo>
                      <a:lnTo>
                        <a:pt x="592" y="3718"/>
                      </a:lnTo>
                      <a:lnTo>
                        <a:pt x="590" y="3766"/>
                      </a:lnTo>
                      <a:lnTo>
                        <a:pt x="586" y="3814"/>
                      </a:lnTo>
                      <a:lnTo>
                        <a:pt x="576" y="3906"/>
                      </a:lnTo>
                      <a:lnTo>
                        <a:pt x="592" y="3912"/>
                      </a:lnTo>
                      <a:lnTo>
                        <a:pt x="608" y="3916"/>
                      </a:lnTo>
                      <a:lnTo>
                        <a:pt x="638" y="3916"/>
                      </a:lnTo>
                      <a:lnTo>
                        <a:pt x="632" y="3972"/>
                      </a:lnTo>
                      <a:lnTo>
                        <a:pt x="628" y="4000"/>
                      </a:lnTo>
                      <a:lnTo>
                        <a:pt x="628" y="4028"/>
                      </a:lnTo>
                      <a:lnTo>
                        <a:pt x="626" y="4060"/>
                      </a:lnTo>
                      <a:lnTo>
                        <a:pt x="628" y="4092"/>
                      </a:lnTo>
                      <a:lnTo>
                        <a:pt x="632" y="4126"/>
                      </a:lnTo>
                      <a:lnTo>
                        <a:pt x="636" y="4158"/>
                      </a:lnTo>
                      <a:lnTo>
                        <a:pt x="644" y="4202"/>
                      </a:lnTo>
                      <a:lnTo>
                        <a:pt x="652" y="4248"/>
                      </a:lnTo>
                      <a:lnTo>
                        <a:pt x="662" y="4292"/>
                      </a:lnTo>
                      <a:lnTo>
                        <a:pt x="674" y="4336"/>
                      </a:lnTo>
                      <a:lnTo>
                        <a:pt x="700" y="4422"/>
                      </a:lnTo>
                      <a:lnTo>
                        <a:pt x="730" y="4508"/>
                      </a:lnTo>
                      <a:lnTo>
                        <a:pt x="756" y="4578"/>
                      </a:lnTo>
                      <a:lnTo>
                        <a:pt x="768" y="4616"/>
                      </a:lnTo>
                      <a:lnTo>
                        <a:pt x="778" y="4656"/>
                      </a:lnTo>
                      <a:lnTo>
                        <a:pt x="786" y="4694"/>
                      </a:lnTo>
                      <a:lnTo>
                        <a:pt x="790" y="4734"/>
                      </a:lnTo>
                      <a:lnTo>
                        <a:pt x="792" y="4752"/>
                      </a:lnTo>
                      <a:lnTo>
                        <a:pt x="792" y="4770"/>
                      </a:lnTo>
                      <a:lnTo>
                        <a:pt x="790" y="4790"/>
                      </a:lnTo>
                      <a:lnTo>
                        <a:pt x="786" y="4806"/>
                      </a:lnTo>
                      <a:lnTo>
                        <a:pt x="780" y="4850"/>
                      </a:lnTo>
                      <a:lnTo>
                        <a:pt x="776" y="4894"/>
                      </a:lnTo>
                      <a:lnTo>
                        <a:pt x="776" y="4938"/>
                      </a:lnTo>
                      <a:lnTo>
                        <a:pt x="778" y="4980"/>
                      </a:lnTo>
                      <a:lnTo>
                        <a:pt x="782" y="5008"/>
                      </a:lnTo>
                      <a:lnTo>
                        <a:pt x="790" y="5038"/>
                      </a:lnTo>
                      <a:lnTo>
                        <a:pt x="798" y="5066"/>
                      </a:lnTo>
                      <a:lnTo>
                        <a:pt x="802" y="5094"/>
                      </a:lnTo>
                      <a:lnTo>
                        <a:pt x="804" y="5104"/>
                      </a:lnTo>
                      <a:lnTo>
                        <a:pt x="804" y="5114"/>
                      </a:lnTo>
                      <a:lnTo>
                        <a:pt x="802" y="5130"/>
                      </a:lnTo>
                      <a:lnTo>
                        <a:pt x="804" y="5138"/>
                      </a:lnTo>
                      <a:lnTo>
                        <a:pt x="806" y="5146"/>
                      </a:lnTo>
                      <a:lnTo>
                        <a:pt x="812" y="5152"/>
                      </a:lnTo>
                      <a:lnTo>
                        <a:pt x="822" y="5160"/>
                      </a:lnTo>
                      <a:lnTo>
                        <a:pt x="860" y="5174"/>
                      </a:lnTo>
                      <a:lnTo>
                        <a:pt x="886" y="5182"/>
                      </a:lnTo>
                      <a:lnTo>
                        <a:pt x="912" y="5188"/>
                      </a:lnTo>
                      <a:lnTo>
                        <a:pt x="940" y="5194"/>
                      </a:lnTo>
                      <a:lnTo>
                        <a:pt x="964" y="5196"/>
                      </a:lnTo>
                      <a:lnTo>
                        <a:pt x="986" y="5196"/>
                      </a:lnTo>
                      <a:lnTo>
                        <a:pt x="996" y="5194"/>
                      </a:lnTo>
                      <a:lnTo>
                        <a:pt x="1004" y="5190"/>
                      </a:lnTo>
                      <a:lnTo>
                        <a:pt x="1018" y="5182"/>
                      </a:lnTo>
                      <a:lnTo>
                        <a:pt x="1026" y="5172"/>
                      </a:lnTo>
                      <a:lnTo>
                        <a:pt x="1034" y="5162"/>
                      </a:lnTo>
                      <a:lnTo>
                        <a:pt x="1038" y="5152"/>
                      </a:lnTo>
                      <a:lnTo>
                        <a:pt x="1042" y="5160"/>
                      </a:lnTo>
                      <a:lnTo>
                        <a:pt x="1050" y="5166"/>
                      </a:lnTo>
                      <a:lnTo>
                        <a:pt x="1058" y="5170"/>
                      </a:lnTo>
                      <a:lnTo>
                        <a:pt x="1070" y="5174"/>
                      </a:lnTo>
                      <a:lnTo>
                        <a:pt x="1096" y="5176"/>
                      </a:lnTo>
                      <a:lnTo>
                        <a:pt x="1120" y="5176"/>
                      </a:lnTo>
                      <a:lnTo>
                        <a:pt x="1142" y="5172"/>
                      </a:lnTo>
                      <a:lnTo>
                        <a:pt x="1166" y="5166"/>
                      </a:lnTo>
                      <a:lnTo>
                        <a:pt x="1182" y="5160"/>
                      </a:lnTo>
                      <a:lnTo>
                        <a:pt x="1194" y="5154"/>
                      </a:lnTo>
                      <a:lnTo>
                        <a:pt x="1202" y="5146"/>
                      </a:lnTo>
                      <a:lnTo>
                        <a:pt x="1206" y="5136"/>
                      </a:lnTo>
                      <a:lnTo>
                        <a:pt x="1208" y="5128"/>
                      </a:lnTo>
                      <a:lnTo>
                        <a:pt x="1206" y="5118"/>
                      </a:lnTo>
                      <a:lnTo>
                        <a:pt x="1202" y="5108"/>
                      </a:lnTo>
                      <a:lnTo>
                        <a:pt x="1198" y="5096"/>
                      </a:lnTo>
                      <a:lnTo>
                        <a:pt x="1182" y="5074"/>
                      </a:lnTo>
                      <a:lnTo>
                        <a:pt x="1166" y="5052"/>
                      </a:lnTo>
                      <a:lnTo>
                        <a:pt x="1150" y="5028"/>
                      </a:lnTo>
                      <a:lnTo>
                        <a:pt x="1138" y="5006"/>
                      </a:lnTo>
                      <a:lnTo>
                        <a:pt x="1132" y="4990"/>
                      </a:lnTo>
                      <a:lnTo>
                        <a:pt x="1128" y="4970"/>
                      </a:lnTo>
                      <a:lnTo>
                        <a:pt x="1124" y="4928"/>
                      </a:lnTo>
                      <a:lnTo>
                        <a:pt x="1122" y="4892"/>
                      </a:lnTo>
                      <a:lnTo>
                        <a:pt x="1118" y="4864"/>
                      </a:lnTo>
                      <a:lnTo>
                        <a:pt x="1116" y="4840"/>
                      </a:lnTo>
                      <a:lnTo>
                        <a:pt x="1114" y="4814"/>
                      </a:lnTo>
                      <a:lnTo>
                        <a:pt x="1120" y="4788"/>
                      </a:lnTo>
                      <a:lnTo>
                        <a:pt x="1130" y="4746"/>
                      </a:lnTo>
                      <a:lnTo>
                        <a:pt x="1164" y="4632"/>
                      </a:lnTo>
                      <a:lnTo>
                        <a:pt x="1198" y="4522"/>
                      </a:lnTo>
                      <a:lnTo>
                        <a:pt x="1218" y="4462"/>
                      </a:lnTo>
                      <a:lnTo>
                        <a:pt x="1234" y="4410"/>
                      </a:lnTo>
                      <a:lnTo>
                        <a:pt x="1264" y="4318"/>
                      </a:lnTo>
                      <a:lnTo>
                        <a:pt x="1296" y="4226"/>
                      </a:lnTo>
                      <a:lnTo>
                        <a:pt x="1312" y="4172"/>
                      </a:lnTo>
                      <a:lnTo>
                        <a:pt x="1356" y="3948"/>
                      </a:lnTo>
                      <a:lnTo>
                        <a:pt x="1360" y="3942"/>
                      </a:lnTo>
                      <a:lnTo>
                        <a:pt x="1362" y="3926"/>
                      </a:lnTo>
                      <a:lnTo>
                        <a:pt x="1368" y="3870"/>
                      </a:lnTo>
                      <a:lnTo>
                        <a:pt x="1374" y="3690"/>
                      </a:lnTo>
                      <a:lnTo>
                        <a:pt x="1384" y="3470"/>
                      </a:lnTo>
                      <a:lnTo>
                        <a:pt x="1390" y="3364"/>
                      </a:lnTo>
                      <a:lnTo>
                        <a:pt x="1398" y="3270"/>
                      </a:lnTo>
                      <a:lnTo>
                        <a:pt x="1412" y="3164"/>
                      </a:lnTo>
                      <a:lnTo>
                        <a:pt x="1416" y="3136"/>
                      </a:lnTo>
                      <a:lnTo>
                        <a:pt x="1420" y="3128"/>
                      </a:lnTo>
                      <a:lnTo>
                        <a:pt x="1422" y="3120"/>
                      </a:lnTo>
                      <a:lnTo>
                        <a:pt x="1414" y="3024"/>
                      </a:lnTo>
                      <a:lnTo>
                        <a:pt x="1344" y="2810"/>
                      </a:lnTo>
                      <a:lnTo>
                        <a:pt x="1284" y="2690"/>
                      </a:lnTo>
                      <a:lnTo>
                        <a:pt x="1536" y="2594"/>
                      </a:lnTo>
                      <a:lnTo>
                        <a:pt x="1428" y="2368"/>
                      </a:lnTo>
                      <a:lnTo>
                        <a:pt x="1422" y="2352"/>
                      </a:lnTo>
                      <a:lnTo>
                        <a:pt x="1418" y="2334"/>
                      </a:lnTo>
                      <a:lnTo>
                        <a:pt x="1414" y="2314"/>
                      </a:lnTo>
                      <a:lnTo>
                        <a:pt x="1414" y="2298"/>
                      </a:lnTo>
                      <a:lnTo>
                        <a:pt x="1414" y="2244"/>
                      </a:lnTo>
                      <a:lnTo>
                        <a:pt x="1412" y="2210"/>
                      </a:lnTo>
                      <a:lnTo>
                        <a:pt x="1410" y="2178"/>
                      </a:lnTo>
                      <a:lnTo>
                        <a:pt x="1410" y="2164"/>
                      </a:lnTo>
                      <a:lnTo>
                        <a:pt x="1412" y="2148"/>
                      </a:lnTo>
                      <a:lnTo>
                        <a:pt x="1416" y="2132"/>
                      </a:lnTo>
                      <a:lnTo>
                        <a:pt x="1422" y="2118"/>
                      </a:lnTo>
                      <a:lnTo>
                        <a:pt x="1426" y="2112"/>
                      </a:lnTo>
                      <a:lnTo>
                        <a:pt x="1434" y="2096"/>
                      </a:lnTo>
                      <a:lnTo>
                        <a:pt x="1438" y="2078"/>
                      </a:lnTo>
                      <a:lnTo>
                        <a:pt x="1442" y="2060"/>
                      </a:lnTo>
                      <a:lnTo>
                        <a:pt x="1444" y="2044"/>
                      </a:lnTo>
                      <a:lnTo>
                        <a:pt x="1444" y="2032"/>
                      </a:lnTo>
                      <a:lnTo>
                        <a:pt x="1444" y="1958"/>
                      </a:lnTo>
                      <a:lnTo>
                        <a:pt x="1444" y="1878"/>
                      </a:lnTo>
                      <a:lnTo>
                        <a:pt x="1444" y="1814"/>
                      </a:lnTo>
                      <a:lnTo>
                        <a:pt x="1446" y="1802"/>
                      </a:lnTo>
                      <a:lnTo>
                        <a:pt x="1450" y="1786"/>
                      </a:lnTo>
                      <a:lnTo>
                        <a:pt x="1456" y="1772"/>
                      </a:lnTo>
                      <a:lnTo>
                        <a:pt x="1466" y="1758"/>
                      </a:lnTo>
                      <a:lnTo>
                        <a:pt x="1484" y="1732"/>
                      </a:lnTo>
                      <a:lnTo>
                        <a:pt x="1504" y="1702"/>
                      </a:lnTo>
                      <a:lnTo>
                        <a:pt x="1520" y="1668"/>
                      </a:lnTo>
                      <a:lnTo>
                        <a:pt x="1522" y="1666"/>
                      </a:lnTo>
                      <a:lnTo>
                        <a:pt x="1534" y="1634"/>
                      </a:lnTo>
                      <a:lnTo>
                        <a:pt x="1544" y="1602"/>
                      </a:lnTo>
                      <a:lnTo>
                        <a:pt x="1554" y="1570"/>
                      </a:lnTo>
                      <a:lnTo>
                        <a:pt x="1564" y="1538"/>
                      </a:lnTo>
                      <a:lnTo>
                        <a:pt x="1570" y="1520"/>
                      </a:lnTo>
                      <a:lnTo>
                        <a:pt x="1598" y="1454"/>
                      </a:lnTo>
                      <a:lnTo>
                        <a:pt x="1606" y="1434"/>
                      </a:lnTo>
                      <a:lnTo>
                        <a:pt x="1622" y="1402"/>
                      </a:lnTo>
                      <a:lnTo>
                        <a:pt x="1642" y="1372"/>
                      </a:lnTo>
                      <a:lnTo>
                        <a:pt x="1654" y="1354"/>
                      </a:lnTo>
                      <a:lnTo>
                        <a:pt x="1696" y="1296"/>
                      </a:lnTo>
                      <a:lnTo>
                        <a:pt x="1700" y="1292"/>
                      </a:lnTo>
                      <a:lnTo>
                        <a:pt x="1720" y="1268"/>
                      </a:lnTo>
                      <a:lnTo>
                        <a:pt x="1736" y="1252"/>
                      </a:lnTo>
                      <a:lnTo>
                        <a:pt x="1744" y="1244"/>
                      </a:lnTo>
                      <a:lnTo>
                        <a:pt x="1752" y="1234"/>
                      </a:lnTo>
                      <a:lnTo>
                        <a:pt x="1758" y="1220"/>
                      </a:lnTo>
                      <a:lnTo>
                        <a:pt x="1764" y="1206"/>
                      </a:lnTo>
                      <a:lnTo>
                        <a:pt x="1770" y="1190"/>
                      </a:lnTo>
                      <a:lnTo>
                        <a:pt x="1794" y="1124"/>
                      </a:lnTo>
                      <a:lnTo>
                        <a:pt x="1804" y="1096"/>
                      </a:lnTo>
                      <a:lnTo>
                        <a:pt x="1810" y="1070"/>
                      </a:lnTo>
                      <a:lnTo>
                        <a:pt x="1814" y="1058"/>
                      </a:lnTo>
                      <a:lnTo>
                        <a:pt x="1818" y="1044"/>
                      </a:lnTo>
                      <a:lnTo>
                        <a:pt x="1826" y="1030"/>
                      </a:lnTo>
                      <a:lnTo>
                        <a:pt x="1834" y="1016"/>
                      </a:lnTo>
                      <a:lnTo>
                        <a:pt x="1848" y="992"/>
                      </a:lnTo>
                      <a:lnTo>
                        <a:pt x="1886" y="930"/>
                      </a:lnTo>
                      <a:lnTo>
                        <a:pt x="1912" y="886"/>
                      </a:lnTo>
                      <a:lnTo>
                        <a:pt x="1930" y="856"/>
                      </a:lnTo>
                      <a:lnTo>
                        <a:pt x="1948" y="828"/>
                      </a:lnTo>
                      <a:lnTo>
                        <a:pt x="1956" y="814"/>
                      </a:lnTo>
                      <a:lnTo>
                        <a:pt x="1964" y="798"/>
                      </a:lnTo>
                      <a:lnTo>
                        <a:pt x="1970" y="780"/>
                      </a:lnTo>
                      <a:lnTo>
                        <a:pt x="1976" y="764"/>
                      </a:lnTo>
                      <a:lnTo>
                        <a:pt x="1984" y="720"/>
                      </a:lnTo>
                      <a:lnTo>
                        <a:pt x="1998" y="650"/>
                      </a:lnTo>
                      <a:lnTo>
                        <a:pt x="2008" y="598"/>
                      </a:lnTo>
                      <a:lnTo>
                        <a:pt x="2012" y="564"/>
                      </a:lnTo>
                      <a:lnTo>
                        <a:pt x="2014" y="534"/>
                      </a:lnTo>
                      <a:lnTo>
                        <a:pt x="2016" y="522"/>
                      </a:lnTo>
                      <a:lnTo>
                        <a:pt x="2018" y="506"/>
                      </a:lnTo>
                      <a:lnTo>
                        <a:pt x="2024" y="490"/>
                      </a:lnTo>
                      <a:lnTo>
                        <a:pt x="2030" y="476"/>
                      </a:lnTo>
                      <a:lnTo>
                        <a:pt x="2044" y="452"/>
                      </a:lnTo>
                      <a:lnTo>
                        <a:pt x="2056" y="434"/>
                      </a:lnTo>
                      <a:lnTo>
                        <a:pt x="2062" y="428"/>
                      </a:lnTo>
                      <a:lnTo>
                        <a:pt x="2066" y="418"/>
                      </a:lnTo>
                      <a:lnTo>
                        <a:pt x="2070" y="408"/>
                      </a:lnTo>
                      <a:lnTo>
                        <a:pt x="2074" y="398"/>
                      </a:lnTo>
                      <a:lnTo>
                        <a:pt x="2076" y="386"/>
                      </a:lnTo>
                      <a:lnTo>
                        <a:pt x="2082" y="374"/>
                      </a:lnTo>
                      <a:lnTo>
                        <a:pt x="2088" y="364"/>
                      </a:lnTo>
                      <a:lnTo>
                        <a:pt x="2096" y="354"/>
                      </a:lnTo>
                      <a:lnTo>
                        <a:pt x="2124" y="324"/>
                      </a:lnTo>
                      <a:lnTo>
                        <a:pt x="2144" y="298"/>
                      </a:lnTo>
                      <a:lnTo>
                        <a:pt x="2148" y="292"/>
                      </a:lnTo>
                      <a:lnTo>
                        <a:pt x="2146" y="280"/>
                      </a:lnTo>
                      <a:lnTo>
                        <a:pt x="2142" y="266"/>
                      </a:lnTo>
                      <a:lnTo>
                        <a:pt x="2136" y="254"/>
                      </a:lnTo>
                      <a:close/>
                      <a:moveTo>
                        <a:pt x="988" y="5046"/>
                      </a:moveTo>
                      <a:lnTo>
                        <a:pt x="988" y="5046"/>
                      </a:lnTo>
                      <a:lnTo>
                        <a:pt x="982" y="5032"/>
                      </a:lnTo>
                      <a:lnTo>
                        <a:pt x="976" y="5016"/>
                      </a:lnTo>
                      <a:lnTo>
                        <a:pt x="968" y="4986"/>
                      </a:lnTo>
                      <a:lnTo>
                        <a:pt x="962" y="4954"/>
                      </a:lnTo>
                      <a:lnTo>
                        <a:pt x="958" y="4922"/>
                      </a:lnTo>
                      <a:lnTo>
                        <a:pt x="974" y="4938"/>
                      </a:lnTo>
                      <a:lnTo>
                        <a:pt x="980" y="4948"/>
                      </a:lnTo>
                      <a:lnTo>
                        <a:pt x="984" y="4958"/>
                      </a:lnTo>
                      <a:lnTo>
                        <a:pt x="988" y="4980"/>
                      </a:lnTo>
                      <a:lnTo>
                        <a:pt x="990" y="5002"/>
                      </a:lnTo>
                      <a:lnTo>
                        <a:pt x="988" y="5046"/>
                      </a:lnTo>
                      <a:close/>
                      <a:moveTo>
                        <a:pt x="1112" y="4102"/>
                      </a:moveTo>
                      <a:lnTo>
                        <a:pt x="1112" y="4102"/>
                      </a:lnTo>
                      <a:lnTo>
                        <a:pt x="1106" y="4132"/>
                      </a:lnTo>
                      <a:lnTo>
                        <a:pt x="1096" y="4162"/>
                      </a:lnTo>
                      <a:lnTo>
                        <a:pt x="1078" y="4220"/>
                      </a:lnTo>
                      <a:lnTo>
                        <a:pt x="1068" y="4260"/>
                      </a:lnTo>
                      <a:lnTo>
                        <a:pt x="1062" y="4300"/>
                      </a:lnTo>
                      <a:lnTo>
                        <a:pt x="1056" y="4380"/>
                      </a:lnTo>
                      <a:lnTo>
                        <a:pt x="1052" y="4456"/>
                      </a:lnTo>
                      <a:lnTo>
                        <a:pt x="1046" y="4532"/>
                      </a:lnTo>
                      <a:lnTo>
                        <a:pt x="1042" y="4568"/>
                      </a:lnTo>
                      <a:lnTo>
                        <a:pt x="1036" y="4606"/>
                      </a:lnTo>
                      <a:lnTo>
                        <a:pt x="1026" y="4642"/>
                      </a:lnTo>
                      <a:lnTo>
                        <a:pt x="1016" y="4680"/>
                      </a:lnTo>
                      <a:lnTo>
                        <a:pt x="1004" y="4706"/>
                      </a:lnTo>
                      <a:lnTo>
                        <a:pt x="992" y="4730"/>
                      </a:lnTo>
                      <a:lnTo>
                        <a:pt x="976" y="4754"/>
                      </a:lnTo>
                      <a:lnTo>
                        <a:pt x="960" y="4776"/>
                      </a:lnTo>
                      <a:lnTo>
                        <a:pt x="950" y="4786"/>
                      </a:lnTo>
                      <a:lnTo>
                        <a:pt x="938" y="4800"/>
                      </a:lnTo>
                      <a:lnTo>
                        <a:pt x="936" y="4786"/>
                      </a:lnTo>
                      <a:lnTo>
                        <a:pt x="934" y="4778"/>
                      </a:lnTo>
                      <a:lnTo>
                        <a:pt x="930" y="4774"/>
                      </a:lnTo>
                      <a:lnTo>
                        <a:pt x="924" y="4754"/>
                      </a:lnTo>
                      <a:lnTo>
                        <a:pt x="912" y="4698"/>
                      </a:lnTo>
                      <a:lnTo>
                        <a:pt x="900" y="4636"/>
                      </a:lnTo>
                      <a:lnTo>
                        <a:pt x="890" y="4576"/>
                      </a:lnTo>
                      <a:lnTo>
                        <a:pt x="886" y="4550"/>
                      </a:lnTo>
                      <a:lnTo>
                        <a:pt x="884" y="4528"/>
                      </a:lnTo>
                      <a:lnTo>
                        <a:pt x="864" y="4252"/>
                      </a:lnTo>
                      <a:lnTo>
                        <a:pt x="860" y="4198"/>
                      </a:lnTo>
                      <a:lnTo>
                        <a:pt x="854" y="4144"/>
                      </a:lnTo>
                      <a:lnTo>
                        <a:pt x="842" y="4084"/>
                      </a:lnTo>
                      <a:lnTo>
                        <a:pt x="838" y="4054"/>
                      </a:lnTo>
                      <a:lnTo>
                        <a:pt x="838" y="4022"/>
                      </a:lnTo>
                      <a:lnTo>
                        <a:pt x="846" y="3974"/>
                      </a:lnTo>
                      <a:lnTo>
                        <a:pt x="854" y="3926"/>
                      </a:lnTo>
                      <a:lnTo>
                        <a:pt x="860" y="3924"/>
                      </a:lnTo>
                      <a:lnTo>
                        <a:pt x="870" y="3924"/>
                      </a:lnTo>
                      <a:lnTo>
                        <a:pt x="912" y="3922"/>
                      </a:lnTo>
                      <a:lnTo>
                        <a:pt x="952" y="3924"/>
                      </a:lnTo>
                      <a:lnTo>
                        <a:pt x="1032" y="3928"/>
                      </a:lnTo>
                      <a:lnTo>
                        <a:pt x="1112" y="3932"/>
                      </a:lnTo>
                      <a:lnTo>
                        <a:pt x="1114" y="3942"/>
                      </a:lnTo>
                      <a:lnTo>
                        <a:pt x="1116" y="3952"/>
                      </a:lnTo>
                      <a:lnTo>
                        <a:pt x="1120" y="3978"/>
                      </a:lnTo>
                      <a:lnTo>
                        <a:pt x="1120" y="3998"/>
                      </a:lnTo>
                      <a:lnTo>
                        <a:pt x="1120" y="4024"/>
                      </a:lnTo>
                      <a:lnTo>
                        <a:pt x="1118" y="4058"/>
                      </a:lnTo>
                      <a:lnTo>
                        <a:pt x="1112" y="4102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Text" lastClr="000000"/>
                    </a:solidFill>
                    <a:latin typeface="+mn-lt"/>
                    <a:cs typeface="+mn-cs"/>
                  </a:endParaRPr>
                </a:p>
              </p:txBody>
            </p:sp>
            <p:sp>
              <p:nvSpPr>
                <p:cNvPr id="89" name="Freeform 97"/>
                <p:cNvSpPr>
                  <a:spLocks/>
                </p:cNvSpPr>
                <p:nvPr/>
              </p:nvSpPr>
              <p:spPr bwMode="auto">
                <a:xfrm>
                  <a:off x="7717177" y="5453099"/>
                  <a:ext cx="488340" cy="374934"/>
                </a:xfrm>
                <a:custGeom>
                  <a:avLst/>
                  <a:gdLst>
                    <a:gd name="T0" fmla="*/ 0 w 308"/>
                    <a:gd name="T1" fmla="*/ 136525 h 230"/>
                    <a:gd name="T2" fmla="*/ 66675 w 308"/>
                    <a:gd name="T3" fmla="*/ 365125 h 230"/>
                    <a:gd name="T4" fmla="*/ 257175 w 308"/>
                    <a:gd name="T5" fmla="*/ 307975 h 230"/>
                    <a:gd name="T6" fmla="*/ 406400 w 308"/>
                    <a:gd name="T7" fmla="*/ 244475 h 230"/>
                    <a:gd name="T8" fmla="*/ 488950 w 308"/>
                    <a:gd name="T9" fmla="*/ 158750 h 230"/>
                    <a:gd name="T10" fmla="*/ 406400 w 308"/>
                    <a:gd name="T11" fmla="*/ 0 h 230"/>
                    <a:gd name="T12" fmla="*/ 0 w 308"/>
                    <a:gd name="T13" fmla="*/ 136525 h 230"/>
                    <a:gd name="T14" fmla="*/ 0 w 308"/>
                    <a:gd name="T15" fmla="*/ 136525 h 230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308"/>
                    <a:gd name="T25" fmla="*/ 0 h 230"/>
                    <a:gd name="T26" fmla="*/ 308 w 308"/>
                    <a:gd name="T27" fmla="*/ 230 h 230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308" h="230">
                      <a:moveTo>
                        <a:pt x="0" y="86"/>
                      </a:moveTo>
                      <a:lnTo>
                        <a:pt x="42" y="230"/>
                      </a:lnTo>
                      <a:lnTo>
                        <a:pt x="162" y="194"/>
                      </a:lnTo>
                      <a:lnTo>
                        <a:pt x="256" y="154"/>
                      </a:lnTo>
                      <a:lnTo>
                        <a:pt x="308" y="100"/>
                      </a:lnTo>
                      <a:lnTo>
                        <a:pt x="256" y="0"/>
                      </a:lnTo>
                      <a:lnTo>
                        <a:pt x="0" y="86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Text" lastClr="000000"/>
                    </a:solidFill>
                    <a:latin typeface="+mn-lt"/>
                    <a:cs typeface="+mn-cs"/>
                  </a:endParaRPr>
                </a:p>
              </p:txBody>
            </p:sp>
            <p:sp>
              <p:nvSpPr>
                <p:cNvPr id="90" name="Freeform 98"/>
                <p:cNvSpPr>
                  <a:spLocks/>
                </p:cNvSpPr>
                <p:nvPr/>
              </p:nvSpPr>
              <p:spPr bwMode="auto">
                <a:xfrm>
                  <a:off x="10435607" y="5583512"/>
                  <a:ext cx="455784" cy="342330"/>
                </a:xfrm>
                <a:custGeom>
                  <a:avLst/>
                  <a:gdLst>
                    <a:gd name="T0" fmla="*/ 463550 w 292"/>
                    <a:gd name="T1" fmla="*/ 133350 h 216"/>
                    <a:gd name="T2" fmla="*/ 365125 w 292"/>
                    <a:gd name="T3" fmla="*/ 342900 h 216"/>
                    <a:gd name="T4" fmla="*/ 206375 w 292"/>
                    <a:gd name="T5" fmla="*/ 304800 h 216"/>
                    <a:gd name="T6" fmla="*/ 60325 w 292"/>
                    <a:gd name="T7" fmla="*/ 244475 h 216"/>
                    <a:gd name="T8" fmla="*/ 0 w 292"/>
                    <a:gd name="T9" fmla="*/ 158750 h 216"/>
                    <a:gd name="T10" fmla="*/ 60325 w 292"/>
                    <a:gd name="T11" fmla="*/ 0 h 216"/>
                    <a:gd name="T12" fmla="*/ 463550 w 292"/>
                    <a:gd name="T13" fmla="*/ 133350 h 216"/>
                    <a:gd name="T14" fmla="*/ 463550 w 292"/>
                    <a:gd name="T15" fmla="*/ 133350 h 21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292"/>
                    <a:gd name="T25" fmla="*/ 0 h 216"/>
                    <a:gd name="T26" fmla="*/ 292 w 292"/>
                    <a:gd name="T27" fmla="*/ 216 h 21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292" h="216">
                      <a:moveTo>
                        <a:pt x="292" y="84"/>
                      </a:moveTo>
                      <a:lnTo>
                        <a:pt x="230" y="216"/>
                      </a:lnTo>
                      <a:lnTo>
                        <a:pt x="130" y="192"/>
                      </a:lnTo>
                      <a:lnTo>
                        <a:pt x="38" y="154"/>
                      </a:lnTo>
                      <a:lnTo>
                        <a:pt x="0" y="100"/>
                      </a:lnTo>
                      <a:lnTo>
                        <a:pt x="38" y="0"/>
                      </a:lnTo>
                      <a:lnTo>
                        <a:pt x="292" y="84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Text" lastClr="000000"/>
                    </a:solidFill>
                    <a:latin typeface="+mn-lt"/>
                    <a:cs typeface="+mn-cs"/>
                  </a:endParaRPr>
                </a:p>
              </p:txBody>
            </p:sp>
          </p:grpSp>
          <p:grpSp>
            <p:nvGrpSpPr>
              <p:cNvPr id="84" name="Gruppe 74"/>
              <p:cNvGrpSpPr>
                <a:grpSpLocks/>
              </p:cNvGrpSpPr>
              <p:nvPr/>
            </p:nvGrpSpPr>
            <p:grpSpPr bwMode="auto">
              <a:xfrm>
                <a:off x="6141122" y="2088559"/>
                <a:ext cx="95449" cy="150999"/>
                <a:chOff x="12253913" y="5781675"/>
                <a:chExt cx="869950" cy="1812925"/>
              </a:xfrm>
              <a:grpFill/>
            </p:grpSpPr>
            <p:sp>
              <p:nvSpPr>
                <p:cNvPr id="85" name="Freeform 113"/>
                <p:cNvSpPr>
                  <a:spLocks/>
                </p:cNvSpPr>
                <p:nvPr/>
              </p:nvSpPr>
              <p:spPr bwMode="auto">
                <a:xfrm>
                  <a:off x="12261828" y="5789559"/>
                  <a:ext cx="866566" cy="1809769"/>
                </a:xfrm>
                <a:custGeom>
                  <a:avLst/>
                  <a:gdLst>
                    <a:gd name="T0" fmla="*/ 524 w 548"/>
                    <a:gd name="T1" fmla="*/ 1080 h 1142"/>
                    <a:gd name="T2" fmla="*/ 494 w 548"/>
                    <a:gd name="T3" fmla="*/ 1104 h 1142"/>
                    <a:gd name="T4" fmla="*/ 450 w 548"/>
                    <a:gd name="T5" fmla="*/ 1122 h 1142"/>
                    <a:gd name="T6" fmla="*/ 326 w 548"/>
                    <a:gd name="T7" fmla="*/ 1140 h 1142"/>
                    <a:gd name="T8" fmla="*/ 204 w 548"/>
                    <a:gd name="T9" fmla="*/ 1140 h 1142"/>
                    <a:gd name="T10" fmla="*/ 72 w 548"/>
                    <a:gd name="T11" fmla="*/ 1112 h 1142"/>
                    <a:gd name="T12" fmla="*/ 30 w 548"/>
                    <a:gd name="T13" fmla="*/ 1088 h 1142"/>
                    <a:gd name="T14" fmla="*/ 4 w 548"/>
                    <a:gd name="T15" fmla="*/ 1048 h 1142"/>
                    <a:gd name="T16" fmla="*/ 26 w 548"/>
                    <a:gd name="T17" fmla="*/ 580 h 1142"/>
                    <a:gd name="T18" fmla="*/ 36 w 548"/>
                    <a:gd name="T19" fmla="*/ 506 h 1142"/>
                    <a:gd name="T20" fmla="*/ 50 w 548"/>
                    <a:gd name="T21" fmla="*/ 440 h 1142"/>
                    <a:gd name="T22" fmla="*/ 74 w 548"/>
                    <a:gd name="T23" fmla="*/ 334 h 1142"/>
                    <a:gd name="T24" fmla="*/ 84 w 548"/>
                    <a:gd name="T25" fmla="*/ 272 h 1142"/>
                    <a:gd name="T26" fmla="*/ 112 w 548"/>
                    <a:gd name="T27" fmla="*/ 168 h 1142"/>
                    <a:gd name="T28" fmla="*/ 136 w 548"/>
                    <a:gd name="T29" fmla="*/ 120 h 1142"/>
                    <a:gd name="T30" fmla="*/ 166 w 548"/>
                    <a:gd name="T31" fmla="*/ 42 h 1142"/>
                    <a:gd name="T32" fmla="*/ 180 w 548"/>
                    <a:gd name="T33" fmla="*/ 10 h 1142"/>
                    <a:gd name="T34" fmla="*/ 194 w 548"/>
                    <a:gd name="T35" fmla="*/ 0 h 1142"/>
                    <a:gd name="T36" fmla="*/ 206 w 548"/>
                    <a:gd name="T37" fmla="*/ 6 h 1142"/>
                    <a:gd name="T38" fmla="*/ 236 w 548"/>
                    <a:gd name="T39" fmla="*/ 34 h 1142"/>
                    <a:gd name="T40" fmla="*/ 240 w 548"/>
                    <a:gd name="T41" fmla="*/ 50 h 1142"/>
                    <a:gd name="T42" fmla="*/ 234 w 548"/>
                    <a:gd name="T43" fmla="*/ 80 h 1142"/>
                    <a:gd name="T44" fmla="*/ 212 w 548"/>
                    <a:gd name="T45" fmla="*/ 112 h 1142"/>
                    <a:gd name="T46" fmla="*/ 206 w 548"/>
                    <a:gd name="T47" fmla="*/ 124 h 1142"/>
                    <a:gd name="T48" fmla="*/ 210 w 548"/>
                    <a:gd name="T49" fmla="*/ 158 h 1142"/>
                    <a:gd name="T50" fmla="*/ 238 w 548"/>
                    <a:gd name="T51" fmla="*/ 218 h 1142"/>
                    <a:gd name="T52" fmla="*/ 260 w 548"/>
                    <a:gd name="T53" fmla="*/ 248 h 1142"/>
                    <a:gd name="T54" fmla="*/ 282 w 548"/>
                    <a:gd name="T55" fmla="*/ 250 h 1142"/>
                    <a:gd name="T56" fmla="*/ 312 w 548"/>
                    <a:gd name="T57" fmla="*/ 230 h 1142"/>
                    <a:gd name="T58" fmla="*/ 364 w 548"/>
                    <a:gd name="T59" fmla="*/ 160 h 1142"/>
                    <a:gd name="T60" fmla="*/ 376 w 548"/>
                    <a:gd name="T61" fmla="*/ 128 h 1142"/>
                    <a:gd name="T62" fmla="*/ 374 w 548"/>
                    <a:gd name="T63" fmla="*/ 110 h 1142"/>
                    <a:gd name="T64" fmla="*/ 378 w 548"/>
                    <a:gd name="T65" fmla="*/ 34 h 1142"/>
                    <a:gd name="T66" fmla="*/ 384 w 548"/>
                    <a:gd name="T67" fmla="*/ 16 h 1142"/>
                    <a:gd name="T68" fmla="*/ 396 w 548"/>
                    <a:gd name="T69" fmla="*/ 10 h 1142"/>
                    <a:gd name="T70" fmla="*/ 410 w 548"/>
                    <a:gd name="T71" fmla="*/ 30 h 1142"/>
                    <a:gd name="T72" fmla="*/ 422 w 548"/>
                    <a:gd name="T73" fmla="*/ 78 h 1142"/>
                    <a:gd name="T74" fmla="*/ 416 w 548"/>
                    <a:gd name="T75" fmla="*/ 112 h 1142"/>
                    <a:gd name="T76" fmla="*/ 412 w 548"/>
                    <a:gd name="T77" fmla="*/ 128 h 1142"/>
                    <a:gd name="T78" fmla="*/ 418 w 548"/>
                    <a:gd name="T79" fmla="*/ 218 h 1142"/>
                    <a:gd name="T80" fmla="*/ 432 w 548"/>
                    <a:gd name="T81" fmla="*/ 274 h 1142"/>
                    <a:gd name="T82" fmla="*/ 470 w 548"/>
                    <a:gd name="T83" fmla="*/ 390 h 1142"/>
                    <a:gd name="T84" fmla="*/ 530 w 548"/>
                    <a:gd name="T85" fmla="*/ 540 h 1142"/>
                    <a:gd name="T86" fmla="*/ 548 w 548"/>
                    <a:gd name="T87" fmla="*/ 658 h 1142"/>
                    <a:gd name="T88" fmla="*/ 546 w 548"/>
                    <a:gd name="T89" fmla="*/ 980 h 1142"/>
                    <a:gd name="T90" fmla="*/ 530 w 548"/>
                    <a:gd name="T91" fmla="*/ 1070 h 1142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w 548"/>
                    <a:gd name="T139" fmla="*/ 0 h 1142"/>
                    <a:gd name="T140" fmla="*/ 548 w 548"/>
                    <a:gd name="T141" fmla="*/ 1142 h 1142"/>
                  </a:gdLst>
                  <a:ahLst/>
                  <a:cxnLst>
                    <a:cxn ang="T92">
                      <a:pos x="T0" y="T1"/>
                    </a:cxn>
                    <a:cxn ang="T93">
                      <a:pos x="T2" y="T3"/>
                    </a:cxn>
                    <a:cxn ang="T94">
                      <a:pos x="T4" y="T5"/>
                    </a:cxn>
                    <a:cxn ang="T95">
                      <a:pos x="T6" y="T7"/>
                    </a:cxn>
                    <a:cxn ang="T96">
                      <a:pos x="T8" y="T9"/>
                    </a:cxn>
                    <a:cxn ang="T97">
                      <a:pos x="T10" y="T11"/>
                    </a:cxn>
                    <a:cxn ang="T98">
                      <a:pos x="T12" y="T13"/>
                    </a:cxn>
                    <a:cxn ang="T99">
                      <a:pos x="T14" y="T15"/>
                    </a:cxn>
                    <a:cxn ang="T100">
                      <a:pos x="T16" y="T17"/>
                    </a:cxn>
                    <a:cxn ang="T101">
                      <a:pos x="T18" y="T19"/>
                    </a:cxn>
                    <a:cxn ang="T102">
                      <a:pos x="T20" y="T21"/>
                    </a:cxn>
                    <a:cxn ang="T103">
                      <a:pos x="T22" y="T23"/>
                    </a:cxn>
                    <a:cxn ang="T104">
                      <a:pos x="T24" y="T25"/>
                    </a:cxn>
                    <a:cxn ang="T105">
                      <a:pos x="T26" y="T27"/>
                    </a:cxn>
                    <a:cxn ang="T106">
                      <a:pos x="T28" y="T29"/>
                    </a:cxn>
                    <a:cxn ang="T107">
                      <a:pos x="T30" y="T31"/>
                    </a:cxn>
                    <a:cxn ang="T108">
                      <a:pos x="T32" y="T33"/>
                    </a:cxn>
                    <a:cxn ang="T109">
                      <a:pos x="T34" y="T35"/>
                    </a:cxn>
                    <a:cxn ang="T110">
                      <a:pos x="T36" y="T37"/>
                    </a:cxn>
                    <a:cxn ang="T111">
                      <a:pos x="T38" y="T39"/>
                    </a:cxn>
                    <a:cxn ang="T112">
                      <a:pos x="T40" y="T41"/>
                    </a:cxn>
                    <a:cxn ang="T113">
                      <a:pos x="T42" y="T43"/>
                    </a:cxn>
                    <a:cxn ang="T114">
                      <a:pos x="T44" y="T45"/>
                    </a:cxn>
                    <a:cxn ang="T115">
                      <a:pos x="T46" y="T47"/>
                    </a:cxn>
                    <a:cxn ang="T116">
                      <a:pos x="T48" y="T49"/>
                    </a:cxn>
                    <a:cxn ang="T117">
                      <a:pos x="T50" y="T51"/>
                    </a:cxn>
                    <a:cxn ang="T118">
                      <a:pos x="T52" y="T53"/>
                    </a:cxn>
                    <a:cxn ang="T119">
                      <a:pos x="T54" y="T55"/>
                    </a:cxn>
                    <a:cxn ang="T120">
                      <a:pos x="T56" y="T57"/>
                    </a:cxn>
                    <a:cxn ang="T121">
                      <a:pos x="T58" y="T59"/>
                    </a:cxn>
                    <a:cxn ang="T122">
                      <a:pos x="T60" y="T61"/>
                    </a:cxn>
                    <a:cxn ang="T123">
                      <a:pos x="T62" y="T63"/>
                    </a:cxn>
                    <a:cxn ang="T124">
                      <a:pos x="T64" y="T65"/>
                    </a:cxn>
                    <a:cxn ang="T125">
                      <a:pos x="T66" y="T67"/>
                    </a:cxn>
                    <a:cxn ang="T126">
                      <a:pos x="T68" y="T69"/>
                    </a:cxn>
                    <a:cxn ang="T127">
                      <a:pos x="T70" y="T71"/>
                    </a:cxn>
                    <a:cxn ang="T128">
                      <a:pos x="T72" y="T73"/>
                    </a:cxn>
                    <a:cxn ang="T129">
                      <a:pos x="T74" y="T75"/>
                    </a:cxn>
                    <a:cxn ang="T130">
                      <a:pos x="T76" y="T77"/>
                    </a:cxn>
                    <a:cxn ang="T131">
                      <a:pos x="T78" y="T79"/>
                    </a:cxn>
                    <a:cxn ang="T132">
                      <a:pos x="T80" y="T81"/>
                    </a:cxn>
                    <a:cxn ang="T133">
                      <a:pos x="T82" y="T83"/>
                    </a:cxn>
                    <a:cxn ang="T134">
                      <a:pos x="T84" y="T85"/>
                    </a:cxn>
                    <a:cxn ang="T135">
                      <a:pos x="T86" y="T87"/>
                    </a:cxn>
                    <a:cxn ang="T136">
                      <a:pos x="T88" y="T89"/>
                    </a:cxn>
                    <a:cxn ang="T137">
                      <a:pos x="T90" y="T91"/>
                    </a:cxn>
                  </a:cxnLst>
                  <a:rect l="T138" t="T139" r="T140" b="T141"/>
                  <a:pathLst>
                    <a:path w="548" h="1142">
                      <a:moveTo>
                        <a:pt x="530" y="1070"/>
                      </a:moveTo>
                      <a:lnTo>
                        <a:pt x="530" y="1070"/>
                      </a:lnTo>
                      <a:lnTo>
                        <a:pt x="524" y="1080"/>
                      </a:lnTo>
                      <a:lnTo>
                        <a:pt x="516" y="1088"/>
                      </a:lnTo>
                      <a:lnTo>
                        <a:pt x="506" y="1098"/>
                      </a:lnTo>
                      <a:lnTo>
                        <a:pt x="494" y="1104"/>
                      </a:lnTo>
                      <a:lnTo>
                        <a:pt x="480" y="1112"/>
                      </a:lnTo>
                      <a:lnTo>
                        <a:pt x="464" y="1118"/>
                      </a:lnTo>
                      <a:lnTo>
                        <a:pt x="450" y="1122"/>
                      </a:lnTo>
                      <a:lnTo>
                        <a:pt x="432" y="1126"/>
                      </a:lnTo>
                      <a:lnTo>
                        <a:pt x="326" y="1140"/>
                      </a:lnTo>
                      <a:lnTo>
                        <a:pt x="288" y="1142"/>
                      </a:lnTo>
                      <a:lnTo>
                        <a:pt x="246" y="1142"/>
                      </a:lnTo>
                      <a:lnTo>
                        <a:pt x="204" y="1140"/>
                      </a:lnTo>
                      <a:lnTo>
                        <a:pt x="168" y="1134"/>
                      </a:lnTo>
                      <a:lnTo>
                        <a:pt x="72" y="1112"/>
                      </a:lnTo>
                      <a:lnTo>
                        <a:pt x="58" y="1106"/>
                      </a:lnTo>
                      <a:lnTo>
                        <a:pt x="42" y="1098"/>
                      </a:lnTo>
                      <a:lnTo>
                        <a:pt x="30" y="1088"/>
                      </a:lnTo>
                      <a:lnTo>
                        <a:pt x="20" y="1076"/>
                      </a:lnTo>
                      <a:lnTo>
                        <a:pt x="10" y="1062"/>
                      </a:lnTo>
                      <a:lnTo>
                        <a:pt x="4" y="1048"/>
                      </a:lnTo>
                      <a:lnTo>
                        <a:pt x="0" y="1032"/>
                      </a:lnTo>
                      <a:lnTo>
                        <a:pt x="0" y="1014"/>
                      </a:lnTo>
                      <a:lnTo>
                        <a:pt x="26" y="580"/>
                      </a:lnTo>
                      <a:lnTo>
                        <a:pt x="30" y="546"/>
                      </a:lnTo>
                      <a:lnTo>
                        <a:pt x="36" y="506"/>
                      </a:lnTo>
                      <a:lnTo>
                        <a:pt x="44" y="470"/>
                      </a:lnTo>
                      <a:lnTo>
                        <a:pt x="50" y="440"/>
                      </a:lnTo>
                      <a:lnTo>
                        <a:pt x="60" y="410"/>
                      </a:lnTo>
                      <a:lnTo>
                        <a:pt x="68" y="372"/>
                      </a:lnTo>
                      <a:lnTo>
                        <a:pt x="74" y="334"/>
                      </a:lnTo>
                      <a:lnTo>
                        <a:pt x="80" y="298"/>
                      </a:lnTo>
                      <a:lnTo>
                        <a:pt x="84" y="272"/>
                      </a:lnTo>
                      <a:lnTo>
                        <a:pt x="90" y="238"/>
                      </a:lnTo>
                      <a:lnTo>
                        <a:pt x="100" y="202"/>
                      </a:lnTo>
                      <a:lnTo>
                        <a:pt x="112" y="168"/>
                      </a:lnTo>
                      <a:lnTo>
                        <a:pt x="124" y="142"/>
                      </a:lnTo>
                      <a:lnTo>
                        <a:pt x="136" y="120"/>
                      </a:lnTo>
                      <a:lnTo>
                        <a:pt x="150" y="92"/>
                      </a:lnTo>
                      <a:lnTo>
                        <a:pt x="160" y="66"/>
                      </a:lnTo>
                      <a:lnTo>
                        <a:pt x="166" y="42"/>
                      </a:lnTo>
                      <a:lnTo>
                        <a:pt x="172" y="24"/>
                      </a:lnTo>
                      <a:lnTo>
                        <a:pt x="180" y="10"/>
                      </a:lnTo>
                      <a:lnTo>
                        <a:pt x="184" y="4"/>
                      </a:lnTo>
                      <a:lnTo>
                        <a:pt x="188" y="2"/>
                      </a:lnTo>
                      <a:lnTo>
                        <a:pt x="194" y="0"/>
                      </a:lnTo>
                      <a:lnTo>
                        <a:pt x="198" y="0"/>
                      </a:lnTo>
                      <a:lnTo>
                        <a:pt x="206" y="6"/>
                      </a:lnTo>
                      <a:lnTo>
                        <a:pt x="216" y="14"/>
                      </a:lnTo>
                      <a:lnTo>
                        <a:pt x="226" y="24"/>
                      </a:lnTo>
                      <a:lnTo>
                        <a:pt x="236" y="34"/>
                      </a:lnTo>
                      <a:lnTo>
                        <a:pt x="238" y="42"/>
                      </a:lnTo>
                      <a:lnTo>
                        <a:pt x="240" y="50"/>
                      </a:lnTo>
                      <a:lnTo>
                        <a:pt x="240" y="58"/>
                      </a:lnTo>
                      <a:lnTo>
                        <a:pt x="238" y="68"/>
                      </a:lnTo>
                      <a:lnTo>
                        <a:pt x="234" y="80"/>
                      </a:lnTo>
                      <a:lnTo>
                        <a:pt x="228" y="90"/>
                      </a:lnTo>
                      <a:lnTo>
                        <a:pt x="220" y="102"/>
                      </a:lnTo>
                      <a:lnTo>
                        <a:pt x="212" y="112"/>
                      </a:lnTo>
                      <a:lnTo>
                        <a:pt x="210" y="118"/>
                      </a:lnTo>
                      <a:lnTo>
                        <a:pt x="206" y="124"/>
                      </a:lnTo>
                      <a:lnTo>
                        <a:pt x="206" y="132"/>
                      </a:lnTo>
                      <a:lnTo>
                        <a:pt x="206" y="140"/>
                      </a:lnTo>
                      <a:lnTo>
                        <a:pt x="210" y="158"/>
                      </a:lnTo>
                      <a:lnTo>
                        <a:pt x="218" y="178"/>
                      </a:lnTo>
                      <a:lnTo>
                        <a:pt x="228" y="198"/>
                      </a:lnTo>
                      <a:lnTo>
                        <a:pt x="238" y="218"/>
                      </a:lnTo>
                      <a:lnTo>
                        <a:pt x="250" y="234"/>
                      </a:lnTo>
                      <a:lnTo>
                        <a:pt x="260" y="248"/>
                      </a:lnTo>
                      <a:lnTo>
                        <a:pt x="266" y="252"/>
                      </a:lnTo>
                      <a:lnTo>
                        <a:pt x="274" y="254"/>
                      </a:lnTo>
                      <a:lnTo>
                        <a:pt x="282" y="250"/>
                      </a:lnTo>
                      <a:lnTo>
                        <a:pt x="292" y="246"/>
                      </a:lnTo>
                      <a:lnTo>
                        <a:pt x="302" y="238"/>
                      </a:lnTo>
                      <a:lnTo>
                        <a:pt x="312" y="230"/>
                      </a:lnTo>
                      <a:lnTo>
                        <a:pt x="332" y="208"/>
                      </a:lnTo>
                      <a:lnTo>
                        <a:pt x="350" y="184"/>
                      </a:lnTo>
                      <a:lnTo>
                        <a:pt x="364" y="160"/>
                      </a:lnTo>
                      <a:lnTo>
                        <a:pt x="374" y="140"/>
                      </a:lnTo>
                      <a:lnTo>
                        <a:pt x="376" y="134"/>
                      </a:lnTo>
                      <a:lnTo>
                        <a:pt x="376" y="128"/>
                      </a:lnTo>
                      <a:lnTo>
                        <a:pt x="374" y="120"/>
                      </a:lnTo>
                      <a:lnTo>
                        <a:pt x="374" y="110"/>
                      </a:lnTo>
                      <a:lnTo>
                        <a:pt x="374" y="86"/>
                      </a:lnTo>
                      <a:lnTo>
                        <a:pt x="376" y="60"/>
                      </a:lnTo>
                      <a:lnTo>
                        <a:pt x="378" y="34"/>
                      </a:lnTo>
                      <a:lnTo>
                        <a:pt x="380" y="24"/>
                      </a:lnTo>
                      <a:lnTo>
                        <a:pt x="384" y="16"/>
                      </a:lnTo>
                      <a:lnTo>
                        <a:pt x="386" y="12"/>
                      </a:lnTo>
                      <a:lnTo>
                        <a:pt x="390" y="10"/>
                      </a:lnTo>
                      <a:lnTo>
                        <a:pt x="396" y="10"/>
                      </a:lnTo>
                      <a:lnTo>
                        <a:pt x="400" y="14"/>
                      </a:lnTo>
                      <a:lnTo>
                        <a:pt x="404" y="22"/>
                      </a:lnTo>
                      <a:lnTo>
                        <a:pt x="410" y="30"/>
                      </a:lnTo>
                      <a:lnTo>
                        <a:pt x="418" y="54"/>
                      </a:lnTo>
                      <a:lnTo>
                        <a:pt x="422" y="78"/>
                      </a:lnTo>
                      <a:lnTo>
                        <a:pt x="422" y="98"/>
                      </a:lnTo>
                      <a:lnTo>
                        <a:pt x="420" y="106"/>
                      </a:lnTo>
                      <a:lnTo>
                        <a:pt x="416" y="112"/>
                      </a:lnTo>
                      <a:lnTo>
                        <a:pt x="414" y="118"/>
                      </a:lnTo>
                      <a:lnTo>
                        <a:pt x="412" y="128"/>
                      </a:lnTo>
                      <a:lnTo>
                        <a:pt x="412" y="154"/>
                      </a:lnTo>
                      <a:lnTo>
                        <a:pt x="414" y="184"/>
                      </a:lnTo>
                      <a:lnTo>
                        <a:pt x="418" y="218"/>
                      </a:lnTo>
                      <a:lnTo>
                        <a:pt x="424" y="238"/>
                      </a:lnTo>
                      <a:lnTo>
                        <a:pt x="432" y="274"/>
                      </a:lnTo>
                      <a:lnTo>
                        <a:pt x="444" y="314"/>
                      </a:lnTo>
                      <a:lnTo>
                        <a:pt x="458" y="356"/>
                      </a:lnTo>
                      <a:lnTo>
                        <a:pt x="470" y="390"/>
                      </a:lnTo>
                      <a:lnTo>
                        <a:pt x="518" y="504"/>
                      </a:lnTo>
                      <a:lnTo>
                        <a:pt x="530" y="540"/>
                      </a:lnTo>
                      <a:lnTo>
                        <a:pt x="540" y="580"/>
                      </a:lnTo>
                      <a:lnTo>
                        <a:pt x="546" y="622"/>
                      </a:lnTo>
                      <a:lnTo>
                        <a:pt x="548" y="658"/>
                      </a:lnTo>
                      <a:lnTo>
                        <a:pt x="548" y="946"/>
                      </a:lnTo>
                      <a:lnTo>
                        <a:pt x="546" y="980"/>
                      </a:lnTo>
                      <a:lnTo>
                        <a:pt x="542" y="1014"/>
                      </a:lnTo>
                      <a:lnTo>
                        <a:pt x="538" y="1046"/>
                      </a:lnTo>
                      <a:lnTo>
                        <a:pt x="530" y="1070"/>
                      </a:lnTo>
                      <a:close/>
                    </a:path>
                  </a:pathLst>
                </a:custGeom>
                <a:grpFill/>
                <a:ln w="4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Text" lastClr="000000"/>
                    </a:solidFill>
                    <a:latin typeface="+mn-lt"/>
                    <a:cs typeface="+mn-cs"/>
                  </a:endParaRPr>
                </a:p>
              </p:txBody>
            </p:sp>
            <p:sp>
              <p:nvSpPr>
                <p:cNvPr id="86" name="Freeform 114"/>
                <p:cNvSpPr>
                  <a:spLocks/>
                </p:cNvSpPr>
                <p:nvPr/>
              </p:nvSpPr>
              <p:spPr bwMode="auto">
                <a:xfrm>
                  <a:off x="12868424" y="5808603"/>
                  <a:ext cx="129989" cy="247659"/>
                </a:xfrm>
                <a:custGeom>
                  <a:avLst/>
                  <a:gdLst>
                    <a:gd name="T0" fmla="*/ 6 w 80"/>
                    <a:gd name="T1" fmla="*/ 0 h 152"/>
                    <a:gd name="T2" fmla="*/ 6 w 80"/>
                    <a:gd name="T3" fmla="*/ 0 h 152"/>
                    <a:gd name="T4" fmla="*/ 2 w 80"/>
                    <a:gd name="T5" fmla="*/ 34 h 152"/>
                    <a:gd name="T6" fmla="*/ 0 w 80"/>
                    <a:gd name="T7" fmla="*/ 66 h 152"/>
                    <a:gd name="T8" fmla="*/ 0 w 80"/>
                    <a:gd name="T9" fmla="*/ 82 h 152"/>
                    <a:gd name="T10" fmla="*/ 2 w 80"/>
                    <a:gd name="T11" fmla="*/ 96 h 152"/>
                    <a:gd name="T12" fmla="*/ 2 w 80"/>
                    <a:gd name="T13" fmla="*/ 96 h 152"/>
                    <a:gd name="T14" fmla="*/ 4 w 80"/>
                    <a:gd name="T15" fmla="*/ 108 h 152"/>
                    <a:gd name="T16" fmla="*/ 10 w 80"/>
                    <a:gd name="T17" fmla="*/ 114 h 152"/>
                    <a:gd name="T18" fmla="*/ 16 w 80"/>
                    <a:gd name="T19" fmla="*/ 118 h 152"/>
                    <a:gd name="T20" fmla="*/ 26 w 80"/>
                    <a:gd name="T21" fmla="*/ 122 h 152"/>
                    <a:gd name="T22" fmla="*/ 36 w 80"/>
                    <a:gd name="T23" fmla="*/ 124 h 152"/>
                    <a:gd name="T24" fmla="*/ 48 w 80"/>
                    <a:gd name="T25" fmla="*/ 130 h 152"/>
                    <a:gd name="T26" fmla="*/ 64 w 80"/>
                    <a:gd name="T27" fmla="*/ 138 h 152"/>
                    <a:gd name="T28" fmla="*/ 80 w 80"/>
                    <a:gd name="T29" fmla="*/ 152 h 152"/>
                    <a:gd name="T30" fmla="*/ 80 w 80"/>
                    <a:gd name="T31" fmla="*/ 152 h 152"/>
                    <a:gd name="T32" fmla="*/ 74 w 80"/>
                    <a:gd name="T33" fmla="*/ 128 h 152"/>
                    <a:gd name="T34" fmla="*/ 56 w 80"/>
                    <a:gd name="T35" fmla="*/ 78 h 152"/>
                    <a:gd name="T36" fmla="*/ 44 w 80"/>
                    <a:gd name="T37" fmla="*/ 50 h 152"/>
                    <a:gd name="T38" fmla="*/ 32 w 80"/>
                    <a:gd name="T39" fmla="*/ 26 h 152"/>
                    <a:gd name="T40" fmla="*/ 26 w 80"/>
                    <a:gd name="T41" fmla="*/ 16 h 152"/>
                    <a:gd name="T42" fmla="*/ 20 w 80"/>
                    <a:gd name="T43" fmla="*/ 8 h 152"/>
                    <a:gd name="T44" fmla="*/ 12 w 80"/>
                    <a:gd name="T45" fmla="*/ 2 h 152"/>
                    <a:gd name="T46" fmla="*/ 6 w 80"/>
                    <a:gd name="T47" fmla="*/ 0 h 152"/>
                    <a:gd name="T48" fmla="*/ 6 w 80"/>
                    <a:gd name="T49" fmla="*/ 0 h 152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w 80"/>
                    <a:gd name="T76" fmla="*/ 0 h 152"/>
                    <a:gd name="T77" fmla="*/ 80 w 80"/>
                    <a:gd name="T78" fmla="*/ 152 h 152"/>
                  </a:gdLst>
                  <a:ahLst/>
                  <a:cxnLst>
                    <a:cxn ang="T50">
                      <a:pos x="T0" y="T1"/>
                    </a:cxn>
                    <a:cxn ang="T51">
                      <a:pos x="T2" y="T3"/>
                    </a:cxn>
                    <a:cxn ang="T52">
                      <a:pos x="T4" y="T5"/>
                    </a:cxn>
                    <a:cxn ang="T53">
                      <a:pos x="T6" y="T7"/>
                    </a:cxn>
                    <a:cxn ang="T54">
                      <a:pos x="T8" y="T9"/>
                    </a:cxn>
                    <a:cxn ang="T55">
                      <a:pos x="T10" y="T11"/>
                    </a:cxn>
                    <a:cxn ang="T56">
                      <a:pos x="T12" y="T13"/>
                    </a:cxn>
                    <a:cxn ang="T57">
                      <a:pos x="T14" y="T15"/>
                    </a:cxn>
                    <a:cxn ang="T58">
                      <a:pos x="T16" y="T17"/>
                    </a:cxn>
                    <a:cxn ang="T59">
                      <a:pos x="T18" y="T19"/>
                    </a:cxn>
                    <a:cxn ang="T60">
                      <a:pos x="T20" y="T21"/>
                    </a:cxn>
                    <a:cxn ang="T61">
                      <a:pos x="T22" y="T23"/>
                    </a:cxn>
                    <a:cxn ang="T62">
                      <a:pos x="T24" y="T25"/>
                    </a:cxn>
                    <a:cxn ang="T63">
                      <a:pos x="T26" y="T27"/>
                    </a:cxn>
                    <a:cxn ang="T64">
                      <a:pos x="T28" y="T29"/>
                    </a:cxn>
                    <a:cxn ang="T65">
                      <a:pos x="T30" y="T31"/>
                    </a:cxn>
                    <a:cxn ang="T66">
                      <a:pos x="T32" y="T33"/>
                    </a:cxn>
                    <a:cxn ang="T67">
                      <a:pos x="T34" y="T35"/>
                    </a:cxn>
                    <a:cxn ang="T68">
                      <a:pos x="T36" y="T37"/>
                    </a:cxn>
                    <a:cxn ang="T69">
                      <a:pos x="T38" y="T39"/>
                    </a:cxn>
                    <a:cxn ang="T70">
                      <a:pos x="T40" y="T41"/>
                    </a:cxn>
                    <a:cxn ang="T71">
                      <a:pos x="T42" y="T43"/>
                    </a:cxn>
                    <a:cxn ang="T72">
                      <a:pos x="T44" y="T45"/>
                    </a:cxn>
                    <a:cxn ang="T73">
                      <a:pos x="T46" y="T47"/>
                    </a:cxn>
                    <a:cxn ang="T74">
                      <a:pos x="T48" y="T49"/>
                    </a:cxn>
                  </a:cxnLst>
                  <a:rect l="T75" t="T76" r="T77" b="T78"/>
                  <a:pathLst>
                    <a:path w="80" h="152">
                      <a:moveTo>
                        <a:pt x="6" y="0"/>
                      </a:moveTo>
                      <a:lnTo>
                        <a:pt x="6" y="0"/>
                      </a:lnTo>
                      <a:lnTo>
                        <a:pt x="2" y="34"/>
                      </a:lnTo>
                      <a:lnTo>
                        <a:pt x="0" y="66"/>
                      </a:lnTo>
                      <a:lnTo>
                        <a:pt x="0" y="82"/>
                      </a:lnTo>
                      <a:lnTo>
                        <a:pt x="2" y="96"/>
                      </a:lnTo>
                      <a:lnTo>
                        <a:pt x="4" y="108"/>
                      </a:lnTo>
                      <a:lnTo>
                        <a:pt x="10" y="114"/>
                      </a:lnTo>
                      <a:lnTo>
                        <a:pt x="16" y="118"/>
                      </a:lnTo>
                      <a:lnTo>
                        <a:pt x="26" y="122"/>
                      </a:lnTo>
                      <a:lnTo>
                        <a:pt x="36" y="124"/>
                      </a:lnTo>
                      <a:lnTo>
                        <a:pt x="48" y="130"/>
                      </a:lnTo>
                      <a:lnTo>
                        <a:pt x="64" y="138"/>
                      </a:lnTo>
                      <a:lnTo>
                        <a:pt x="80" y="152"/>
                      </a:lnTo>
                      <a:lnTo>
                        <a:pt x="74" y="128"/>
                      </a:lnTo>
                      <a:lnTo>
                        <a:pt x="56" y="78"/>
                      </a:lnTo>
                      <a:lnTo>
                        <a:pt x="44" y="50"/>
                      </a:lnTo>
                      <a:lnTo>
                        <a:pt x="32" y="26"/>
                      </a:lnTo>
                      <a:lnTo>
                        <a:pt x="26" y="16"/>
                      </a:lnTo>
                      <a:lnTo>
                        <a:pt x="20" y="8"/>
                      </a:lnTo>
                      <a:lnTo>
                        <a:pt x="12" y="2"/>
                      </a:lnTo>
                      <a:lnTo>
                        <a:pt x="6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Text" lastClr="000000"/>
                    </a:solidFill>
                    <a:latin typeface="+mn-lt"/>
                    <a:cs typeface="+mn-cs"/>
                  </a:endParaRPr>
                </a:p>
              </p:txBody>
            </p:sp>
            <p:sp>
              <p:nvSpPr>
                <p:cNvPr id="87" name="Freeform 115"/>
                <p:cNvSpPr>
                  <a:spLocks/>
                </p:cNvSpPr>
                <p:nvPr/>
              </p:nvSpPr>
              <p:spPr bwMode="auto">
                <a:xfrm>
                  <a:off x="12391817" y="5789559"/>
                  <a:ext cx="202199" cy="247647"/>
                </a:xfrm>
                <a:custGeom>
                  <a:avLst/>
                  <a:gdLst>
                    <a:gd name="T0" fmla="*/ 112 w 122"/>
                    <a:gd name="T1" fmla="*/ 0 h 152"/>
                    <a:gd name="T2" fmla="*/ 112 w 122"/>
                    <a:gd name="T3" fmla="*/ 0 h 152"/>
                    <a:gd name="T4" fmla="*/ 114 w 122"/>
                    <a:gd name="T5" fmla="*/ 10 h 152"/>
                    <a:gd name="T6" fmla="*/ 118 w 122"/>
                    <a:gd name="T7" fmla="*/ 34 h 152"/>
                    <a:gd name="T8" fmla="*/ 122 w 122"/>
                    <a:gd name="T9" fmla="*/ 66 h 152"/>
                    <a:gd name="T10" fmla="*/ 122 w 122"/>
                    <a:gd name="T11" fmla="*/ 82 h 152"/>
                    <a:gd name="T12" fmla="*/ 120 w 122"/>
                    <a:gd name="T13" fmla="*/ 96 h 152"/>
                    <a:gd name="T14" fmla="*/ 120 w 122"/>
                    <a:gd name="T15" fmla="*/ 96 h 152"/>
                    <a:gd name="T16" fmla="*/ 118 w 122"/>
                    <a:gd name="T17" fmla="*/ 104 h 152"/>
                    <a:gd name="T18" fmla="*/ 114 w 122"/>
                    <a:gd name="T19" fmla="*/ 108 h 152"/>
                    <a:gd name="T20" fmla="*/ 108 w 122"/>
                    <a:gd name="T21" fmla="*/ 112 h 152"/>
                    <a:gd name="T22" fmla="*/ 102 w 122"/>
                    <a:gd name="T23" fmla="*/ 116 h 152"/>
                    <a:gd name="T24" fmla="*/ 86 w 122"/>
                    <a:gd name="T25" fmla="*/ 122 h 152"/>
                    <a:gd name="T26" fmla="*/ 66 w 122"/>
                    <a:gd name="T27" fmla="*/ 126 h 152"/>
                    <a:gd name="T28" fmla="*/ 48 w 122"/>
                    <a:gd name="T29" fmla="*/ 130 h 152"/>
                    <a:gd name="T30" fmla="*/ 30 w 122"/>
                    <a:gd name="T31" fmla="*/ 136 h 152"/>
                    <a:gd name="T32" fmla="*/ 12 w 122"/>
                    <a:gd name="T33" fmla="*/ 142 h 152"/>
                    <a:gd name="T34" fmla="*/ 6 w 122"/>
                    <a:gd name="T35" fmla="*/ 146 h 152"/>
                    <a:gd name="T36" fmla="*/ 0 w 122"/>
                    <a:gd name="T37" fmla="*/ 152 h 152"/>
                    <a:gd name="T38" fmla="*/ 0 w 122"/>
                    <a:gd name="T39" fmla="*/ 152 h 152"/>
                    <a:gd name="T40" fmla="*/ 10 w 122"/>
                    <a:gd name="T41" fmla="*/ 128 h 152"/>
                    <a:gd name="T42" fmla="*/ 22 w 122"/>
                    <a:gd name="T43" fmla="*/ 104 h 152"/>
                    <a:gd name="T44" fmla="*/ 38 w 122"/>
                    <a:gd name="T45" fmla="*/ 78 h 152"/>
                    <a:gd name="T46" fmla="*/ 54 w 122"/>
                    <a:gd name="T47" fmla="*/ 50 h 152"/>
                    <a:gd name="T48" fmla="*/ 72 w 122"/>
                    <a:gd name="T49" fmla="*/ 26 h 152"/>
                    <a:gd name="T50" fmla="*/ 82 w 122"/>
                    <a:gd name="T51" fmla="*/ 16 h 152"/>
                    <a:gd name="T52" fmla="*/ 92 w 122"/>
                    <a:gd name="T53" fmla="*/ 8 h 152"/>
                    <a:gd name="T54" fmla="*/ 102 w 122"/>
                    <a:gd name="T55" fmla="*/ 2 h 152"/>
                    <a:gd name="T56" fmla="*/ 112 w 122"/>
                    <a:gd name="T57" fmla="*/ 0 h 152"/>
                    <a:gd name="T58" fmla="*/ 112 w 122"/>
                    <a:gd name="T59" fmla="*/ 0 h 152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w 122"/>
                    <a:gd name="T91" fmla="*/ 0 h 152"/>
                    <a:gd name="T92" fmla="*/ 122 w 122"/>
                    <a:gd name="T93" fmla="*/ 152 h 152"/>
                  </a:gdLst>
                  <a:ahLst/>
                  <a:cxnLst>
                    <a:cxn ang="T60">
                      <a:pos x="T0" y="T1"/>
                    </a:cxn>
                    <a:cxn ang="T61">
                      <a:pos x="T2" y="T3"/>
                    </a:cxn>
                    <a:cxn ang="T62">
                      <a:pos x="T4" y="T5"/>
                    </a:cxn>
                    <a:cxn ang="T63">
                      <a:pos x="T6" y="T7"/>
                    </a:cxn>
                    <a:cxn ang="T64">
                      <a:pos x="T8" y="T9"/>
                    </a:cxn>
                    <a:cxn ang="T65">
                      <a:pos x="T10" y="T11"/>
                    </a:cxn>
                    <a:cxn ang="T66">
                      <a:pos x="T12" y="T13"/>
                    </a:cxn>
                    <a:cxn ang="T67">
                      <a:pos x="T14" y="T15"/>
                    </a:cxn>
                    <a:cxn ang="T68">
                      <a:pos x="T16" y="T17"/>
                    </a:cxn>
                    <a:cxn ang="T69">
                      <a:pos x="T18" y="T19"/>
                    </a:cxn>
                    <a:cxn ang="T70">
                      <a:pos x="T20" y="T21"/>
                    </a:cxn>
                    <a:cxn ang="T71">
                      <a:pos x="T22" y="T23"/>
                    </a:cxn>
                    <a:cxn ang="T72">
                      <a:pos x="T24" y="T25"/>
                    </a:cxn>
                    <a:cxn ang="T73">
                      <a:pos x="T26" y="T27"/>
                    </a:cxn>
                    <a:cxn ang="T74">
                      <a:pos x="T28" y="T29"/>
                    </a:cxn>
                    <a:cxn ang="T75">
                      <a:pos x="T30" y="T31"/>
                    </a:cxn>
                    <a:cxn ang="T76">
                      <a:pos x="T32" y="T33"/>
                    </a:cxn>
                    <a:cxn ang="T77">
                      <a:pos x="T34" y="T35"/>
                    </a:cxn>
                    <a:cxn ang="T78">
                      <a:pos x="T36" y="T37"/>
                    </a:cxn>
                    <a:cxn ang="T79">
                      <a:pos x="T38" y="T39"/>
                    </a:cxn>
                    <a:cxn ang="T80">
                      <a:pos x="T40" y="T41"/>
                    </a:cxn>
                    <a:cxn ang="T81">
                      <a:pos x="T42" y="T43"/>
                    </a:cxn>
                    <a:cxn ang="T82">
                      <a:pos x="T44" y="T45"/>
                    </a:cxn>
                    <a:cxn ang="T83">
                      <a:pos x="T46" y="T47"/>
                    </a:cxn>
                    <a:cxn ang="T84">
                      <a:pos x="T48" y="T49"/>
                    </a:cxn>
                    <a:cxn ang="T85">
                      <a:pos x="T50" y="T51"/>
                    </a:cxn>
                    <a:cxn ang="T86">
                      <a:pos x="T52" y="T53"/>
                    </a:cxn>
                    <a:cxn ang="T87">
                      <a:pos x="T54" y="T55"/>
                    </a:cxn>
                    <a:cxn ang="T88">
                      <a:pos x="T56" y="T57"/>
                    </a:cxn>
                    <a:cxn ang="T89">
                      <a:pos x="T58" y="T59"/>
                    </a:cxn>
                  </a:cxnLst>
                  <a:rect l="T90" t="T91" r="T92" b="T93"/>
                  <a:pathLst>
                    <a:path w="122" h="152">
                      <a:moveTo>
                        <a:pt x="112" y="0"/>
                      </a:moveTo>
                      <a:lnTo>
                        <a:pt x="112" y="0"/>
                      </a:lnTo>
                      <a:lnTo>
                        <a:pt x="114" y="10"/>
                      </a:lnTo>
                      <a:lnTo>
                        <a:pt x="118" y="34"/>
                      </a:lnTo>
                      <a:lnTo>
                        <a:pt x="122" y="66"/>
                      </a:lnTo>
                      <a:lnTo>
                        <a:pt x="122" y="82"/>
                      </a:lnTo>
                      <a:lnTo>
                        <a:pt x="120" y="96"/>
                      </a:lnTo>
                      <a:lnTo>
                        <a:pt x="118" y="104"/>
                      </a:lnTo>
                      <a:lnTo>
                        <a:pt x="114" y="108"/>
                      </a:lnTo>
                      <a:lnTo>
                        <a:pt x="108" y="112"/>
                      </a:lnTo>
                      <a:lnTo>
                        <a:pt x="102" y="116"/>
                      </a:lnTo>
                      <a:lnTo>
                        <a:pt x="86" y="122"/>
                      </a:lnTo>
                      <a:lnTo>
                        <a:pt x="66" y="126"/>
                      </a:lnTo>
                      <a:lnTo>
                        <a:pt x="48" y="130"/>
                      </a:lnTo>
                      <a:lnTo>
                        <a:pt x="30" y="136"/>
                      </a:lnTo>
                      <a:lnTo>
                        <a:pt x="12" y="142"/>
                      </a:lnTo>
                      <a:lnTo>
                        <a:pt x="6" y="146"/>
                      </a:lnTo>
                      <a:lnTo>
                        <a:pt x="0" y="152"/>
                      </a:lnTo>
                      <a:lnTo>
                        <a:pt x="10" y="128"/>
                      </a:lnTo>
                      <a:lnTo>
                        <a:pt x="22" y="104"/>
                      </a:lnTo>
                      <a:lnTo>
                        <a:pt x="38" y="78"/>
                      </a:lnTo>
                      <a:lnTo>
                        <a:pt x="54" y="50"/>
                      </a:lnTo>
                      <a:lnTo>
                        <a:pt x="72" y="26"/>
                      </a:lnTo>
                      <a:lnTo>
                        <a:pt x="82" y="16"/>
                      </a:lnTo>
                      <a:lnTo>
                        <a:pt x="92" y="8"/>
                      </a:lnTo>
                      <a:lnTo>
                        <a:pt x="102" y="2"/>
                      </a:lnTo>
                      <a:lnTo>
                        <a:pt x="112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Text" lastClr="000000"/>
                    </a:solidFill>
                    <a:latin typeface="+mn-lt"/>
                    <a:cs typeface="+mn-cs"/>
                  </a:endParaRPr>
                </a:p>
              </p:txBody>
            </p:sp>
          </p:grpSp>
        </p:grpSp>
      </p:grpSp>
      <p:grpSp>
        <p:nvGrpSpPr>
          <p:cNvPr id="103" name="Gruppe 237"/>
          <p:cNvGrpSpPr>
            <a:grpSpLocks/>
          </p:cNvGrpSpPr>
          <p:nvPr/>
        </p:nvGrpSpPr>
        <p:grpSpPr bwMode="auto">
          <a:xfrm>
            <a:off x="3073073" y="3446624"/>
            <a:ext cx="354138" cy="507093"/>
            <a:chOff x="5494973" y="3192145"/>
            <a:chExt cx="273050" cy="390525"/>
          </a:xfrm>
        </p:grpSpPr>
        <p:sp>
          <p:nvSpPr>
            <p:cNvPr id="104" name="Freeform 166"/>
            <p:cNvSpPr>
              <a:spLocks noEditPoints="1"/>
            </p:cNvSpPr>
            <p:nvPr/>
          </p:nvSpPr>
          <p:spPr bwMode="auto">
            <a:xfrm>
              <a:off x="5494973" y="3192145"/>
              <a:ext cx="273050" cy="390525"/>
            </a:xfrm>
            <a:custGeom>
              <a:avLst/>
              <a:gdLst>
                <a:gd name="T0" fmla="*/ 273050 w 172"/>
                <a:gd name="T1" fmla="*/ 44450 h 246"/>
                <a:gd name="T2" fmla="*/ 231775 w 172"/>
                <a:gd name="T3" fmla="*/ 0 h 246"/>
                <a:gd name="T4" fmla="*/ 231775 w 172"/>
                <a:gd name="T5" fmla="*/ 44450 h 246"/>
                <a:gd name="T6" fmla="*/ 273050 w 172"/>
                <a:gd name="T7" fmla="*/ 44450 h 246"/>
                <a:gd name="T8" fmla="*/ 273050 w 172"/>
                <a:gd name="T9" fmla="*/ 44450 h 246"/>
                <a:gd name="T10" fmla="*/ 0 w 172"/>
                <a:gd name="T11" fmla="*/ 390525 h 246"/>
                <a:gd name="T12" fmla="*/ 0 w 172"/>
                <a:gd name="T13" fmla="*/ 0 h 246"/>
                <a:gd name="T14" fmla="*/ 219075 w 172"/>
                <a:gd name="T15" fmla="*/ 0 h 246"/>
                <a:gd name="T16" fmla="*/ 219075 w 172"/>
                <a:gd name="T17" fmla="*/ 57150 h 246"/>
                <a:gd name="T18" fmla="*/ 273050 w 172"/>
                <a:gd name="T19" fmla="*/ 57150 h 246"/>
                <a:gd name="T20" fmla="*/ 273050 w 172"/>
                <a:gd name="T21" fmla="*/ 390525 h 246"/>
                <a:gd name="T22" fmla="*/ 0 w 172"/>
                <a:gd name="T23" fmla="*/ 390525 h 24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172"/>
                <a:gd name="T37" fmla="*/ 0 h 246"/>
                <a:gd name="T38" fmla="*/ 172 w 172"/>
                <a:gd name="T39" fmla="*/ 246 h 24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172" h="246">
                  <a:moveTo>
                    <a:pt x="172" y="28"/>
                  </a:moveTo>
                  <a:lnTo>
                    <a:pt x="146" y="0"/>
                  </a:lnTo>
                  <a:lnTo>
                    <a:pt x="146" y="28"/>
                  </a:lnTo>
                  <a:lnTo>
                    <a:pt x="172" y="28"/>
                  </a:lnTo>
                  <a:close/>
                  <a:moveTo>
                    <a:pt x="0" y="246"/>
                  </a:moveTo>
                  <a:lnTo>
                    <a:pt x="0" y="0"/>
                  </a:lnTo>
                  <a:lnTo>
                    <a:pt x="138" y="0"/>
                  </a:lnTo>
                  <a:lnTo>
                    <a:pt x="138" y="36"/>
                  </a:lnTo>
                  <a:lnTo>
                    <a:pt x="172" y="36"/>
                  </a:lnTo>
                  <a:lnTo>
                    <a:pt x="172" y="246"/>
                  </a:lnTo>
                  <a:lnTo>
                    <a:pt x="0" y="246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105" name="Freeform 167"/>
            <p:cNvSpPr>
              <a:spLocks noEditPoints="1"/>
            </p:cNvSpPr>
            <p:nvPr/>
          </p:nvSpPr>
          <p:spPr bwMode="auto">
            <a:xfrm>
              <a:off x="5539596" y="3233532"/>
              <a:ext cx="196553" cy="307751"/>
            </a:xfrm>
            <a:custGeom>
              <a:avLst/>
              <a:gdLst>
                <a:gd name="T0" fmla="*/ 0 w 124"/>
                <a:gd name="T1" fmla="*/ 0 h 194"/>
                <a:gd name="T2" fmla="*/ 152400 w 124"/>
                <a:gd name="T3" fmla="*/ 0 h 194"/>
                <a:gd name="T4" fmla="*/ 152400 w 124"/>
                <a:gd name="T5" fmla="*/ 12700 h 194"/>
                <a:gd name="T6" fmla="*/ 0 w 124"/>
                <a:gd name="T7" fmla="*/ 12700 h 194"/>
                <a:gd name="T8" fmla="*/ 0 w 124"/>
                <a:gd name="T9" fmla="*/ 0 h 194"/>
                <a:gd name="T10" fmla="*/ 0 w 124"/>
                <a:gd name="T11" fmla="*/ 0 h 194"/>
                <a:gd name="T12" fmla="*/ 0 w 124"/>
                <a:gd name="T13" fmla="*/ 41275 h 194"/>
                <a:gd name="T14" fmla="*/ 196850 w 124"/>
                <a:gd name="T15" fmla="*/ 41275 h 194"/>
                <a:gd name="T16" fmla="*/ 196850 w 124"/>
                <a:gd name="T17" fmla="*/ 53975 h 194"/>
                <a:gd name="T18" fmla="*/ 0 w 124"/>
                <a:gd name="T19" fmla="*/ 53975 h 194"/>
                <a:gd name="T20" fmla="*/ 0 w 124"/>
                <a:gd name="T21" fmla="*/ 41275 h 194"/>
                <a:gd name="T22" fmla="*/ 0 w 124"/>
                <a:gd name="T23" fmla="*/ 41275 h 194"/>
                <a:gd name="T24" fmla="*/ 196850 w 124"/>
                <a:gd name="T25" fmla="*/ 254000 h 194"/>
                <a:gd name="T26" fmla="*/ 196850 w 124"/>
                <a:gd name="T27" fmla="*/ 266700 h 194"/>
                <a:gd name="T28" fmla="*/ 0 w 124"/>
                <a:gd name="T29" fmla="*/ 266700 h 194"/>
                <a:gd name="T30" fmla="*/ 0 w 124"/>
                <a:gd name="T31" fmla="*/ 254000 h 194"/>
                <a:gd name="T32" fmla="*/ 196850 w 124"/>
                <a:gd name="T33" fmla="*/ 254000 h 194"/>
                <a:gd name="T34" fmla="*/ 196850 w 124"/>
                <a:gd name="T35" fmla="*/ 254000 h 194"/>
                <a:gd name="T36" fmla="*/ 196850 w 124"/>
                <a:gd name="T37" fmla="*/ 85725 h 194"/>
                <a:gd name="T38" fmla="*/ 196850 w 124"/>
                <a:gd name="T39" fmla="*/ 98425 h 194"/>
                <a:gd name="T40" fmla="*/ 0 w 124"/>
                <a:gd name="T41" fmla="*/ 98425 h 194"/>
                <a:gd name="T42" fmla="*/ 0 w 124"/>
                <a:gd name="T43" fmla="*/ 85725 h 194"/>
                <a:gd name="T44" fmla="*/ 196850 w 124"/>
                <a:gd name="T45" fmla="*/ 85725 h 194"/>
                <a:gd name="T46" fmla="*/ 196850 w 124"/>
                <a:gd name="T47" fmla="*/ 85725 h 194"/>
                <a:gd name="T48" fmla="*/ 196850 w 124"/>
                <a:gd name="T49" fmla="*/ 168275 h 194"/>
                <a:gd name="T50" fmla="*/ 196850 w 124"/>
                <a:gd name="T51" fmla="*/ 180975 h 194"/>
                <a:gd name="T52" fmla="*/ 0 w 124"/>
                <a:gd name="T53" fmla="*/ 180975 h 194"/>
                <a:gd name="T54" fmla="*/ 0 w 124"/>
                <a:gd name="T55" fmla="*/ 168275 h 194"/>
                <a:gd name="T56" fmla="*/ 196850 w 124"/>
                <a:gd name="T57" fmla="*/ 168275 h 194"/>
                <a:gd name="T58" fmla="*/ 196850 w 124"/>
                <a:gd name="T59" fmla="*/ 168275 h 194"/>
                <a:gd name="T60" fmla="*/ 196850 w 124"/>
                <a:gd name="T61" fmla="*/ 209550 h 194"/>
                <a:gd name="T62" fmla="*/ 196850 w 124"/>
                <a:gd name="T63" fmla="*/ 225425 h 194"/>
                <a:gd name="T64" fmla="*/ 0 w 124"/>
                <a:gd name="T65" fmla="*/ 225425 h 194"/>
                <a:gd name="T66" fmla="*/ 0 w 124"/>
                <a:gd name="T67" fmla="*/ 209550 h 194"/>
                <a:gd name="T68" fmla="*/ 196850 w 124"/>
                <a:gd name="T69" fmla="*/ 209550 h 194"/>
                <a:gd name="T70" fmla="*/ 196850 w 124"/>
                <a:gd name="T71" fmla="*/ 209550 h 194"/>
                <a:gd name="T72" fmla="*/ 0 w 124"/>
                <a:gd name="T73" fmla="*/ 295275 h 194"/>
                <a:gd name="T74" fmla="*/ 196850 w 124"/>
                <a:gd name="T75" fmla="*/ 295275 h 194"/>
                <a:gd name="T76" fmla="*/ 196850 w 124"/>
                <a:gd name="T77" fmla="*/ 307975 h 194"/>
                <a:gd name="T78" fmla="*/ 0 w 124"/>
                <a:gd name="T79" fmla="*/ 307975 h 194"/>
                <a:gd name="T80" fmla="*/ 0 w 124"/>
                <a:gd name="T81" fmla="*/ 295275 h 194"/>
                <a:gd name="T82" fmla="*/ 0 w 124"/>
                <a:gd name="T83" fmla="*/ 295275 h 194"/>
                <a:gd name="T84" fmla="*/ 196850 w 124"/>
                <a:gd name="T85" fmla="*/ 127000 h 194"/>
                <a:gd name="T86" fmla="*/ 196850 w 124"/>
                <a:gd name="T87" fmla="*/ 139700 h 194"/>
                <a:gd name="T88" fmla="*/ 0 w 124"/>
                <a:gd name="T89" fmla="*/ 139700 h 194"/>
                <a:gd name="T90" fmla="*/ 0 w 124"/>
                <a:gd name="T91" fmla="*/ 127000 h 194"/>
                <a:gd name="T92" fmla="*/ 196850 w 124"/>
                <a:gd name="T93" fmla="*/ 127000 h 194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124"/>
                <a:gd name="T142" fmla="*/ 0 h 194"/>
                <a:gd name="T143" fmla="*/ 124 w 124"/>
                <a:gd name="T144" fmla="*/ 194 h 194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124" h="194">
                  <a:moveTo>
                    <a:pt x="0" y="0"/>
                  </a:moveTo>
                  <a:lnTo>
                    <a:pt x="96" y="0"/>
                  </a:lnTo>
                  <a:lnTo>
                    <a:pt x="96" y="8"/>
                  </a:lnTo>
                  <a:lnTo>
                    <a:pt x="0" y="8"/>
                  </a:lnTo>
                  <a:lnTo>
                    <a:pt x="0" y="0"/>
                  </a:lnTo>
                  <a:close/>
                  <a:moveTo>
                    <a:pt x="0" y="26"/>
                  </a:moveTo>
                  <a:lnTo>
                    <a:pt x="124" y="26"/>
                  </a:lnTo>
                  <a:lnTo>
                    <a:pt x="124" y="34"/>
                  </a:lnTo>
                  <a:lnTo>
                    <a:pt x="0" y="34"/>
                  </a:lnTo>
                  <a:lnTo>
                    <a:pt x="0" y="26"/>
                  </a:lnTo>
                  <a:close/>
                  <a:moveTo>
                    <a:pt x="124" y="160"/>
                  </a:moveTo>
                  <a:lnTo>
                    <a:pt x="124" y="168"/>
                  </a:lnTo>
                  <a:lnTo>
                    <a:pt x="0" y="168"/>
                  </a:lnTo>
                  <a:lnTo>
                    <a:pt x="0" y="160"/>
                  </a:lnTo>
                  <a:lnTo>
                    <a:pt x="124" y="160"/>
                  </a:lnTo>
                  <a:close/>
                  <a:moveTo>
                    <a:pt x="124" y="54"/>
                  </a:moveTo>
                  <a:lnTo>
                    <a:pt x="124" y="62"/>
                  </a:lnTo>
                  <a:lnTo>
                    <a:pt x="0" y="62"/>
                  </a:lnTo>
                  <a:lnTo>
                    <a:pt x="0" y="54"/>
                  </a:lnTo>
                  <a:lnTo>
                    <a:pt x="124" y="54"/>
                  </a:lnTo>
                  <a:close/>
                  <a:moveTo>
                    <a:pt x="124" y="106"/>
                  </a:moveTo>
                  <a:lnTo>
                    <a:pt x="124" y="114"/>
                  </a:lnTo>
                  <a:lnTo>
                    <a:pt x="0" y="114"/>
                  </a:lnTo>
                  <a:lnTo>
                    <a:pt x="0" y="106"/>
                  </a:lnTo>
                  <a:lnTo>
                    <a:pt x="124" y="106"/>
                  </a:lnTo>
                  <a:close/>
                  <a:moveTo>
                    <a:pt x="124" y="132"/>
                  </a:moveTo>
                  <a:lnTo>
                    <a:pt x="124" y="142"/>
                  </a:lnTo>
                  <a:lnTo>
                    <a:pt x="0" y="142"/>
                  </a:lnTo>
                  <a:lnTo>
                    <a:pt x="0" y="132"/>
                  </a:lnTo>
                  <a:lnTo>
                    <a:pt x="124" y="132"/>
                  </a:lnTo>
                  <a:close/>
                  <a:moveTo>
                    <a:pt x="0" y="186"/>
                  </a:moveTo>
                  <a:lnTo>
                    <a:pt x="124" y="186"/>
                  </a:lnTo>
                  <a:lnTo>
                    <a:pt x="124" y="194"/>
                  </a:lnTo>
                  <a:lnTo>
                    <a:pt x="0" y="194"/>
                  </a:lnTo>
                  <a:lnTo>
                    <a:pt x="0" y="186"/>
                  </a:lnTo>
                  <a:close/>
                  <a:moveTo>
                    <a:pt x="124" y="80"/>
                  </a:moveTo>
                  <a:lnTo>
                    <a:pt x="124" y="88"/>
                  </a:lnTo>
                  <a:lnTo>
                    <a:pt x="0" y="88"/>
                  </a:lnTo>
                  <a:lnTo>
                    <a:pt x="0" y="80"/>
                  </a:lnTo>
                  <a:lnTo>
                    <a:pt x="124" y="8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</p:grpSp>
      <p:grpSp>
        <p:nvGrpSpPr>
          <p:cNvPr id="106" name="Gruppe 376"/>
          <p:cNvGrpSpPr/>
          <p:nvPr/>
        </p:nvGrpSpPr>
        <p:grpSpPr>
          <a:xfrm>
            <a:off x="4417232" y="3321689"/>
            <a:ext cx="858301" cy="842902"/>
            <a:chOff x="2360446" y="750213"/>
            <a:chExt cx="4325435" cy="4247824"/>
          </a:xfrm>
          <a:solidFill>
            <a:srgbClr val="17375E"/>
          </a:solidFill>
          <a:effectLst/>
        </p:grpSpPr>
        <p:sp>
          <p:nvSpPr>
            <p:cNvPr id="107" name="Blokbue 183"/>
            <p:cNvSpPr/>
            <p:nvPr/>
          </p:nvSpPr>
          <p:spPr bwMode="auto">
            <a:xfrm rot="10843925">
              <a:off x="2516174" y="1020923"/>
              <a:ext cx="3842697" cy="3842328"/>
            </a:xfrm>
            <a:prstGeom prst="blockArc">
              <a:avLst>
                <a:gd name="adj1" fmla="val 12299351"/>
                <a:gd name="adj2" fmla="val 15897654"/>
                <a:gd name="adj3" fmla="val 26577"/>
              </a:avLst>
            </a:prstGeom>
            <a:grpFill/>
            <a:ln w="317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Text" lastClr="000000">
                    <a:lumMod val="95000"/>
                    <a:lumOff val="5000"/>
                  </a:sysClr>
                </a:solidFill>
                <a:latin typeface="Calibri"/>
                <a:cs typeface="+mn-cs"/>
              </a:endParaRPr>
            </a:p>
          </p:txBody>
        </p:sp>
        <p:sp>
          <p:nvSpPr>
            <p:cNvPr id="108" name="Blokbue 184"/>
            <p:cNvSpPr/>
            <p:nvPr/>
          </p:nvSpPr>
          <p:spPr bwMode="auto">
            <a:xfrm rot="14446858">
              <a:off x="2411090" y="1028057"/>
              <a:ext cx="3842697" cy="3842328"/>
            </a:xfrm>
            <a:prstGeom prst="blockArc">
              <a:avLst>
                <a:gd name="adj1" fmla="val 12299351"/>
                <a:gd name="adj2" fmla="val 15897654"/>
                <a:gd name="adj3" fmla="val 26577"/>
              </a:avLst>
            </a:prstGeom>
            <a:grpFill/>
            <a:ln w="317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Text" lastClr="000000">
                    <a:lumMod val="95000"/>
                    <a:lumOff val="5000"/>
                  </a:sysClr>
                </a:solidFill>
                <a:latin typeface="Calibri"/>
                <a:cs typeface="+mn-cs"/>
              </a:endParaRPr>
            </a:p>
          </p:txBody>
        </p:sp>
        <p:sp>
          <p:nvSpPr>
            <p:cNvPr id="109" name="Blokbue 185"/>
            <p:cNvSpPr/>
            <p:nvPr/>
          </p:nvSpPr>
          <p:spPr bwMode="auto">
            <a:xfrm rot="18033862">
              <a:off x="2382907" y="921207"/>
              <a:ext cx="3842328" cy="3842697"/>
            </a:xfrm>
            <a:prstGeom prst="blockArc">
              <a:avLst>
                <a:gd name="adj1" fmla="val 12299351"/>
                <a:gd name="adj2" fmla="val 15897654"/>
                <a:gd name="adj3" fmla="val 26577"/>
              </a:avLst>
            </a:prstGeom>
            <a:grpFill/>
            <a:ln w="317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Text" lastClr="000000">
                    <a:lumMod val="95000"/>
                    <a:lumOff val="5000"/>
                  </a:sysClr>
                </a:solidFill>
                <a:latin typeface="Calibri"/>
                <a:cs typeface="+mn-cs"/>
              </a:endParaRPr>
            </a:p>
          </p:txBody>
        </p:sp>
        <p:sp>
          <p:nvSpPr>
            <p:cNvPr id="110" name="Blokbue 186"/>
            <p:cNvSpPr/>
            <p:nvPr/>
          </p:nvSpPr>
          <p:spPr bwMode="auto">
            <a:xfrm rot="14285">
              <a:off x="2443889" y="844858"/>
              <a:ext cx="3842697" cy="3842328"/>
            </a:xfrm>
            <a:prstGeom prst="blockArc">
              <a:avLst>
                <a:gd name="adj1" fmla="val 12299351"/>
                <a:gd name="adj2" fmla="val 15897654"/>
                <a:gd name="adj3" fmla="val 26577"/>
              </a:avLst>
            </a:prstGeom>
            <a:grpFill/>
            <a:ln w="317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Text" lastClr="000000">
                    <a:lumMod val="95000"/>
                    <a:lumOff val="5000"/>
                  </a:sysClr>
                </a:solidFill>
                <a:latin typeface="Calibri"/>
                <a:cs typeface="+mn-cs"/>
              </a:endParaRPr>
            </a:p>
          </p:txBody>
        </p:sp>
        <p:sp>
          <p:nvSpPr>
            <p:cNvPr id="111" name="Blokbue 187"/>
            <p:cNvSpPr/>
            <p:nvPr/>
          </p:nvSpPr>
          <p:spPr bwMode="auto">
            <a:xfrm rot="3730573">
              <a:off x="2518962" y="839770"/>
              <a:ext cx="3842697" cy="3842328"/>
            </a:xfrm>
            <a:prstGeom prst="blockArc">
              <a:avLst>
                <a:gd name="adj1" fmla="val 12299351"/>
                <a:gd name="adj2" fmla="val 15897654"/>
                <a:gd name="adj3" fmla="val 26577"/>
              </a:avLst>
            </a:prstGeom>
            <a:grpFill/>
            <a:ln w="317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Text" lastClr="000000">
                    <a:lumMod val="95000"/>
                    <a:lumOff val="5000"/>
                  </a:sysClr>
                </a:solidFill>
                <a:latin typeface="Calibri"/>
                <a:cs typeface="+mn-cs"/>
              </a:endParaRPr>
            </a:p>
          </p:txBody>
        </p:sp>
        <p:sp>
          <p:nvSpPr>
            <p:cNvPr id="112" name="Cirkulær pil 188"/>
            <p:cNvSpPr/>
            <p:nvPr/>
          </p:nvSpPr>
          <p:spPr>
            <a:xfrm rot="14216451" flipH="1" flipV="1">
              <a:off x="2399252" y="711399"/>
              <a:ext cx="4247827" cy="4325435"/>
            </a:xfrm>
            <a:prstGeom prst="circularArrow">
              <a:avLst>
                <a:gd name="adj1" fmla="val 25269"/>
                <a:gd name="adj2" fmla="val 1142319"/>
                <a:gd name="adj3" fmla="val 20391973"/>
                <a:gd name="adj4" fmla="val 16090810"/>
                <a:gd name="adj5" fmla="val 17581"/>
              </a:avLst>
            </a:prstGeom>
            <a:grpFill/>
            <a:ln w="9525" cap="flat" cmpd="sng" algn="ctr">
              <a:solidFill>
                <a:schemeClr val="bg1">
                  <a:lumMod val="95000"/>
                </a:schemeClr>
              </a:solidFill>
              <a:prstDash val="solid"/>
            </a:ln>
            <a:effectLst/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" lastClr="FFFFFF"/>
                </a:solidFill>
                <a:latin typeface="Calibri"/>
                <a:cs typeface="+mn-cs"/>
              </a:endParaRPr>
            </a:p>
          </p:txBody>
        </p:sp>
      </p:grpSp>
      <p:grpSp>
        <p:nvGrpSpPr>
          <p:cNvPr id="113" name="Gruppe 376"/>
          <p:cNvGrpSpPr/>
          <p:nvPr/>
        </p:nvGrpSpPr>
        <p:grpSpPr>
          <a:xfrm>
            <a:off x="3902790" y="4379970"/>
            <a:ext cx="858301" cy="842902"/>
            <a:chOff x="2360448" y="750203"/>
            <a:chExt cx="4325435" cy="4247827"/>
          </a:xfrm>
          <a:solidFill>
            <a:srgbClr val="17375E"/>
          </a:solidFill>
          <a:effectLst/>
        </p:grpSpPr>
        <p:sp>
          <p:nvSpPr>
            <p:cNvPr id="114" name="Blokbue 190"/>
            <p:cNvSpPr/>
            <p:nvPr/>
          </p:nvSpPr>
          <p:spPr bwMode="auto">
            <a:xfrm rot="10843925">
              <a:off x="2516174" y="1020923"/>
              <a:ext cx="3842697" cy="3842328"/>
            </a:xfrm>
            <a:prstGeom prst="blockArc">
              <a:avLst>
                <a:gd name="adj1" fmla="val 12299351"/>
                <a:gd name="adj2" fmla="val 15897654"/>
                <a:gd name="adj3" fmla="val 26577"/>
              </a:avLst>
            </a:prstGeom>
            <a:grpFill/>
            <a:ln w="317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Text" lastClr="000000">
                    <a:lumMod val="95000"/>
                    <a:lumOff val="5000"/>
                  </a:sysClr>
                </a:solidFill>
                <a:latin typeface="Calibri"/>
                <a:cs typeface="+mn-cs"/>
              </a:endParaRPr>
            </a:p>
          </p:txBody>
        </p:sp>
        <p:sp>
          <p:nvSpPr>
            <p:cNvPr id="115" name="Blokbue 191"/>
            <p:cNvSpPr/>
            <p:nvPr/>
          </p:nvSpPr>
          <p:spPr bwMode="auto">
            <a:xfrm rot="14446858">
              <a:off x="2411090" y="1028057"/>
              <a:ext cx="3842697" cy="3842328"/>
            </a:xfrm>
            <a:prstGeom prst="blockArc">
              <a:avLst>
                <a:gd name="adj1" fmla="val 12299351"/>
                <a:gd name="adj2" fmla="val 15897654"/>
                <a:gd name="adj3" fmla="val 26577"/>
              </a:avLst>
            </a:prstGeom>
            <a:grpFill/>
            <a:ln w="317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Text" lastClr="000000">
                    <a:lumMod val="95000"/>
                    <a:lumOff val="5000"/>
                  </a:sysClr>
                </a:solidFill>
                <a:latin typeface="Calibri"/>
                <a:cs typeface="+mn-cs"/>
              </a:endParaRPr>
            </a:p>
          </p:txBody>
        </p:sp>
        <p:sp>
          <p:nvSpPr>
            <p:cNvPr id="116" name="Blokbue 192"/>
            <p:cNvSpPr/>
            <p:nvPr/>
          </p:nvSpPr>
          <p:spPr bwMode="auto">
            <a:xfrm rot="18033862">
              <a:off x="2382907" y="921207"/>
              <a:ext cx="3842328" cy="3842697"/>
            </a:xfrm>
            <a:prstGeom prst="blockArc">
              <a:avLst>
                <a:gd name="adj1" fmla="val 12299351"/>
                <a:gd name="adj2" fmla="val 15897654"/>
                <a:gd name="adj3" fmla="val 26577"/>
              </a:avLst>
            </a:prstGeom>
            <a:grpFill/>
            <a:ln w="317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Text" lastClr="000000">
                    <a:lumMod val="95000"/>
                    <a:lumOff val="5000"/>
                  </a:sysClr>
                </a:solidFill>
                <a:latin typeface="Calibri"/>
                <a:cs typeface="+mn-cs"/>
              </a:endParaRPr>
            </a:p>
          </p:txBody>
        </p:sp>
        <p:sp>
          <p:nvSpPr>
            <p:cNvPr id="117" name="Blokbue 193"/>
            <p:cNvSpPr/>
            <p:nvPr/>
          </p:nvSpPr>
          <p:spPr bwMode="auto">
            <a:xfrm rot="14285">
              <a:off x="2443889" y="844858"/>
              <a:ext cx="3842697" cy="3842328"/>
            </a:xfrm>
            <a:prstGeom prst="blockArc">
              <a:avLst>
                <a:gd name="adj1" fmla="val 12299351"/>
                <a:gd name="adj2" fmla="val 15897654"/>
                <a:gd name="adj3" fmla="val 26577"/>
              </a:avLst>
            </a:prstGeom>
            <a:grpFill/>
            <a:ln w="317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Text" lastClr="000000">
                    <a:lumMod val="95000"/>
                    <a:lumOff val="5000"/>
                  </a:sysClr>
                </a:solidFill>
                <a:latin typeface="Calibri"/>
                <a:cs typeface="+mn-cs"/>
              </a:endParaRPr>
            </a:p>
          </p:txBody>
        </p:sp>
        <p:sp>
          <p:nvSpPr>
            <p:cNvPr id="118" name="Blokbue 194"/>
            <p:cNvSpPr/>
            <p:nvPr/>
          </p:nvSpPr>
          <p:spPr bwMode="auto">
            <a:xfrm rot="3730573">
              <a:off x="2518962" y="839770"/>
              <a:ext cx="3842697" cy="3842328"/>
            </a:xfrm>
            <a:prstGeom prst="blockArc">
              <a:avLst>
                <a:gd name="adj1" fmla="val 12299351"/>
                <a:gd name="adj2" fmla="val 15897654"/>
                <a:gd name="adj3" fmla="val 26577"/>
              </a:avLst>
            </a:prstGeom>
            <a:grpFill/>
            <a:ln w="317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Text" lastClr="000000">
                    <a:lumMod val="95000"/>
                    <a:lumOff val="5000"/>
                  </a:sysClr>
                </a:solidFill>
                <a:latin typeface="Calibri"/>
                <a:cs typeface="+mn-cs"/>
              </a:endParaRPr>
            </a:p>
          </p:txBody>
        </p:sp>
        <p:sp>
          <p:nvSpPr>
            <p:cNvPr id="119" name="Cirkulær pil 195"/>
            <p:cNvSpPr/>
            <p:nvPr/>
          </p:nvSpPr>
          <p:spPr>
            <a:xfrm rot="14216451" flipH="1" flipV="1">
              <a:off x="2399252" y="711399"/>
              <a:ext cx="4247827" cy="4325435"/>
            </a:xfrm>
            <a:prstGeom prst="circularArrow">
              <a:avLst>
                <a:gd name="adj1" fmla="val 25269"/>
                <a:gd name="adj2" fmla="val 1142319"/>
                <a:gd name="adj3" fmla="val 20391973"/>
                <a:gd name="adj4" fmla="val 16090810"/>
                <a:gd name="adj5" fmla="val 17581"/>
              </a:avLst>
            </a:prstGeom>
            <a:grpFill/>
            <a:ln w="9525" cap="flat" cmpd="sng" algn="ctr">
              <a:solidFill>
                <a:schemeClr val="bg1">
                  <a:lumMod val="95000"/>
                </a:schemeClr>
              </a:solidFill>
              <a:prstDash val="solid"/>
            </a:ln>
            <a:effectLst/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" lastClr="FFFFFF"/>
                </a:solidFill>
                <a:latin typeface="Calibri"/>
                <a:cs typeface="+mn-cs"/>
              </a:endParaRPr>
            </a:p>
          </p:txBody>
        </p:sp>
      </p:grpSp>
      <p:grpSp>
        <p:nvGrpSpPr>
          <p:cNvPr id="120" name="Gruppe 376"/>
          <p:cNvGrpSpPr/>
          <p:nvPr/>
        </p:nvGrpSpPr>
        <p:grpSpPr>
          <a:xfrm>
            <a:off x="3888092" y="2494905"/>
            <a:ext cx="858301" cy="842902"/>
            <a:chOff x="2360448" y="750203"/>
            <a:chExt cx="4325435" cy="4247827"/>
          </a:xfrm>
          <a:solidFill>
            <a:srgbClr val="17375E"/>
          </a:solidFill>
          <a:effectLst/>
        </p:grpSpPr>
        <p:sp>
          <p:nvSpPr>
            <p:cNvPr id="121" name="Blokbue 197"/>
            <p:cNvSpPr/>
            <p:nvPr/>
          </p:nvSpPr>
          <p:spPr bwMode="auto">
            <a:xfrm rot="10843925">
              <a:off x="2516175" y="1020916"/>
              <a:ext cx="3842700" cy="3842329"/>
            </a:xfrm>
            <a:prstGeom prst="blockArc">
              <a:avLst>
                <a:gd name="adj1" fmla="val 12299351"/>
                <a:gd name="adj2" fmla="val 15897654"/>
                <a:gd name="adj3" fmla="val 26577"/>
              </a:avLst>
            </a:prstGeom>
            <a:grpFill/>
            <a:ln w="317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Text" lastClr="000000">
                    <a:lumMod val="95000"/>
                    <a:lumOff val="5000"/>
                  </a:sysClr>
                </a:solidFill>
                <a:latin typeface="Calibri"/>
                <a:cs typeface="+mn-cs"/>
              </a:endParaRPr>
            </a:p>
          </p:txBody>
        </p:sp>
        <p:sp>
          <p:nvSpPr>
            <p:cNvPr id="122" name="Blokbue 198"/>
            <p:cNvSpPr/>
            <p:nvPr/>
          </p:nvSpPr>
          <p:spPr bwMode="auto">
            <a:xfrm rot="14446858">
              <a:off x="2411090" y="1028057"/>
              <a:ext cx="3842697" cy="3842328"/>
            </a:xfrm>
            <a:prstGeom prst="blockArc">
              <a:avLst>
                <a:gd name="adj1" fmla="val 12299351"/>
                <a:gd name="adj2" fmla="val 15897654"/>
                <a:gd name="adj3" fmla="val 26577"/>
              </a:avLst>
            </a:prstGeom>
            <a:grpFill/>
            <a:ln w="317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Text" lastClr="000000">
                    <a:lumMod val="95000"/>
                    <a:lumOff val="5000"/>
                  </a:sysClr>
                </a:solidFill>
                <a:latin typeface="Calibri"/>
                <a:cs typeface="+mn-cs"/>
              </a:endParaRPr>
            </a:p>
          </p:txBody>
        </p:sp>
        <p:sp>
          <p:nvSpPr>
            <p:cNvPr id="123" name="Blokbue 199"/>
            <p:cNvSpPr/>
            <p:nvPr/>
          </p:nvSpPr>
          <p:spPr bwMode="auto">
            <a:xfrm rot="18033862">
              <a:off x="2382907" y="921207"/>
              <a:ext cx="3842328" cy="3842697"/>
            </a:xfrm>
            <a:prstGeom prst="blockArc">
              <a:avLst>
                <a:gd name="adj1" fmla="val 12299351"/>
                <a:gd name="adj2" fmla="val 15897654"/>
                <a:gd name="adj3" fmla="val 26577"/>
              </a:avLst>
            </a:prstGeom>
            <a:grpFill/>
            <a:ln w="317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Text" lastClr="000000">
                    <a:lumMod val="95000"/>
                    <a:lumOff val="5000"/>
                  </a:sysClr>
                </a:solidFill>
                <a:latin typeface="Calibri"/>
                <a:cs typeface="+mn-cs"/>
              </a:endParaRPr>
            </a:p>
          </p:txBody>
        </p:sp>
        <p:sp>
          <p:nvSpPr>
            <p:cNvPr id="124" name="Blokbue 200"/>
            <p:cNvSpPr/>
            <p:nvPr/>
          </p:nvSpPr>
          <p:spPr bwMode="auto">
            <a:xfrm rot="14285">
              <a:off x="2443889" y="844858"/>
              <a:ext cx="3842697" cy="3842328"/>
            </a:xfrm>
            <a:prstGeom prst="blockArc">
              <a:avLst>
                <a:gd name="adj1" fmla="val 12299351"/>
                <a:gd name="adj2" fmla="val 15897654"/>
                <a:gd name="adj3" fmla="val 26577"/>
              </a:avLst>
            </a:prstGeom>
            <a:grpFill/>
            <a:ln w="317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Text" lastClr="000000">
                    <a:lumMod val="95000"/>
                    <a:lumOff val="5000"/>
                  </a:sysClr>
                </a:solidFill>
                <a:latin typeface="Calibri"/>
                <a:cs typeface="+mn-cs"/>
              </a:endParaRPr>
            </a:p>
          </p:txBody>
        </p:sp>
        <p:sp>
          <p:nvSpPr>
            <p:cNvPr id="125" name="Blokbue 201"/>
            <p:cNvSpPr/>
            <p:nvPr/>
          </p:nvSpPr>
          <p:spPr bwMode="auto">
            <a:xfrm rot="3730573">
              <a:off x="2518962" y="839770"/>
              <a:ext cx="3842697" cy="3842328"/>
            </a:xfrm>
            <a:prstGeom prst="blockArc">
              <a:avLst>
                <a:gd name="adj1" fmla="val 12299351"/>
                <a:gd name="adj2" fmla="val 15897654"/>
                <a:gd name="adj3" fmla="val 26577"/>
              </a:avLst>
            </a:prstGeom>
            <a:grpFill/>
            <a:ln w="317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Text" lastClr="000000">
                    <a:lumMod val="95000"/>
                    <a:lumOff val="5000"/>
                  </a:sysClr>
                </a:solidFill>
                <a:latin typeface="Calibri"/>
                <a:cs typeface="+mn-cs"/>
              </a:endParaRPr>
            </a:p>
          </p:txBody>
        </p:sp>
        <p:sp>
          <p:nvSpPr>
            <p:cNvPr id="126" name="Cirkulær pil 202"/>
            <p:cNvSpPr/>
            <p:nvPr/>
          </p:nvSpPr>
          <p:spPr>
            <a:xfrm rot="14216451" flipH="1" flipV="1">
              <a:off x="2399252" y="711399"/>
              <a:ext cx="4247827" cy="4325435"/>
            </a:xfrm>
            <a:prstGeom prst="circularArrow">
              <a:avLst>
                <a:gd name="adj1" fmla="val 25269"/>
                <a:gd name="adj2" fmla="val 1142319"/>
                <a:gd name="adj3" fmla="val 20391973"/>
                <a:gd name="adj4" fmla="val 16090810"/>
                <a:gd name="adj5" fmla="val 17581"/>
              </a:avLst>
            </a:prstGeom>
            <a:grpFill/>
            <a:ln w="9525" cap="flat" cmpd="sng" algn="ctr">
              <a:solidFill>
                <a:schemeClr val="bg1">
                  <a:lumMod val="95000"/>
                </a:schemeClr>
              </a:solidFill>
              <a:prstDash val="solid"/>
            </a:ln>
            <a:effectLst/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" lastClr="FFFFFF"/>
                </a:solidFill>
                <a:latin typeface="Calibri"/>
                <a:cs typeface="+mn-cs"/>
              </a:endParaRPr>
            </a:p>
          </p:txBody>
        </p:sp>
      </p:grpSp>
      <p:grpSp>
        <p:nvGrpSpPr>
          <p:cNvPr id="127" name="Gruppe 230"/>
          <p:cNvGrpSpPr/>
          <p:nvPr/>
        </p:nvGrpSpPr>
        <p:grpSpPr>
          <a:xfrm>
            <a:off x="6553823" y="3963661"/>
            <a:ext cx="1073444" cy="1305557"/>
            <a:chOff x="544185" y="1026430"/>
            <a:chExt cx="5195568" cy="4987350"/>
          </a:xfrm>
          <a:solidFill>
            <a:schemeClr val="bg1">
              <a:lumMod val="75000"/>
            </a:schemeClr>
          </a:solidFill>
          <a:effectLst/>
        </p:grpSpPr>
        <p:grpSp>
          <p:nvGrpSpPr>
            <p:cNvPr id="128" name="Gruppe 56"/>
            <p:cNvGrpSpPr>
              <a:grpSpLocks/>
            </p:cNvGrpSpPr>
            <p:nvPr/>
          </p:nvGrpSpPr>
          <p:grpSpPr bwMode="auto">
            <a:xfrm>
              <a:off x="544185" y="1026430"/>
              <a:ext cx="5195568" cy="4987350"/>
              <a:chOff x="543539" y="1027095"/>
              <a:chExt cx="5196840" cy="4986342"/>
            </a:xfrm>
            <a:grpFill/>
          </p:grpSpPr>
          <p:grpSp>
            <p:nvGrpSpPr>
              <p:cNvPr id="131" name="Gruppe 25"/>
              <p:cNvGrpSpPr>
                <a:grpSpLocks/>
              </p:cNvGrpSpPr>
              <p:nvPr/>
            </p:nvGrpSpPr>
            <p:grpSpPr bwMode="auto">
              <a:xfrm>
                <a:off x="543539" y="1027095"/>
                <a:ext cx="5196840" cy="4986342"/>
                <a:chOff x="543539" y="1027095"/>
                <a:chExt cx="5196840" cy="4986342"/>
              </a:xfrm>
              <a:grpFill/>
            </p:grpSpPr>
            <p:sp>
              <p:nvSpPr>
                <p:cNvPr id="136" name="Rektangel 223"/>
                <p:cNvSpPr/>
                <p:nvPr/>
              </p:nvSpPr>
              <p:spPr>
                <a:xfrm rot="16200000">
                  <a:off x="2619785" y="2821360"/>
                  <a:ext cx="4137778" cy="1391814"/>
                </a:xfrm>
                <a:prstGeom prst="rect">
                  <a:avLst/>
                </a:prstGeom>
                <a:solidFill>
                  <a:schemeClr val="bg1">
                    <a:lumMod val="85000"/>
                  </a:schemeClr>
                </a:solidFill>
                <a:ln w="952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 dirty="0">
                    <a:solidFill>
                      <a:sysClr val="window" lastClr="FFFFFF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137" name="Venstre-opadgående pil 225"/>
                <p:cNvSpPr/>
                <p:nvPr/>
              </p:nvSpPr>
              <p:spPr>
                <a:xfrm flipH="1">
                  <a:off x="543539" y="1027095"/>
                  <a:ext cx="5196840" cy="4986342"/>
                </a:xfrm>
                <a:prstGeom prst="leftUpArrow">
                  <a:avLst>
                    <a:gd name="adj1" fmla="val 3074"/>
                    <a:gd name="adj2" fmla="val 4126"/>
                    <a:gd name="adj3" fmla="val 4936"/>
                  </a:avLst>
                </a:prstGeom>
                <a:solidFill>
                  <a:schemeClr val="bg1">
                    <a:lumMod val="85000"/>
                  </a:schemeClr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 dirty="0" err="1">
                    <a:solidFill>
                      <a:sysClr val="window" lastClr="FFFFFF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138" name="Rektangel 226"/>
                <p:cNvSpPr/>
                <p:nvPr/>
              </p:nvSpPr>
              <p:spPr>
                <a:xfrm rot="16200000">
                  <a:off x="1120401" y="2782074"/>
                  <a:ext cx="4137777" cy="1470385"/>
                </a:xfrm>
                <a:prstGeom prst="rect">
                  <a:avLst/>
                </a:prstGeom>
                <a:solidFill>
                  <a:schemeClr val="bg1">
                    <a:lumMod val="85000"/>
                  </a:schemeClr>
                </a:solidFill>
                <a:ln w="952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 dirty="0">
                    <a:solidFill>
                      <a:sysClr val="window" lastClr="FFFFFF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139" name="Rektangel 227"/>
                <p:cNvSpPr/>
                <p:nvPr/>
              </p:nvSpPr>
              <p:spPr>
                <a:xfrm rot="16200000">
                  <a:off x="-354035" y="2846301"/>
                  <a:ext cx="4137778" cy="1341926"/>
                </a:xfrm>
                <a:prstGeom prst="rect">
                  <a:avLst/>
                </a:prstGeom>
                <a:solidFill>
                  <a:schemeClr val="bg1">
                    <a:lumMod val="85000"/>
                  </a:schemeClr>
                </a:solidFill>
                <a:ln w="952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 dirty="0">
                    <a:solidFill>
                      <a:sysClr val="window" lastClr="FFFFFF"/>
                    </a:solidFill>
                    <a:latin typeface="Calibri"/>
                    <a:cs typeface="+mn-cs"/>
                  </a:endParaRPr>
                </a:p>
              </p:txBody>
            </p:sp>
          </p:grpSp>
          <p:grpSp>
            <p:nvGrpSpPr>
              <p:cNvPr id="132" name="Gruppe 55"/>
              <p:cNvGrpSpPr>
                <a:grpSpLocks/>
              </p:cNvGrpSpPr>
              <p:nvPr/>
            </p:nvGrpSpPr>
            <p:grpSpPr bwMode="auto">
              <a:xfrm>
                <a:off x="897966" y="2443540"/>
                <a:ext cx="4542950" cy="2150627"/>
                <a:chOff x="898000" y="2443540"/>
                <a:chExt cx="4263183" cy="2150627"/>
              </a:xfrm>
              <a:grpFill/>
            </p:grpSpPr>
            <p:cxnSp>
              <p:nvCxnSpPr>
                <p:cNvPr id="133" name="Lige forbindelse 220"/>
                <p:cNvCxnSpPr/>
                <p:nvPr/>
              </p:nvCxnSpPr>
              <p:spPr bwMode="auto">
                <a:xfrm flipH="1" flipV="1">
                  <a:off x="898000" y="4592580"/>
                  <a:ext cx="4263183" cy="1587"/>
                </a:xfrm>
                <a:prstGeom prst="line">
                  <a:avLst/>
                </a:prstGeom>
                <a:grpFill/>
                <a:ln w="6350" cap="flat" cmpd="sng" algn="ctr">
                  <a:noFill/>
                  <a:prstDash val="sysDash"/>
                </a:ln>
                <a:effectLst/>
              </p:spPr>
            </p:cxnSp>
            <p:cxnSp>
              <p:nvCxnSpPr>
                <p:cNvPr id="134" name="Lige forbindelse 221"/>
                <p:cNvCxnSpPr/>
                <p:nvPr/>
              </p:nvCxnSpPr>
              <p:spPr bwMode="auto">
                <a:xfrm flipH="1" flipV="1">
                  <a:off x="898000" y="3510124"/>
                  <a:ext cx="4263183" cy="1587"/>
                </a:xfrm>
                <a:prstGeom prst="line">
                  <a:avLst/>
                </a:prstGeom>
                <a:grpFill/>
                <a:ln w="6350" cap="flat" cmpd="sng" algn="ctr">
                  <a:noFill/>
                  <a:prstDash val="sysDash"/>
                </a:ln>
                <a:effectLst/>
              </p:spPr>
            </p:cxnSp>
            <p:cxnSp>
              <p:nvCxnSpPr>
                <p:cNvPr id="135" name="Lige forbindelse 222"/>
                <p:cNvCxnSpPr/>
                <p:nvPr/>
              </p:nvCxnSpPr>
              <p:spPr bwMode="auto">
                <a:xfrm flipH="1" flipV="1">
                  <a:off x="898000" y="2443540"/>
                  <a:ext cx="4263179" cy="1589"/>
                </a:xfrm>
                <a:prstGeom prst="line">
                  <a:avLst/>
                </a:prstGeom>
                <a:grpFill/>
                <a:ln w="6350" cap="flat" cmpd="sng" algn="ctr">
                  <a:noFill/>
                  <a:prstDash val="sysDash"/>
                </a:ln>
                <a:effectLst/>
              </p:spPr>
            </p:cxnSp>
          </p:grpSp>
        </p:grpSp>
        <p:sp>
          <p:nvSpPr>
            <p:cNvPr id="129" name="Kombinationstegning 228"/>
            <p:cNvSpPr/>
            <p:nvPr/>
          </p:nvSpPr>
          <p:spPr>
            <a:xfrm>
              <a:off x="1082674" y="1463676"/>
              <a:ext cx="3163107" cy="3900485"/>
            </a:xfrm>
            <a:custGeom>
              <a:avLst/>
              <a:gdLst>
                <a:gd name="connsiteX0" fmla="*/ 0 w 2804160"/>
                <a:gd name="connsiteY0" fmla="*/ 3901440 h 3901440"/>
                <a:gd name="connsiteX1" fmla="*/ 1844040 w 2804160"/>
                <a:gd name="connsiteY1" fmla="*/ 2453640 h 3901440"/>
                <a:gd name="connsiteX2" fmla="*/ 2804160 w 2804160"/>
                <a:gd name="connsiteY2" fmla="*/ 0 h 39014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804160" h="3901440">
                  <a:moveTo>
                    <a:pt x="0" y="3901440"/>
                  </a:moveTo>
                  <a:cubicBezTo>
                    <a:pt x="688340" y="3502660"/>
                    <a:pt x="1376680" y="3103880"/>
                    <a:pt x="1844040" y="2453640"/>
                  </a:cubicBezTo>
                  <a:cubicBezTo>
                    <a:pt x="2311400" y="1803400"/>
                    <a:pt x="2557780" y="901700"/>
                    <a:pt x="2804160" y="0"/>
                  </a:cubicBezTo>
                </a:path>
              </a:pathLst>
            </a:custGeom>
            <a:noFill/>
            <a:ln w="25400" cap="flat" cmpd="sng" algn="ctr">
              <a:solidFill>
                <a:srgbClr val="17375E"/>
              </a:solidFill>
              <a:prstDash val="solid"/>
              <a:tailEnd type="triangle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" lastClr="FFFFFF"/>
                </a:solidFill>
                <a:latin typeface="Calibri"/>
                <a:cs typeface="+mn-cs"/>
              </a:endParaRPr>
            </a:p>
          </p:txBody>
        </p:sp>
        <p:sp>
          <p:nvSpPr>
            <p:cNvPr id="130" name="Kombinationstegning 229"/>
            <p:cNvSpPr/>
            <p:nvPr/>
          </p:nvSpPr>
          <p:spPr>
            <a:xfrm>
              <a:off x="1084263" y="1463675"/>
              <a:ext cx="4356100" cy="3930650"/>
            </a:xfrm>
            <a:custGeom>
              <a:avLst/>
              <a:gdLst>
                <a:gd name="connsiteX0" fmla="*/ 27940 w 4356100"/>
                <a:gd name="connsiteY0" fmla="*/ 3931920 h 3931920"/>
                <a:gd name="connsiteX1" fmla="*/ 378460 w 4356100"/>
                <a:gd name="connsiteY1" fmla="*/ 2712720 h 3931920"/>
                <a:gd name="connsiteX2" fmla="*/ 2298700 w 4356100"/>
                <a:gd name="connsiteY2" fmla="*/ 2133600 h 3931920"/>
                <a:gd name="connsiteX3" fmla="*/ 3548380 w 4356100"/>
                <a:gd name="connsiteY3" fmla="*/ 792480 h 3931920"/>
                <a:gd name="connsiteX4" fmla="*/ 4356100 w 4356100"/>
                <a:gd name="connsiteY4" fmla="*/ 0 h 39319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356100" h="3931920">
                  <a:moveTo>
                    <a:pt x="27940" y="3931920"/>
                  </a:moveTo>
                  <a:cubicBezTo>
                    <a:pt x="13970" y="3472180"/>
                    <a:pt x="0" y="3012440"/>
                    <a:pt x="378460" y="2712720"/>
                  </a:cubicBezTo>
                  <a:cubicBezTo>
                    <a:pt x="756920" y="2413000"/>
                    <a:pt x="1770380" y="2453640"/>
                    <a:pt x="2298700" y="2133600"/>
                  </a:cubicBezTo>
                  <a:cubicBezTo>
                    <a:pt x="2827020" y="1813560"/>
                    <a:pt x="3205480" y="1148080"/>
                    <a:pt x="3548380" y="792480"/>
                  </a:cubicBezTo>
                  <a:cubicBezTo>
                    <a:pt x="3891280" y="436880"/>
                    <a:pt x="4123690" y="218440"/>
                    <a:pt x="4356100" y="0"/>
                  </a:cubicBezTo>
                </a:path>
              </a:pathLst>
            </a:custGeom>
            <a:noFill/>
            <a:ln w="25400" cap="flat" cmpd="sng" algn="ctr">
              <a:solidFill>
                <a:srgbClr val="17375E"/>
              </a:solidFill>
              <a:prstDash val="sysDash"/>
              <a:tailEnd type="triangle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" lastClr="FFFFFF"/>
                </a:solidFill>
                <a:latin typeface="Calibri"/>
                <a:cs typeface="+mn-cs"/>
              </a:endParaRPr>
            </a:p>
          </p:txBody>
        </p:sp>
      </p:grpSp>
      <p:grpSp>
        <p:nvGrpSpPr>
          <p:cNvPr id="140" name="Gruppe 249"/>
          <p:cNvGrpSpPr>
            <a:grpSpLocks/>
          </p:cNvGrpSpPr>
          <p:nvPr/>
        </p:nvGrpSpPr>
        <p:grpSpPr bwMode="auto">
          <a:xfrm>
            <a:off x="2940787" y="2035582"/>
            <a:ext cx="596661" cy="598039"/>
            <a:chOff x="2881313" y="1930398"/>
            <a:chExt cx="687260" cy="689505"/>
          </a:xfrm>
          <a:solidFill>
            <a:schemeClr val="bg1">
              <a:lumMod val="85000"/>
            </a:schemeClr>
          </a:solidFill>
        </p:grpSpPr>
        <p:grpSp>
          <p:nvGrpSpPr>
            <p:cNvPr id="141" name="Gruppe 92"/>
            <p:cNvGrpSpPr>
              <a:grpSpLocks/>
            </p:cNvGrpSpPr>
            <p:nvPr/>
          </p:nvGrpSpPr>
          <p:grpSpPr bwMode="auto">
            <a:xfrm>
              <a:off x="2881313" y="1954676"/>
              <a:ext cx="246424" cy="665227"/>
              <a:chOff x="3176792" y="3906123"/>
              <a:chExt cx="825606" cy="2226679"/>
            </a:xfrm>
            <a:grpFill/>
          </p:grpSpPr>
          <p:grpSp>
            <p:nvGrpSpPr>
              <p:cNvPr id="148" name="Gruppe 52"/>
              <p:cNvGrpSpPr>
                <a:grpSpLocks/>
              </p:cNvGrpSpPr>
              <p:nvPr/>
            </p:nvGrpSpPr>
            <p:grpSpPr bwMode="auto">
              <a:xfrm>
                <a:off x="3176792" y="3906123"/>
                <a:ext cx="825606" cy="2226679"/>
                <a:chOff x="3612221" y="3840809"/>
                <a:chExt cx="825606" cy="2226679"/>
              </a:xfrm>
              <a:grpFill/>
            </p:grpSpPr>
            <p:sp>
              <p:nvSpPr>
                <p:cNvPr id="151" name="Freeform 137"/>
                <p:cNvSpPr>
                  <a:spLocks noEditPoints="1"/>
                </p:cNvSpPr>
                <p:nvPr/>
              </p:nvSpPr>
              <p:spPr bwMode="auto">
                <a:xfrm>
                  <a:off x="3803658" y="4158385"/>
                  <a:ext cx="590261" cy="1302869"/>
                </a:xfrm>
                <a:custGeom>
                  <a:avLst/>
                  <a:gdLst>
                    <a:gd name="T0" fmla="*/ 811490228 w 350"/>
                    <a:gd name="T1" fmla="*/ 413305594 h 774"/>
                    <a:gd name="T2" fmla="*/ 756046810 w 350"/>
                    <a:gd name="T3" fmla="*/ 257055956 h 774"/>
                    <a:gd name="T4" fmla="*/ 756046810 w 350"/>
                    <a:gd name="T5" fmla="*/ 221773779 h 774"/>
                    <a:gd name="T6" fmla="*/ 740925878 w 350"/>
                    <a:gd name="T7" fmla="*/ 181451242 h 774"/>
                    <a:gd name="T8" fmla="*/ 725804945 w 350"/>
                    <a:gd name="T9" fmla="*/ 115927201 h 774"/>
                    <a:gd name="T10" fmla="*/ 705643702 w 350"/>
                    <a:gd name="T11" fmla="*/ 90725621 h 774"/>
                    <a:gd name="T12" fmla="*/ 650200284 w 350"/>
                    <a:gd name="T13" fmla="*/ 65524067 h 774"/>
                    <a:gd name="T14" fmla="*/ 569555312 w 350"/>
                    <a:gd name="T15" fmla="*/ 45362811 h 774"/>
                    <a:gd name="T16" fmla="*/ 302418744 w 350"/>
                    <a:gd name="T17" fmla="*/ 0 h 774"/>
                    <a:gd name="T18" fmla="*/ 246975326 w 350"/>
                    <a:gd name="T19" fmla="*/ 10080625 h 774"/>
                    <a:gd name="T20" fmla="*/ 191531858 w 350"/>
                    <a:gd name="T21" fmla="*/ 35282189 h 774"/>
                    <a:gd name="T22" fmla="*/ 105846575 w 350"/>
                    <a:gd name="T23" fmla="*/ 70564378 h 774"/>
                    <a:gd name="T24" fmla="*/ 30241877 w 350"/>
                    <a:gd name="T25" fmla="*/ 90725621 h 774"/>
                    <a:gd name="T26" fmla="*/ 15120938 w 350"/>
                    <a:gd name="T27" fmla="*/ 105846579 h 774"/>
                    <a:gd name="T28" fmla="*/ 0 w 350"/>
                    <a:gd name="T29" fmla="*/ 151209377 h 774"/>
                    <a:gd name="T30" fmla="*/ 15120938 w 350"/>
                    <a:gd name="T31" fmla="*/ 216733468 h 774"/>
                    <a:gd name="T32" fmla="*/ 45362809 w 350"/>
                    <a:gd name="T33" fmla="*/ 267136577 h 774"/>
                    <a:gd name="T34" fmla="*/ 105846575 w 350"/>
                    <a:gd name="T35" fmla="*/ 524192533 h 774"/>
                    <a:gd name="T36" fmla="*/ 151209372 w 350"/>
                    <a:gd name="T37" fmla="*/ 635079373 h 774"/>
                    <a:gd name="T38" fmla="*/ 181451236 w 350"/>
                    <a:gd name="T39" fmla="*/ 715724348 h 774"/>
                    <a:gd name="T40" fmla="*/ 211693150 w 350"/>
                    <a:gd name="T41" fmla="*/ 801409633 h 774"/>
                    <a:gd name="T42" fmla="*/ 196572169 w 350"/>
                    <a:gd name="T43" fmla="*/ 871974184 h 774"/>
                    <a:gd name="T44" fmla="*/ 161289993 w 350"/>
                    <a:gd name="T45" fmla="*/ 1003022268 h 774"/>
                    <a:gd name="T46" fmla="*/ 120967507 w 350"/>
                    <a:gd name="T47" fmla="*/ 1169352528 h 774"/>
                    <a:gd name="T48" fmla="*/ 115927197 w 350"/>
                    <a:gd name="T49" fmla="*/ 1229836259 h 774"/>
                    <a:gd name="T50" fmla="*/ 146169061 w 350"/>
                    <a:gd name="T51" fmla="*/ 1244957192 h 774"/>
                    <a:gd name="T52" fmla="*/ 146169061 w 350"/>
                    <a:gd name="T53" fmla="*/ 1401206830 h 774"/>
                    <a:gd name="T54" fmla="*/ 156249683 w 350"/>
                    <a:gd name="T55" fmla="*/ 1653222375 h 774"/>
                    <a:gd name="T56" fmla="*/ 156249683 w 350"/>
                    <a:gd name="T57" fmla="*/ 1718746814 h 774"/>
                    <a:gd name="T58" fmla="*/ 156249683 w 350"/>
                    <a:gd name="T59" fmla="*/ 1789311167 h 774"/>
                    <a:gd name="T60" fmla="*/ 156249683 w 350"/>
                    <a:gd name="T61" fmla="*/ 1895157696 h 774"/>
                    <a:gd name="T62" fmla="*/ 272176879 w 350"/>
                    <a:gd name="T63" fmla="*/ 1940520494 h 774"/>
                    <a:gd name="T64" fmla="*/ 342741230 w 350"/>
                    <a:gd name="T65" fmla="*/ 1950601116 h 774"/>
                    <a:gd name="T66" fmla="*/ 493950651 w 350"/>
                    <a:gd name="T67" fmla="*/ 1925399561 h 774"/>
                    <a:gd name="T68" fmla="*/ 665321216 w 350"/>
                    <a:gd name="T69" fmla="*/ 1880036763 h 774"/>
                    <a:gd name="T70" fmla="*/ 781248363 w 350"/>
                    <a:gd name="T71" fmla="*/ 1834673965 h 774"/>
                    <a:gd name="T72" fmla="*/ 826611160 w 350"/>
                    <a:gd name="T73" fmla="*/ 1703625881 h 774"/>
                    <a:gd name="T74" fmla="*/ 821570849 w 350"/>
                    <a:gd name="T75" fmla="*/ 1340723099 h 774"/>
                    <a:gd name="T76" fmla="*/ 821570849 w 350"/>
                    <a:gd name="T77" fmla="*/ 1159271906 h 774"/>
                    <a:gd name="T78" fmla="*/ 796369296 w 350"/>
                    <a:gd name="T79" fmla="*/ 1028223823 h 774"/>
                    <a:gd name="T80" fmla="*/ 776208053 w 350"/>
                    <a:gd name="T81" fmla="*/ 967740092 h 774"/>
                    <a:gd name="T82" fmla="*/ 861893534 w 350"/>
                    <a:gd name="T83" fmla="*/ 751006524 h 774"/>
                    <a:gd name="T84" fmla="*/ 877014466 w 350"/>
                    <a:gd name="T85" fmla="*/ 705643726 h 774"/>
                    <a:gd name="T86" fmla="*/ 877014466 w 350"/>
                    <a:gd name="T87" fmla="*/ 685482482 h 774"/>
                    <a:gd name="T88" fmla="*/ 705643702 w 350"/>
                    <a:gd name="T89" fmla="*/ 619958440 h 774"/>
                    <a:gd name="T90" fmla="*/ 685482459 w 350"/>
                    <a:gd name="T91" fmla="*/ 650200306 h 774"/>
                    <a:gd name="T92" fmla="*/ 700603392 w 350"/>
                    <a:gd name="T93" fmla="*/ 594756886 h 774"/>
                    <a:gd name="T94" fmla="*/ 710684013 w 350"/>
                    <a:gd name="T95" fmla="*/ 604837508 h 774"/>
                    <a:gd name="T96" fmla="*/ 705643702 w 350"/>
                    <a:gd name="T97" fmla="*/ 619958440 h 774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w 350"/>
                    <a:gd name="T148" fmla="*/ 0 h 774"/>
                    <a:gd name="T149" fmla="*/ 350 w 350"/>
                    <a:gd name="T150" fmla="*/ 774 h 774"/>
                  </a:gdLst>
                  <a:ahLst/>
                  <a:cxnLst>
                    <a:cxn ang="T98">
                      <a:pos x="T0" y="T1"/>
                    </a:cxn>
                    <a:cxn ang="T99">
                      <a:pos x="T2" y="T3"/>
                    </a:cxn>
                    <a:cxn ang="T100">
                      <a:pos x="T4" y="T5"/>
                    </a:cxn>
                    <a:cxn ang="T101">
                      <a:pos x="T6" y="T7"/>
                    </a:cxn>
                    <a:cxn ang="T102">
                      <a:pos x="T8" y="T9"/>
                    </a:cxn>
                    <a:cxn ang="T103">
                      <a:pos x="T10" y="T11"/>
                    </a:cxn>
                    <a:cxn ang="T104">
                      <a:pos x="T12" y="T13"/>
                    </a:cxn>
                    <a:cxn ang="T105">
                      <a:pos x="T14" y="T15"/>
                    </a:cxn>
                    <a:cxn ang="T106">
                      <a:pos x="T16" y="T17"/>
                    </a:cxn>
                    <a:cxn ang="T107">
                      <a:pos x="T18" y="T19"/>
                    </a:cxn>
                    <a:cxn ang="T108">
                      <a:pos x="T20" y="T21"/>
                    </a:cxn>
                    <a:cxn ang="T109">
                      <a:pos x="T22" y="T23"/>
                    </a:cxn>
                    <a:cxn ang="T110">
                      <a:pos x="T24" y="T25"/>
                    </a:cxn>
                    <a:cxn ang="T111">
                      <a:pos x="T26" y="T27"/>
                    </a:cxn>
                    <a:cxn ang="T112">
                      <a:pos x="T28" y="T29"/>
                    </a:cxn>
                    <a:cxn ang="T113">
                      <a:pos x="T30" y="T31"/>
                    </a:cxn>
                    <a:cxn ang="T114">
                      <a:pos x="T32" y="T33"/>
                    </a:cxn>
                    <a:cxn ang="T115">
                      <a:pos x="T34" y="T35"/>
                    </a:cxn>
                    <a:cxn ang="T116">
                      <a:pos x="T36" y="T37"/>
                    </a:cxn>
                    <a:cxn ang="T117">
                      <a:pos x="T38" y="T39"/>
                    </a:cxn>
                    <a:cxn ang="T118">
                      <a:pos x="T40" y="T41"/>
                    </a:cxn>
                    <a:cxn ang="T119">
                      <a:pos x="T42" y="T43"/>
                    </a:cxn>
                    <a:cxn ang="T120">
                      <a:pos x="T44" y="T45"/>
                    </a:cxn>
                    <a:cxn ang="T121">
                      <a:pos x="T46" y="T47"/>
                    </a:cxn>
                    <a:cxn ang="T122">
                      <a:pos x="T48" y="T49"/>
                    </a:cxn>
                    <a:cxn ang="T123">
                      <a:pos x="T50" y="T51"/>
                    </a:cxn>
                    <a:cxn ang="T124">
                      <a:pos x="T52" y="T53"/>
                    </a:cxn>
                    <a:cxn ang="T125">
                      <a:pos x="T54" y="T55"/>
                    </a:cxn>
                    <a:cxn ang="T126">
                      <a:pos x="T56" y="T57"/>
                    </a:cxn>
                    <a:cxn ang="T127">
                      <a:pos x="T58" y="T59"/>
                    </a:cxn>
                    <a:cxn ang="T128">
                      <a:pos x="T60" y="T61"/>
                    </a:cxn>
                    <a:cxn ang="T129">
                      <a:pos x="T62" y="T63"/>
                    </a:cxn>
                    <a:cxn ang="T130">
                      <a:pos x="T64" y="T65"/>
                    </a:cxn>
                    <a:cxn ang="T131">
                      <a:pos x="T66" y="T67"/>
                    </a:cxn>
                    <a:cxn ang="T132">
                      <a:pos x="T68" y="T69"/>
                    </a:cxn>
                    <a:cxn ang="T133">
                      <a:pos x="T70" y="T71"/>
                    </a:cxn>
                    <a:cxn ang="T134">
                      <a:pos x="T72" y="T73"/>
                    </a:cxn>
                    <a:cxn ang="T135">
                      <a:pos x="T74" y="T75"/>
                    </a:cxn>
                    <a:cxn ang="T136">
                      <a:pos x="T76" y="T77"/>
                    </a:cxn>
                    <a:cxn ang="T137">
                      <a:pos x="T78" y="T79"/>
                    </a:cxn>
                    <a:cxn ang="T138">
                      <a:pos x="T80" y="T81"/>
                    </a:cxn>
                    <a:cxn ang="T139">
                      <a:pos x="T82" y="T83"/>
                    </a:cxn>
                    <a:cxn ang="T140">
                      <a:pos x="T84" y="T85"/>
                    </a:cxn>
                    <a:cxn ang="T141">
                      <a:pos x="T86" y="T87"/>
                    </a:cxn>
                    <a:cxn ang="T142">
                      <a:pos x="T88" y="T89"/>
                    </a:cxn>
                    <a:cxn ang="T143">
                      <a:pos x="T90" y="T91"/>
                    </a:cxn>
                    <a:cxn ang="T144">
                      <a:pos x="T92" y="T93"/>
                    </a:cxn>
                    <a:cxn ang="T145">
                      <a:pos x="T94" y="T95"/>
                    </a:cxn>
                    <a:cxn ang="T146">
                      <a:pos x="T96" y="T97"/>
                    </a:cxn>
                  </a:cxnLst>
                  <a:rect l="T147" t="T148" r="T149" b="T150"/>
                  <a:pathLst>
                    <a:path w="350" h="774">
                      <a:moveTo>
                        <a:pt x="344" y="262"/>
                      </a:moveTo>
                      <a:lnTo>
                        <a:pt x="344" y="262"/>
                      </a:lnTo>
                      <a:lnTo>
                        <a:pt x="322" y="164"/>
                      </a:lnTo>
                      <a:lnTo>
                        <a:pt x="300" y="102"/>
                      </a:lnTo>
                      <a:lnTo>
                        <a:pt x="300" y="96"/>
                      </a:lnTo>
                      <a:lnTo>
                        <a:pt x="300" y="88"/>
                      </a:lnTo>
                      <a:lnTo>
                        <a:pt x="296" y="80"/>
                      </a:lnTo>
                      <a:lnTo>
                        <a:pt x="294" y="76"/>
                      </a:lnTo>
                      <a:lnTo>
                        <a:pt x="294" y="72"/>
                      </a:lnTo>
                      <a:lnTo>
                        <a:pt x="292" y="56"/>
                      </a:lnTo>
                      <a:lnTo>
                        <a:pt x="288" y="46"/>
                      </a:lnTo>
                      <a:lnTo>
                        <a:pt x="284" y="40"/>
                      </a:lnTo>
                      <a:lnTo>
                        <a:pt x="280" y="36"/>
                      </a:lnTo>
                      <a:lnTo>
                        <a:pt x="270" y="30"/>
                      </a:lnTo>
                      <a:lnTo>
                        <a:pt x="260" y="26"/>
                      </a:lnTo>
                      <a:lnTo>
                        <a:pt x="258" y="26"/>
                      </a:lnTo>
                      <a:lnTo>
                        <a:pt x="234" y="20"/>
                      </a:lnTo>
                      <a:lnTo>
                        <a:pt x="226" y="18"/>
                      </a:lnTo>
                      <a:lnTo>
                        <a:pt x="212" y="14"/>
                      </a:lnTo>
                      <a:lnTo>
                        <a:pt x="176" y="8"/>
                      </a:lnTo>
                      <a:lnTo>
                        <a:pt x="120" y="0"/>
                      </a:lnTo>
                      <a:lnTo>
                        <a:pt x="112" y="0"/>
                      </a:lnTo>
                      <a:lnTo>
                        <a:pt x="98" y="4"/>
                      </a:lnTo>
                      <a:lnTo>
                        <a:pt x="84" y="8"/>
                      </a:lnTo>
                      <a:lnTo>
                        <a:pt x="76" y="14"/>
                      </a:lnTo>
                      <a:lnTo>
                        <a:pt x="68" y="18"/>
                      </a:lnTo>
                      <a:lnTo>
                        <a:pt x="58" y="22"/>
                      </a:lnTo>
                      <a:lnTo>
                        <a:pt x="42" y="28"/>
                      </a:lnTo>
                      <a:lnTo>
                        <a:pt x="28" y="32"/>
                      </a:lnTo>
                      <a:lnTo>
                        <a:pt x="12" y="36"/>
                      </a:lnTo>
                      <a:lnTo>
                        <a:pt x="8" y="38"/>
                      </a:lnTo>
                      <a:lnTo>
                        <a:pt x="6" y="42"/>
                      </a:lnTo>
                      <a:lnTo>
                        <a:pt x="4" y="48"/>
                      </a:lnTo>
                      <a:lnTo>
                        <a:pt x="0" y="60"/>
                      </a:lnTo>
                      <a:lnTo>
                        <a:pt x="0" y="70"/>
                      </a:lnTo>
                      <a:lnTo>
                        <a:pt x="2" y="80"/>
                      </a:lnTo>
                      <a:lnTo>
                        <a:pt x="6" y="86"/>
                      </a:lnTo>
                      <a:lnTo>
                        <a:pt x="18" y="106"/>
                      </a:lnTo>
                      <a:lnTo>
                        <a:pt x="30" y="158"/>
                      </a:lnTo>
                      <a:lnTo>
                        <a:pt x="42" y="208"/>
                      </a:lnTo>
                      <a:lnTo>
                        <a:pt x="50" y="224"/>
                      </a:lnTo>
                      <a:lnTo>
                        <a:pt x="56" y="240"/>
                      </a:lnTo>
                      <a:lnTo>
                        <a:pt x="60" y="252"/>
                      </a:lnTo>
                      <a:lnTo>
                        <a:pt x="64" y="266"/>
                      </a:lnTo>
                      <a:lnTo>
                        <a:pt x="72" y="284"/>
                      </a:lnTo>
                      <a:lnTo>
                        <a:pt x="80" y="304"/>
                      </a:lnTo>
                      <a:lnTo>
                        <a:pt x="82" y="312"/>
                      </a:lnTo>
                      <a:lnTo>
                        <a:pt x="84" y="318"/>
                      </a:lnTo>
                      <a:lnTo>
                        <a:pt x="82" y="332"/>
                      </a:lnTo>
                      <a:lnTo>
                        <a:pt x="78" y="346"/>
                      </a:lnTo>
                      <a:lnTo>
                        <a:pt x="72" y="364"/>
                      </a:lnTo>
                      <a:lnTo>
                        <a:pt x="64" y="398"/>
                      </a:lnTo>
                      <a:lnTo>
                        <a:pt x="54" y="438"/>
                      </a:lnTo>
                      <a:lnTo>
                        <a:pt x="48" y="464"/>
                      </a:lnTo>
                      <a:lnTo>
                        <a:pt x="42" y="484"/>
                      </a:lnTo>
                      <a:lnTo>
                        <a:pt x="46" y="488"/>
                      </a:lnTo>
                      <a:lnTo>
                        <a:pt x="52" y="492"/>
                      </a:lnTo>
                      <a:lnTo>
                        <a:pt x="58" y="494"/>
                      </a:lnTo>
                      <a:lnTo>
                        <a:pt x="58" y="506"/>
                      </a:lnTo>
                      <a:lnTo>
                        <a:pt x="58" y="524"/>
                      </a:lnTo>
                      <a:lnTo>
                        <a:pt x="58" y="556"/>
                      </a:lnTo>
                      <a:lnTo>
                        <a:pt x="60" y="606"/>
                      </a:lnTo>
                      <a:lnTo>
                        <a:pt x="62" y="656"/>
                      </a:lnTo>
                      <a:lnTo>
                        <a:pt x="62" y="672"/>
                      </a:lnTo>
                      <a:lnTo>
                        <a:pt x="62" y="682"/>
                      </a:lnTo>
                      <a:lnTo>
                        <a:pt x="62" y="710"/>
                      </a:lnTo>
                      <a:lnTo>
                        <a:pt x="62" y="732"/>
                      </a:lnTo>
                      <a:lnTo>
                        <a:pt x="62" y="752"/>
                      </a:lnTo>
                      <a:lnTo>
                        <a:pt x="72" y="756"/>
                      </a:lnTo>
                      <a:lnTo>
                        <a:pt x="108" y="770"/>
                      </a:lnTo>
                      <a:lnTo>
                        <a:pt x="122" y="774"/>
                      </a:lnTo>
                      <a:lnTo>
                        <a:pt x="136" y="774"/>
                      </a:lnTo>
                      <a:lnTo>
                        <a:pt x="152" y="774"/>
                      </a:lnTo>
                      <a:lnTo>
                        <a:pt x="168" y="770"/>
                      </a:lnTo>
                      <a:lnTo>
                        <a:pt x="196" y="764"/>
                      </a:lnTo>
                      <a:lnTo>
                        <a:pt x="214" y="760"/>
                      </a:lnTo>
                      <a:lnTo>
                        <a:pt x="264" y="746"/>
                      </a:lnTo>
                      <a:lnTo>
                        <a:pt x="288" y="738"/>
                      </a:lnTo>
                      <a:lnTo>
                        <a:pt x="310" y="728"/>
                      </a:lnTo>
                      <a:lnTo>
                        <a:pt x="330" y="716"/>
                      </a:lnTo>
                      <a:lnTo>
                        <a:pt x="328" y="676"/>
                      </a:lnTo>
                      <a:lnTo>
                        <a:pt x="326" y="616"/>
                      </a:lnTo>
                      <a:lnTo>
                        <a:pt x="326" y="532"/>
                      </a:lnTo>
                      <a:lnTo>
                        <a:pt x="324" y="468"/>
                      </a:lnTo>
                      <a:lnTo>
                        <a:pt x="326" y="460"/>
                      </a:lnTo>
                      <a:lnTo>
                        <a:pt x="326" y="446"/>
                      </a:lnTo>
                      <a:lnTo>
                        <a:pt x="324" y="434"/>
                      </a:lnTo>
                      <a:lnTo>
                        <a:pt x="316" y="408"/>
                      </a:lnTo>
                      <a:lnTo>
                        <a:pt x="310" y="392"/>
                      </a:lnTo>
                      <a:lnTo>
                        <a:pt x="308" y="384"/>
                      </a:lnTo>
                      <a:lnTo>
                        <a:pt x="324" y="344"/>
                      </a:lnTo>
                      <a:lnTo>
                        <a:pt x="338" y="314"/>
                      </a:lnTo>
                      <a:lnTo>
                        <a:pt x="342" y="298"/>
                      </a:lnTo>
                      <a:lnTo>
                        <a:pt x="344" y="290"/>
                      </a:lnTo>
                      <a:lnTo>
                        <a:pt x="348" y="280"/>
                      </a:lnTo>
                      <a:lnTo>
                        <a:pt x="350" y="276"/>
                      </a:lnTo>
                      <a:lnTo>
                        <a:pt x="348" y="272"/>
                      </a:lnTo>
                      <a:lnTo>
                        <a:pt x="344" y="262"/>
                      </a:lnTo>
                      <a:close/>
                      <a:moveTo>
                        <a:pt x="280" y="246"/>
                      </a:moveTo>
                      <a:lnTo>
                        <a:pt x="276" y="250"/>
                      </a:lnTo>
                      <a:lnTo>
                        <a:pt x="276" y="256"/>
                      </a:lnTo>
                      <a:lnTo>
                        <a:pt x="272" y="258"/>
                      </a:lnTo>
                      <a:lnTo>
                        <a:pt x="274" y="236"/>
                      </a:lnTo>
                      <a:lnTo>
                        <a:pt x="278" y="236"/>
                      </a:lnTo>
                      <a:lnTo>
                        <a:pt x="280" y="238"/>
                      </a:lnTo>
                      <a:lnTo>
                        <a:pt x="282" y="240"/>
                      </a:lnTo>
                      <a:lnTo>
                        <a:pt x="282" y="246"/>
                      </a:lnTo>
                      <a:lnTo>
                        <a:pt x="280" y="246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>
                    <a:latin typeface="+mn-lt"/>
                    <a:cs typeface="+mn-cs"/>
                  </a:endParaRPr>
                </a:p>
              </p:txBody>
            </p:sp>
            <p:sp>
              <p:nvSpPr>
                <p:cNvPr id="152" name="Freeform 139"/>
                <p:cNvSpPr>
                  <a:spLocks/>
                </p:cNvSpPr>
                <p:nvPr/>
              </p:nvSpPr>
              <p:spPr bwMode="auto">
                <a:xfrm>
                  <a:off x="3883421" y="3839315"/>
                  <a:ext cx="340332" cy="366929"/>
                </a:xfrm>
                <a:custGeom>
                  <a:avLst/>
                  <a:gdLst>
                    <a:gd name="T0" fmla="*/ 282257514 w 202"/>
                    <a:gd name="T1" fmla="*/ 10080625 h 216"/>
                    <a:gd name="T2" fmla="*/ 317539691 w 202"/>
                    <a:gd name="T3" fmla="*/ 5040313 h 216"/>
                    <a:gd name="T4" fmla="*/ 327620313 w 202"/>
                    <a:gd name="T5" fmla="*/ 10080625 h 216"/>
                    <a:gd name="T6" fmla="*/ 403224977 w 202"/>
                    <a:gd name="T7" fmla="*/ 15120939 h 216"/>
                    <a:gd name="T8" fmla="*/ 433466942 w 202"/>
                    <a:gd name="T9" fmla="*/ 30241879 h 216"/>
                    <a:gd name="T10" fmla="*/ 443547564 w 202"/>
                    <a:gd name="T11" fmla="*/ 45362812 h 216"/>
                    <a:gd name="T12" fmla="*/ 463708808 w 202"/>
                    <a:gd name="T13" fmla="*/ 100806246 h 216"/>
                    <a:gd name="T14" fmla="*/ 463708808 w 202"/>
                    <a:gd name="T15" fmla="*/ 156249693 h 216"/>
                    <a:gd name="T16" fmla="*/ 473789430 w 202"/>
                    <a:gd name="T17" fmla="*/ 226814098 h 216"/>
                    <a:gd name="T18" fmla="*/ 473789430 w 202"/>
                    <a:gd name="T19" fmla="*/ 307459075 h 216"/>
                    <a:gd name="T20" fmla="*/ 453628186 w 202"/>
                    <a:gd name="T21" fmla="*/ 372983119 h 216"/>
                    <a:gd name="T22" fmla="*/ 453628186 w 202"/>
                    <a:gd name="T23" fmla="*/ 393144363 h 216"/>
                    <a:gd name="T24" fmla="*/ 473789430 w 202"/>
                    <a:gd name="T25" fmla="*/ 443547573 h 216"/>
                    <a:gd name="T26" fmla="*/ 493950674 w 202"/>
                    <a:gd name="T27" fmla="*/ 453628195 h 216"/>
                    <a:gd name="T28" fmla="*/ 483870052 w 202"/>
                    <a:gd name="T29" fmla="*/ 453628195 h 216"/>
                    <a:gd name="T30" fmla="*/ 463708808 w 202"/>
                    <a:gd name="T31" fmla="*/ 453628195 h 216"/>
                    <a:gd name="T32" fmla="*/ 473789430 w 202"/>
                    <a:gd name="T33" fmla="*/ 478829751 h 216"/>
                    <a:gd name="T34" fmla="*/ 498990985 w 202"/>
                    <a:gd name="T35" fmla="*/ 493950684 h 216"/>
                    <a:gd name="T36" fmla="*/ 509071607 w 202"/>
                    <a:gd name="T37" fmla="*/ 488910373 h 216"/>
                    <a:gd name="T38" fmla="*/ 493950674 w 202"/>
                    <a:gd name="T39" fmla="*/ 534273172 h 216"/>
                    <a:gd name="T40" fmla="*/ 473789430 w 202"/>
                    <a:gd name="T41" fmla="*/ 544353795 h 216"/>
                    <a:gd name="T42" fmla="*/ 453628186 w 202"/>
                    <a:gd name="T43" fmla="*/ 544353795 h 216"/>
                    <a:gd name="T44" fmla="*/ 418346010 w 202"/>
                    <a:gd name="T45" fmla="*/ 534273172 h 216"/>
                    <a:gd name="T46" fmla="*/ 398184666 w 202"/>
                    <a:gd name="T47" fmla="*/ 509071617 h 216"/>
                    <a:gd name="T48" fmla="*/ 398184666 w 202"/>
                    <a:gd name="T49" fmla="*/ 493950684 h 216"/>
                    <a:gd name="T50" fmla="*/ 388104044 w 202"/>
                    <a:gd name="T51" fmla="*/ 478829751 h 216"/>
                    <a:gd name="T52" fmla="*/ 352821868 w 202"/>
                    <a:gd name="T53" fmla="*/ 468749128 h 216"/>
                    <a:gd name="T54" fmla="*/ 337700935 w 202"/>
                    <a:gd name="T55" fmla="*/ 453628195 h 216"/>
                    <a:gd name="T56" fmla="*/ 196572178 w 202"/>
                    <a:gd name="T57" fmla="*/ 453628195 h 216"/>
                    <a:gd name="T58" fmla="*/ 176410934 w 202"/>
                    <a:gd name="T59" fmla="*/ 478829751 h 216"/>
                    <a:gd name="T60" fmla="*/ 176410934 w 202"/>
                    <a:gd name="T61" fmla="*/ 504031306 h 216"/>
                    <a:gd name="T62" fmla="*/ 171370623 w 202"/>
                    <a:gd name="T63" fmla="*/ 524192550 h 216"/>
                    <a:gd name="T64" fmla="*/ 151209379 w 202"/>
                    <a:gd name="T65" fmla="*/ 534273172 h 216"/>
                    <a:gd name="T66" fmla="*/ 141128757 w 202"/>
                    <a:gd name="T67" fmla="*/ 539313484 h 216"/>
                    <a:gd name="T68" fmla="*/ 120967513 w 202"/>
                    <a:gd name="T69" fmla="*/ 534273172 h 216"/>
                    <a:gd name="T70" fmla="*/ 70564378 w 202"/>
                    <a:gd name="T71" fmla="*/ 544353795 h 216"/>
                    <a:gd name="T72" fmla="*/ 35282189 w 202"/>
                    <a:gd name="T73" fmla="*/ 529232861 h 216"/>
                    <a:gd name="T74" fmla="*/ 15120939 w 202"/>
                    <a:gd name="T75" fmla="*/ 493950684 h 216"/>
                    <a:gd name="T76" fmla="*/ 0 w 202"/>
                    <a:gd name="T77" fmla="*/ 473789440 h 216"/>
                    <a:gd name="T78" fmla="*/ 30241878 w 202"/>
                    <a:gd name="T79" fmla="*/ 478829751 h 216"/>
                    <a:gd name="T80" fmla="*/ 35282189 w 202"/>
                    <a:gd name="T81" fmla="*/ 473789440 h 216"/>
                    <a:gd name="T82" fmla="*/ 45362811 w 202"/>
                    <a:gd name="T83" fmla="*/ 458668506 h 216"/>
                    <a:gd name="T84" fmla="*/ 65524068 w 202"/>
                    <a:gd name="T85" fmla="*/ 433466951 h 216"/>
                    <a:gd name="T86" fmla="*/ 60483757 w 202"/>
                    <a:gd name="T87" fmla="*/ 398184674 h 216"/>
                    <a:gd name="T88" fmla="*/ 55443446 w 202"/>
                    <a:gd name="T89" fmla="*/ 367942808 h 216"/>
                    <a:gd name="T90" fmla="*/ 45362811 w 202"/>
                    <a:gd name="T91" fmla="*/ 312499386 h 216"/>
                    <a:gd name="T92" fmla="*/ 55443446 w 202"/>
                    <a:gd name="T93" fmla="*/ 267136586 h 216"/>
                    <a:gd name="T94" fmla="*/ 80645000 w 202"/>
                    <a:gd name="T95" fmla="*/ 196572182 h 216"/>
                    <a:gd name="T96" fmla="*/ 90725622 w 202"/>
                    <a:gd name="T97" fmla="*/ 171370626 h 216"/>
                    <a:gd name="T98" fmla="*/ 120967513 w 202"/>
                    <a:gd name="T99" fmla="*/ 105846582 h 216"/>
                    <a:gd name="T100" fmla="*/ 181451245 w 202"/>
                    <a:gd name="T101" fmla="*/ 45362812 h 216"/>
                    <a:gd name="T102" fmla="*/ 236894715 w 202"/>
                    <a:gd name="T103" fmla="*/ 5040313 h 216"/>
                    <a:gd name="T104" fmla="*/ 272176892 w 202"/>
                    <a:gd name="T105" fmla="*/ 5040313 h 216"/>
                    <a:gd name="T106" fmla="*/ 282257514 w 202"/>
                    <a:gd name="T107" fmla="*/ 10080625 h 21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w 202"/>
                    <a:gd name="T163" fmla="*/ 0 h 216"/>
                    <a:gd name="T164" fmla="*/ 202 w 202"/>
                    <a:gd name="T165" fmla="*/ 216 h 216"/>
                  </a:gdLst>
                  <a:ahLst/>
                  <a:cxnLst>
                    <a:cxn ang="T108">
                      <a:pos x="T0" y="T1"/>
                    </a:cxn>
                    <a:cxn ang="T109">
                      <a:pos x="T2" y="T3"/>
                    </a:cxn>
                    <a:cxn ang="T110">
                      <a:pos x="T4" y="T5"/>
                    </a:cxn>
                    <a:cxn ang="T111">
                      <a:pos x="T6" y="T7"/>
                    </a:cxn>
                    <a:cxn ang="T112">
                      <a:pos x="T8" y="T9"/>
                    </a:cxn>
                    <a:cxn ang="T113">
                      <a:pos x="T10" y="T11"/>
                    </a:cxn>
                    <a:cxn ang="T114">
                      <a:pos x="T12" y="T13"/>
                    </a:cxn>
                    <a:cxn ang="T115">
                      <a:pos x="T14" y="T15"/>
                    </a:cxn>
                    <a:cxn ang="T116">
                      <a:pos x="T16" y="T17"/>
                    </a:cxn>
                    <a:cxn ang="T117">
                      <a:pos x="T18" y="T19"/>
                    </a:cxn>
                    <a:cxn ang="T118">
                      <a:pos x="T20" y="T21"/>
                    </a:cxn>
                    <a:cxn ang="T119">
                      <a:pos x="T22" y="T23"/>
                    </a:cxn>
                    <a:cxn ang="T120">
                      <a:pos x="T24" y="T25"/>
                    </a:cxn>
                    <a:cxn ang="T121">
                      <a:pos x="T26" y="T27"/>
                    </a:cxn>
                    <a:cxn ang="T122">
                      <a:pos x="T28" y="T29"/>
                    </a:cxn>
                    <a:cxn ang="T123">
                      <a:pos x="T30" y="T31"/>
                    </a:cxn>
                    <a:cxn ang="T124">
                      <a:pos x="T32" y="T33"/>
                    </a:cxn>
                    <a:cxn ang="T125">
                      <a:pos x="T34" y="T35"/>
                    </a:cxn>
                    <a:cxn ang="T126">
                      <a:pos x="T36" y="T37"/>
                    </a:cxn>
                    <a:cxn ang="T127">
                      <a:pos x="T38" y="T39"/>
                    </a:cxn>
                    <a:cxn ang="T128">
                      <a:pos x="T40" y="T41"/>
                    </a:cxn>
                    <a:cxn ang="T129">
                      <a:pos x="T42" y="T43"/>
                    </a:cxn>
                    <a:cxn ang="T130">
                      <a:pos x="T44" y="T45"/>
                    </a:cxn>
                    <a:cxn ang="T131">
                      <a:pos x="T46" y="T47"/>
                    </a:cxn>
                    <a:cxn ang="T132">
                      <a:pos x="T48" y="T49"/>
                    </a:cxn>
                    <a:cxn ang="T133">
                      <a:pos x="T50" y="T51"/>
                    </a:cxn>
                    <a:cxn ang="T134">
                      <a:pos x="T52" y="T53"/>
                    </a:cxn>
                    <a:cxn ang="T135">
                      <a:pos x="T54" y="T55"/>
                    </a:cxn>
                    <a:cxn ang="T136">
                      <a:pos x="T56" y="T57"/>
                    </a:cxn>
                    <a:cxn ang="T137">
                      <a:pos x="T58" y="T59"/>
                    </a:cxn>
                    <a:cxn ang="T138">
                      <a:pos x="T60" y="T61"/>
                    </a:cxn>
                    <a:cxn ang="T139">
                      <a:pos x="T62" y="T63"/>
                    </a:cxn>
                    <a:cxn ang="T140">
                      <a:pos x="T64" y="T65"/>
                    </a:cxn>
                    <a:cxn ang="T141">
                      <a:pos x="T66" y="T67"/>
                    </a:cxn>
                    <a:cxn ang="T142">
                      <a:pos x="T68" y="T69"/>
                    </a:cxn>
                    <a:cxn ang="T143">
                      <a:pos x="T70" y="T71"/>
                    </a:cxn>
                    <a:cxn ang="T144">
                      <a:pos x="T72" y="T73"/>
                    </a:cxn>
                    <a:cxn ang="T145">
                      <a:pos x="T74" y="T75"/>
                    </a:cxn>
                    <a:cxn ang="T146">
                      <a:pos x="T76" y="T77"/>
                    </a:cxn>
                    <a:cxn ang="T147">
                      <a:pos x="T78" y="T79"/>
                    </a:cxn>
                    <a:cxn ang="T148">
                      <a:pos x="T80" y="T81"/>
                    </a:cxn>
                    <a:cxn ang="T149">
                      <a:pos x="T82" y="T83"/>
                    </a:cxn>
                    <a:cxn ang="T150">
                      <a:pos x="T84" y="T85"/>
                    </a:cxn>
                    <a:cxn ang="T151">
                      <a:pos x="T86" y="T87"/>
                    </a:cxn>
                    <a:cxn ang="T152">
                      <a:pos x="T88" y="T89"/>
                    </a:cxn>
                    <a:cxn ang="T153">
                      <a:pos x="T90" y="T91"/>
                    </a:cxn>
                    <a:cxn ang="T154">
                      <a:pos x="T92" y="T93"/>
                    </a:cxn>
                    <a:cxn ang="T155">
                      <a:pos x="T94" y="T95"/>
                    </a:cxn>
                    <a:cxn ang="T156">
                      <a:pos x="T96" y="T97"/>
                    </a:cxn>
                    <a:cxn ang="T157">
                      <a:pos x="T98" y="T99"/>
                    </a:cxn>
                    <a:cxn ang="T158">
                      <a:pos x="T100" y="T101"/>
                    </a:cxn>
                    <a:cxn ang="T159">
                      <a:pos x="T102" y="T103"/>
                    </a:cxn>
                    <a:cxn ang="T160">
                      <a:pos x="T104" y="T105"/>
                    </a:cxn>
                    <a:cxn ang="T161">
                      <a:pos x="T106" y="T107"/>
                    </a:cxn>
                  </a:cxnLst>
                  <a:rect l="T162" t="T163" r="T164" b="T165"/>
                  <a:pathLst>
                    <a:path w="202" h="216">
                      <a:moveTo>
                        <a:pt x="112" y="4"/>
                      </a:moveTo>
                      <a:lnTo>
                        <a:pt x="112" y="4"/>
                      </a:lnTo>
                      <a:lnTo>
                        <a:pt x="120" y="2"/>
                      </a:lnTo>
                      <a:lnTo>
                        <a:pt x="126" y="2"/>
                      </a:lnTo>
                      <a:lnTo>
                        <a:pt x="130" y="4"/>
                      </a:lnTo>
                      <a:lnTo>
                        <a:pt x="146" y="4"/>
                      </a:lnTo>
                      <a:lnTo>
                        <a:pt x="160" y="6"/>
                      </a:lnTo>
                      <a:lnTo>
                        <a:pt x="166" y="8"/>
                      </a:lnTo>
                      <a:lnTo>
                        <a:pt x="172" y="12"/>
                      </a:lnTo>
                      <a:lnTo>
                        <a:pt x="176" y="18"/>
                      </a:lnTo>
                      <a:lnTo>
                        <a:pt x="180" y="24"/>
                      </a:lnTo>
                      <a:lnTo>
                        <a:pt x="184" y="40"/>
                      </a:lnTo>
                      <a:lnTo>
                        <a:pt x="184" y="54"/>
                      </a:lnTo>
                      <a:lnTo>
                        <a:pt x="184" y="62"/>
                      </a:lnTo>
                      <a:lnTo>
                        <a:pt x="188" y="90"/>
                      </a:lnTo>
                      <a:lnTo>
                        <a:pt x="190" y="108"/>
                      </a:lnTo>
                      <a:lnTo>
                        <a:pt x="188" y="122"/>
                      </a:lnTo>
                      <a:lnTo>
                        <a:pt x="180" y="148"/>
                      </a:lnTo>
                      <a:lnTo>
                        <a:pt x="180" y="156"/>
                      </a:lnTo>
                      <a:lnTo>
                        <a:pt x="182" y="166"/>
                      </a:lnTo>
                      <a:lnTo>
                        <a:pt x="188" y="176"/>
                      </a:lnTo>
                      <a:lnTo>
                        <a:pt x="192" y="178"/>
                      </a:lnTo>
                      <a:lnTo>
                        <a:pt x="196" y="180"/>
                      </a:lnTo>
                      <a:lnTo>
                        <a:pt x="192" y="180"/>
                      </a:lnTo>
                      <a:lnTo>
                        <a:pt x="188" y="180"/>
                      </a:lnTo>
                      <a:lnTo>
                        <a:pt x="184" y="180"/>
                      </a:lnTo>
                      <a:lnTo>
                        <a:pt x="188" y="190"/>
                      </a:lnTo>
                      <a:lnTo>
                        <a:pt x="194" y="194"/>
                      </a:lnTo>
                      <a:lnTo>
                        <a:pt x="198" y="196"/>
                      </a:lnTo>
                      <a:lnTo>
                        <a:pt x="202" y="194"/>
                      </a:lnTo>
                      <a:lnTo>
                        <a:pt x="200" y="204"/>
                      </a:lnTo>
                      <a:lnTo>
                        <a:pt x="196" y="212"/>
                      </a:lnTo>
                      <a:lnTo>
                        <a:pt x="192" y="214"/>
                      </a:lnTo>
                      <a:lnTo>
                        <a:pt x="188" y="216"/>
                      </a:lnTo>
                      <a:lnTo>
                        <a:pt x="180" y="216"/>
                      </a:lnTo>
                      <a:lnTo>
                        <a:pt x="170" y="214"/>
                      </a:lnTo>
                      <a:lnTo>
                        <a:pt x="166" y="212"/>
                      </a:lnTo>
                      <a:lnTo>
                        <a:pt x="162" y="208"/>
                      </a:lnTo>
                      <a:lnTo>
                        <a:pt x="158" y="202"/>
                      </a:lnTo>
                      <a:lnTo>
                        <a:pt x="158" y="196"/>
                      </a:lnTo>
                      <a:lnTo>
                        <a:pt x="156" y="192"/>
                      </a:lnTo>
                      <a:lnTo>
                        <a:pt x="154" y="190"/>
                      </a:lnTo>
                      <a:lnTo>
                        <a:pt x="144" y="188"/>
                      </a:lnTo>
                      <a:lnTo>
                        <a:pt x="140" y="186"/>
                      </a:lnTo>
                      <a:lnTo>
                        <a:pt x="136" y="184"/>
                      </a:lnTo>
                      <a:lnTo>
                        <a:pt x="134" y="180"/>
                      </a:lnTo>
                      <a:lnTo>
                        <a:pt x="134" y="176"/>
                      </a:lnTo>
                      <a:lnTo>
                        <a:pt x="78" y="180"/>
                      </a:lnTo>
                      <a:lnTo>
                        <a:pt x="70" y="190"/>
                      </a:lnTo>
                      <a:lnTo>
                        <a:pt x="70" y="194"/>
                      </a:lnTo>
                      <a:lnTo>
                        <a:pt x="70" y="200"/>
                      </a:lnTo>
                      <a:lnTo>
                        <a:pt x="70" y="206"/>
                      </a:lnTo>
                      <a:lnTo>
                        <a:pt x="68" y="208"/>
                      </a:lnTo>
                      <a:lnTo>
                        <a:pt x="64" y="212"/>
                      </a:lnTo>
                      <a:lnTo>
                        <a:pt x="60" y="212"/>
                      </a:lnTo>
                      <a:lnTo>
                        <a:pt x="56" y="214"/>
                      </a:lnTo>
                      <a:lnTo>
                        <a:pt x="48" y="212"/>
                      </a:lnTo>
                      <a:lnTo>
                        <a:pt x="42" y="214"/>
                      </a:lnTo>
                      <a:lnTo>
                        <a:pt x="28" y="216"/>
                      </a:lnTo>
                      <a:lnTo>
                        <a:pt x="22" y="214"/>
                      </a:lnTo>
                      <a:lnTo>
                        <a:pt x="14" y="210"/>
                      </a:lnTo>
                      <a:lnTo>
                        <a:pt x="8" y="204"/>
                      </a:lnTo>
                      <a:lnTo>
                        <a:pt x="6" y="196"/>
                      </a:lnTo>
                      <a:lnTo>
                        <a:pt x="0" y="188"/>
                      </a:lnTo>
                      <a:lnTo>
                        <a:pt x="6" y="190"/>
                      </a:lnTo>
                      <a:lnTo>
                        <a:pt x="12" y="190"/>
                      </a:lnTo>
                      <a:lnTo>
                        <a:pt x="14" y="190"/>
                      </a:lnTo>
                      <a:lnTo>
                        <a:pt x="14" y="188"/>
                      </a:lnTo>
                      <a:lnTo>
                        <a:pt x="18" y="182"/>
                      </a:lnTo>
                      <a:lnTo>
                        <a:pt x="24" y="178"/>
                      </a:lnTo>
                      <a:lnTo>
                        <a:pt x="26" y="172"/>
                      </a:lnTo>
                      <a:lnTo>
                        <a:pt x="26" y="166"/>
                      </a:lnTo>
                      <a:lnTo>
                        <a:pt x="24" y="158"/>
                      </a:lnTo>
                      <a:lnTo>
                        <a:pt x="22" y="146"/>
                      </a:lnTo>
                      <a:lnTo>
                        <a:pt x="18" y="134"/>
                      </a:lnTo>
                      <a:lnTo>
                        <a:pt x="18" y="124"/>
                      </a:lnTo>
                      <a:lnTo>
                        <a:pt x="18" y="114"/>
                      </a:lnTo>
                      <a:lnTo>
                        <a:pt x="22" y="106"/>
                      </a:lnTo>
                      <a:lnTo>
                        <a:pt x="30" y="88"/>
                      </a:lnTo>
                      <a:lnTo>
                        <a:pt x="32" y="78"/>
                      </a:lnTo>
                      <a:lnTo>
                        <a:pt x="36" y="68"/>
                      </a:lnTo>
                      <a:lnTo>
                        <a:pt x="40" y="56"/>
                      </a:lnTo>
                      <a:lnTo>
                        <a:pt x="48" y="42"/>
                      </a:lnTo>
                      <a:lnTo>
                        <a:pt x="60" y="30"/>
                      </a:lnTo>
                      <a:lnTo>
                        <a:pt x="72" y="18"/>
                      </a:lnTo>
                      <a:lnTo>
                        <a:pt x="84" y="10"/>
                      </a:lnTo>
                      <a:lnTo>
                        <a:pt x="94" y="2"/>
                      </a:lnTo>
                      <a:lnTo>
                        <a:pt x="104" y="0"/>
                      </a:lnTo>
                      <a:lnTo>
                        <a:pt x="108" y="2"/>
                      </a:lnTo>
                      <a:lnTo>
                        <a:pt x="112" y="4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>
                    <a:latin typeface="+mn-lt"/>
                    <a:cs typeface="+mn-cs"/>
                  </a:endParaRPr>
                </a:p>
              </p:txBody>
            </p:sp>
            <p:sp>
              <p:nvSpPr>
                <p:cNvPr id="153" name="Freeform 141"/>
                <p:cNvSpPr>
                  <a:spLocks/>
                </p:cNvSpPr>
                <p:nvPr/>
              </p:nvSpPr>
              <p:spPr bwMode="auto">
                <a:xfrm>
                  <a:off x="4000410" y="3881858"/>
                  <a:ext cx="175485" cy="249937"/>
                </a:xfrm>
                <a:custGeom>
                  <a:avLst/>
                  <a:gdLst>
                    <a:gd name="T0" fmla="*/ 231854407 w 106"/>
                    <a:gd name="T1" fmla="*/ 50403117 h 150"/>
                    <a:gd name="T2" fmla="*/ 231854407 w 106"/>
                    <a:gd name="T3" fmla="*/ 50403117 h 150"/>
                    <a:gd name="T4" fmla="*/ 246975341 w 106"/>
                    <a:gd name="T5" fmla="*/ 85685302 h 150"/>
                    <a:gd name="T6" fmla="*/ 262096274 w 106"/>
                    <a:gd name="T7" fmla="*/ 115927190 h 150"/>
                    <a:gd name="T8" fmla="*/ 267136585 w 106"/>
                    <a:gd name="T9" fmla="*/ 141128742 h 150"/>
                    <a:gd name="T10" fmla="*/ 267136585 w 106"/>
                    <a:gd name="T11" fmla="*/ 141128742 h 150"/>
                    <a:gd name="T12" fmla="*/ 267136585 w 106"/>
                    <a:gd name="T13" fmla="*/ 186491536 h 150"/>
                    <a:gd name="T14" fmla="*/ 267136585 w 106"/>
                    <a:gd name="T15" fmla="*/ 186491536 h 150"/>
                    <a:gd name="T16" fmla="*/ 257055963 w 106"/>
                    <a:gd name="T17" fmla="*/ 241935001 h 150"/>
                    <a:gd name="T18" fmla="*/ 252015652 w 106"/>
                    <a:gd name="T19" fmla="*/ 277217174 h 150"/>
                    <a:gd name="T20" fmla="*/ 241935030 w 106"/>
                    <a:gd name="T21" fmla="*/ 302418726 h 150"/>
                    <a:gd name="T22" fmla="*/ 241935030 w 106"/>
                    <a:gd name="T23" fmla="*/ 302418726 h 150"/>
                    <a:gd name="T24" fmla="*/ 201612492 w 106"/>
                    <a:gd name="T25" fmla="*/ 367942762 h 150"/>
                    <a:gd name="T26" fmla="*/ 201612492 w 106"/>
                    <a:gd name="T27" fmla="*/ 367942762 h 150"/>
                    <a:gd name="T28" fmla="*/ 191531869 w 106"/>
                    <a:gd name="T29" fmla="*/ 372983072 h 150"/>
                    <a:gd name="T30" fmla="*/ 176410936 w 106"/>
                    <a:gd name="T31" fmla="*/ 378023383 h 150"/>
                    <a:gd name="T32" fmla="*/ 161290003 w 106"/>
                    <a:gd name="T33" fmla="*/ 378023383 h 150"/>
                    <a:gd name="T34" fmla="*/ 161290003 w 106"/>
                    <a:gd name="T35" fmla="*/ 378023383 h 150"/>
                    <a:gd name="T36" fmla="*/ 136088448 w 106"/>
                    <a:gd name="T37" fmla="*/ 372983072 h 150"/>
                    <a:gd name="T38" fmla="*/ 105846582 w 106"/>
                    <a:gd name="T39" fmla="*/ 362902452 h 150"/>
                    <a:gd name="T40" fmla="*/ 65524068 w 106"/>
                    <a:gd name="T41" fmla="*/ 342741210 h 150"/>
                    <a:gd name="T42" fmla="*/ 65524068 w 106"/>
                    <a:gd name="T43" fmla="*/ 342741210 h 150"/>
                    <a:gd name="T44" fmla="*/ 40322501 w 106"/>
                    <a:gd name="T45" fmla="*/ 332660589 h 150"/>
                    <a:gd name="T46" fmla="*/ 20161250 w 106"/>
                    <a:gd name="T47" fmla="*/ 317539658 h 150"/>
                    <a:gd name="T48" fmla="*/ 10080625 w 106"/>
                    <a:gd name="T49" fmla="*/ 307459037 h 150"/>
                    <a:gd name="T50" fmla="*/ 5040313 w 106"/>
                    <a:gd name="T51" fmla="*/ 297378416 h 150"/>
                    <a:gd name="T52" fmla="*/ 5040313 w 106"/>
                    <a:gd name="T53" fmla="*/ 297378416 h 150"/>
                    <a:gd name="T54" fmla="*/ 0 w 106"/>
                    <a:gd name="T55" fmla="*/ 262096243 h 150"/>
                    <a:gd name="T56" fmla="*/ 0 w 106"/>
                    <a:gd name="T57" fmla="*/ 246975311 h 150"/>
                    <a:gd name="T58" fmla="*/ 0 w 106"/>
                    <a:gd name="T59" fmla="*/ 246975311 h 150"/>
                    <a:gd name="T60" fmla="*/ 10080625 w 106"/>
                    <a:gd name="T61" fmla="*/ 206652778 h 150"/>
                    <a:gd name="T62" fmla="*/ 15120939 w 106"/>
                    <a:gd name="T63" fmla="*/ 166330294 h 150"/>
                    <a:gd name="T64" fmla="*/ 20161250 w 106"/>
                    <a:gd name="T65" fmla="*/ 126007811 h 150"/>
                    <a:gd name="T66" fmla="*/ 20161250 w 106"/>
                    <a:gd name="T67" fmla="*/ 126007811 h 150"/>
                    <a:gd name="T68" fmla="*/ 20161250 w 106"/>
                    <a:gd name="T69" fmla="*/ 105846569 h 150"/>
                    <a:gd name="T70" fmla="*/ 25201561 w 106"/>
                    <a:gd name="T71" fmla="*/ 85685302 h 150"/>
                    <a:gd name="T72" fmla="*/ 40322501 w 106"/>
                    <a:gd name="T73" fmla="*/ 65524061 h 150"/>
                    <a:gd name="T74" fmla="*/ 50403123 w 106"/>
                    <a:gd name="T75" fmla="*/ 45362806 h 150"/>
                    <a:gd name="T76" fmla="*/ 65524068 w 106"/>
                    <a:gd name="T77" fmla="*/ 30241875 h 150"/>
                    <a:gd name="T78" fmla="*/ 85685313 w 106"/>
                    <a:gd name="T79" fmla="*/ 15120938 h 150"/>
                    <a:gd name="T80" fmla="*/ 100806246 w 106"/>
                    <a:gd name="T81" fmla="*/ 5040312 h 150"/>
                    <a:gd name="T82" fmla="*/ 120967515 w 106"/>
                    <a:gd name="T83" fmla="*/ 0 h 150"/>
                    <a:gd name="T84" fmla="*/ 120967515 w 106"/>
                    <a:gd name="T85" fmla="*/ 0 h 150"/>
                    <a:gd name="T86" fmla="*/ 156249692 w 106"/>
                    <a:gd name="T87" fmla="*/ 5040312 h 150"/>
                    <a:gd name="T88" fmla="*/ 186491558 w 106"/>
                    <a:gd name="T89" fmla="*/ 15120938 h 150"/>
                    <a:gd name="T90" fmla="*/ 211693163 w 106"/>
                    <a:gd name="T91" fmla="*/ 30241875 h 150"/>
                    <a:gd name="T92" fmla="*/ 231854407 w 106"/>
                    <a:gd name="T93" fmla="*/ 50403117 h 150"/>
                    <a:gd name="T94" fmla="*/ 231854407 w 106"/>
                    <a:gd name="T95" fmla="*/ 50403117 h 150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w 106"/>
                    <a:gd name="T145" fmla="*/ 0 h 150"/>
                    <a:gd name="T146" fmla="*/ 106 w 106"/>
                    <a:gd name="T147" fmla="*/ 150 h 150"/>
                  </a:gdLst>
                  <a:ahLst/>
                  <a:cxnLst>
                    <a:cxn ang="T96">
                      <a:pos x="T0" y="T1"/>
                    </a:cxn>
                    <a:cxn ang="T97">
                      <a:pos x="T2" y="T3"/>
                    </a:cxn>
                    <a:cxn ang="T98">
                      <a:pos x="T4" y="T5"/>
                    </a:cxn>
                    <a:cxn ang="T99">
                      <a:pos x="T6" y="T7"/>
                    </a:cxn>
                    <a:cxn ang="T100">
                      <a:pos x="T8" y="T9"/>
                    </a:cxn>
                    <a:cxn ang="T101">
                      <a:pos x="T10" y="T11"/>
                    </a:cxn>
                    <a:cxn ang="T102">
                      <a:pos x="T12" y="T13"/>
                    </a:cxn>
                    <a:cxn ang="T103">
                      <a:pos x="T14" y="T15"/>
                    </a:cxn>
                    <a:cxn ang="T104">
                      <a:pos x="T16" y="T17"/>
                    </a:cxn>
                    <a:cxn ang="T105">
                      <a:pos x="T18" y="T19"/>
                    </a:cxn>
                    <a:cxn ang="T106">
                      <a:pos x="T20" y="T21"/>
                    </a:cxn>
                    <a:cxn ang="T107">
                      <a:pos x="T22" y="T23"/>
                    </a:cxn>
                    <a:cxn ang="T108">
                      <a:pos x="T24" y="T25"/>
                    </a:cxn>
                    <a:cxn ang="T109">
                      <a:pos x="T26" y="T27"/>
                    </a:cxn>
                    <a:cxn ang="T110">
                      <a:pos x="T28" y="T29"/>
                    </a:cxn>
                    <a:cxn ang="T111">
                      <a:pos x="T30" y="T31"/>
                    </a:cxn>
                    <a:cxn ang="T112">
                      <a:pos x="T32" y="T33"/>
                    </a:cxn>
                    <a:cxn ang="T113">
                      <a:pos x="T34" y="T35"/>
                    </a:cxn>
                    <a:cxn ang="T114">
                      <a:pos x="T36" y="T37"/>
                    </a:cxn>
                    <a:cxn ang="T115">
                      <a:pos x="T38" y="T39"/>
                    </a:cxn>
                    <a:cxn ang="T116">
                      <a:pos x="T40" y="T41"/>
                    </a:cxn>
                    <a:cxn ang="T117">
                      <a:pos x="T42" y="T43"/>
                    </a:cxn>
                    <a:cxn ang="T118">
                      <a:pos x="T44" y="T45"/>
                    </a:cxn>
                    <a:cxn ang="T119">
                      <a:pos x="T46" y="T47"/>
                    </a:cxn>
                    <a:cxn ang="T120">
                      <a:pos x="T48" y="T49"/>
                    </a:cxn>
                    <a:cxn ang="T121">
                      <a:pos x="T50" y="T51"/>
                    </a:cxn>
                    <a:cxn ang="T122">
                      <a:pos x="T52" y="T53"/>
                    </a:cxn>
                    <a:cxn ang="T123">
                      <a:pos x="T54" y="T55"/>
                    </a:cxn>
                    <a:cxn ang="T124">
                      <a:pos x="T56" y="T57"/>
                    </a:cxn>
                    <a:cxn ang="T125">
                      <a:pos x="T58" y="T59"/>
                    </a:cxn>
                    <a:cxn ang="T126">
                      <a:pos x="T60" y="T61"/>
                    </a:cxn>
                    <a:cxn ang="T127">
                      <a:pos x="T62" y="T63"/>
                    </a:cxn>
                    <a:cxn ang="T128">
                      <a:pos x="T64" y="T65"/>
                    </a:cxn>
                    <a:cxn ang="T129">
                      <a:pos x="T66" y="T67"/>
                    </a:cxn>
                    <a:cxn ang="T130">
                      <a:pos x="T68" y="T69"/>
                    </a:cxn>
                    <a:cxn ang="T131">
                      <a:pos x="T70" y="T71"/>
                    </a:cxn>
                    <a:cxn ang="T132">
                      <a:pos x="T72" y="T73"/>
                    </a:cxn>
                    <a:cxn ang="T133">
                      <a:pos x="T74" y="T75"/>
                    </a:cxn>
                    <a:cxn ang="T134">
                      <a:pos x="T76" y="T77"/>
                    </a:cxn>
                    <a:cxn ang="T135">
                      <a:pos x="T78" y="T79"/>
                    </a:cxn>
                    <a:cxn ang="T136">
                      <a:pos x="T80" y="T81"/>
                    </a:cxn>
                    <a:cxn ang="T137">
                      <a:pos x="T82" y="T83"/>
                    </a:cxn>
                    <a:cxn ang="T138">
                      <a:pos x="T84" y="T85"/>
                    </a:cxn>
                    <a:cxn ang="T139">
                      <a:pos x="T86" y="T87"/>
                    </a:cxn>
                    <a:cxn ang="T140">
                      <a:pos x="T88" y="T89"/>
                    </a:cxn>
                    <a:cxn ang="T141">
                      <a:pos x="T90" y="T91"/>
                    </a:cxn>
                    <a:cxn ang="T142">
                      <a:pos x="T92" y="T93"/>
                    </a:cxn>
                    <a:cxn ang="T143">
                      <a:pos x="T94" y="T95"/>
                    </a:cxn>
                  </a:cxnLst>
                  <a:rect l="T144" t="T145" r="T146" b="T147"/>
                  <a:pathLst>
                    <a:path w="106" h="150">
                      <a:moveTo>
                        <a:pt x="92" y="20"/>
                      </a:moveTo>
                      <a:lnTo>
                        <a:pt x="92" y="20"/>
                      </a:lnTo>
                      <a:lnTo>
                        <a:pt x="98" y="34"/>
                      </a:lnTo>
                      <a:lnTo>
                        <a:pt x="104" y="46"/>
                      </a:lnTo>
                      <a:lnTo>
                        <a:pt x="106" y="56"/>
                      </a:lnTo>
                      <a:lnTo>
                        <a:pt x="106" y="74"/>
                      </a:lnTo>
                      <a:lnTo>
                        <a:pt x="102" y="96"/>
                      </a:lnTo>
                      <a:lnTo>
                        <a:pt x="100" y="110"/>
                      </a:lnTo>
                      <a:lnTo>
                        <a:pt x="96" y="120"/>
                      </a:lnTo>
                      <a:lnTo>
                        <a:pt x="80" y="146"/>
                      </a:lnTo>
                      <a:lnTo>
                        <a:pt x="76" y="148"/>
                      </a:lnTo>
                      <a:lnTo>
                        <a:pt x="70" y="150"/>
                      </a:lnTo>
                      <a:lnTo>
                        <a:pt x="64" y="150"/>
                      </a:lnTo>
                      <a:lnTo>
                        <a:pt x="54" y="148"/>
                      </a:lnTo>
                      <a:lnTo>
                        <a:pt x="42" y="144"/>
                      </a:lnTo>
                      <a:lnTo>
                        <a:pt x="26" y="136"/>
                      </a:lnTo>
                      <a:lnTo>
                        <a:pt x="16" y="132"/>
                      </a:lnTo>
                      <a:lnTo>
                        <a:pt x="8" y="126"/>
                      </a:lnTo>
                      <a:lnTo>
                        <a:pt x="4" y="122"/>
                      </a:lnTo>
                      <a:lnTo>
                        <a:pt x="2" y="118"/>
                      </a:lnTo>
                      <a:lnTo>
                        <a:pt x="0" y="104"/>
                      </a:lnTo>
                      <a:lnTo>
                        <a:pt x="0" y="98"/>
                      </a:lnTo>
                      <a:lnTo>
                        <a:pt x="4" y="82"/>
                      </a:lnTo>
                      <a:lnTo>
                        <a:pt x="6" y="66"/>
                      </a:lnTo>
                      <a:lnTo>
                        <a:pt x="8" y="50"/>
                      </a:lnTo>
                      <a:lnTo>
                        <a:pt x="8" y="42"/>
                      </a:lnTo>
                      <a:lnTo>
                        <a:pt x="10" y="34"/>
                      </a:lnTo>
                      <a:lnTo>
                        <a:pt x="16" y="26"/>
                      </a:lnTo>
                      <a:lnTo>
                        <a:pt x="20" y="18"/>
                      </a:lnTo>
                      <a:lnTo>
                        <a:pt x="26" y="12"/>
                      </a:lnTo>
                      <a:lnTo>
                        <a:pt x="34" y="6"/>
                      </a:lnTo>
                      <a:lnTo>
                        <a:pt x="40" y="2"/>
                      </a:lnTo>
                      <a:lnTo>
                        <a:pt x="48" y="0"/>
                      </a:lnTo>
                      <a:lnTo>
                        <a:pt x="62" y="2"/>
                      </a:lnTo>
                      <a:lnTo>
                        <a:pt x="74" y="6"/>
                      </a:lnTo>
                      <a:lnTo>
                        <a:pt x="84" y="12"/>
                      </a:lnTo>
                      <a:lnTo>
                        <a:pt x="92" y="2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>
                    <a:latin typeface="+mn-lt"/>
                    <a:cs typeface="+mn-cs"/>
                  </a:endParaRPr>
                </a:p>
              </p:txBody>
            </p:sp>
            <p:sp>
              <p:nvSpPr>
                <p:cNvPr id="154" name="Freeform 142"/>
                <p:cNvSpPr>
                  <a:spLocks/>
                </p:cNvSpPr>
                <p:nvPr/>
              </p:nvSpPr>
              <p:spPr bwMode="auto">
                <a:xfrm>
                  <a:off x="3904692" y="4738028"/>
                  <a:ext cx="207391" cy="148900"/>
                </a:xfrm>
                <a:custGeom>
                  <a:avLst/>
                  <a:gdLst>
                    <a:gd name="T0" fmla="*/ 126007831 w 124"/>
                    <a:gd name="T1" fmla="*/ 40322498 h 88"/>
                    <a:gd name="T2" fmla="*/ 211693172 w 124"/>
                    <a:gd name="T3" fmla="*/ 5040312 h 88"/>
                    <a:gd name="T4" fmla="*/ 246975351 w 124"/>
                    <a:gd name="T5" fmla="*/ 0 h 88"/>
                    <a:gd name="T6" fmla="*/ 267136596 w 124"/>
                    <a:gd name="T7" fmla="*/ 10080625 h 88"/>
                    <a:gd name="T8" fmla="*/ 267136596 w 124"/>
                    <a:gd name="T9" fmla="*/ 15120938 h 88"/>
                    <a:gd name="T10" fmla="*/ 191531877 w 124"/>
                    <a:gd name="T11" fmla="*/ 50403120 h 88"/>
                    <a:gd name="T12" fmla="*/ 166330321 w 124"/>
                    <a:gd name="T13" fmla="*/ 65524065 h 88"/>
                    <a:gd name="T14" fmla="*/ 216733483 w 124"/>
                    <a:gd name="T15" fmla="*/ 65524065 h 88"/>
                    <a:gd name="T16" fmla="*/ 302418775 w 124"/>
                    <a:gd name="T17" fmla="*/ 75604686 h 88"/>
                    <a:gd name="T18" fmla="*/ 307459086 w 124"/>
                    <a:gd name="T19" fmla="*/ 80644997 h 88"/>
                    <a:gd name="T20" fmla="*/ 312499397 w 124"/>
                    <a:gd name="T21" fmla="*/ 90725618 h 88"/>
                    <a:gd name="T22" fmla="*/ 302418775 w 124"/>
                    <a:gd name="T23" fmla="*/ 95765929 h 88"/>
                    <a:gd name="T24" fmla="*/ 262096285 w 124"/>
                    <a:gd name="T25" fmla="*/ 100806240 h 88"/>
                    <a:gd name="T26" fmla="*/ 176410944 w 124"/>
                    <a:gd name="T27" fmla="*/ 110886886 h 88"/>
                    <a:gd name="T28" fmla="*/ 241935040 w 124"/>
                    <a:gd name="T29" fmla="*/ 110886886 h 88"/>
                    <a:gd name="T30" fmla="*/ 277217218 w 124"/>
                    <a:gd name="T31" fmla="*/ 110886886 h 88"/>
                    <a:gd name="T32" fmla="*/ 297378464 w 124"/>
                    <a:gd name="T33" fmla="*/ 120967508 h 88"/>
                    <a:gd name="T34" fmla="*/ 297378464 w 124"/>
                    <a:gd name="T35" fmla="*/ 126007818 h 88"/>
                    <a:gd name="T36" fmla="*/ 287297841 w 124"/>
                    <a:gd name="T37" fmla="*/ 141128751 h 88"/>
                    <a:gd name="T38" fmla="*/ 277217218 w 124"/>
                    <a:gd name="T39" fmla="*/ 141128751 h 88"/>
                    <a:gd name="T40" fmla="*/ 146169076 w 124"/>
                    <a:gd name="T41" fmla="*/ 156249683 h 88"/>
                    <a:gd name="T42" fmla="*/ 191531877 w 124"/>
                    <a:gd name="T43" fmla="*/ 166330304 h 88"/>
                    <a:gd name="T44" fmla="*/ 221773795 w 124"/>
                    <a:gd name="T45" fmla="*/ 161289994 h 88"/>
                    <a:gd name="T46" fmla="*/ 236894728 w 124"/>
                    <a:gd name="T47" fmla="*/ 161289994 h 88"/>
                    <a:gd name="T48" fmla="*/ 246975351 w 124"/>
                    <a:gd name="T49" fmla="*/ 171370615 h 88"/>
                    <a:gd name="T50" fmla="*/ 241935040 w 124"/>
                    <a:gd name="T51" fmla="*/ 181451237 h 88"/>
                    <a:gd name="T52" fmla="*/ 216733483 w 124"/>
                    <a:gd name="T53" fmla="*/ 186491547 h 88"/>
                    <a:gd name="T54" fmla="*/ 136088454 w 124"/>
                    <a:gd name="T55" fmla="*/ 191531858 h 88"/>
                    <a:gd name="T56" fmla="*/ 100806250 w 124"/>
                    <a:gd name="T57" fmla="*/ 201612480 h 88"/>
                    <a:gd name="T58" fmla="*/ 65524071 w 124"/>
                    <a:gd name="T59" fmla="*/ 216733462 h 88"/>
                    <a:gd name="T60" fmla="*/ 0 w 124"/>
                    <a:gd name="T61" fmla="*/ 221773772 h 88"/>
                    <a:gd name="T62" fmla="*/ 30241880 w 124"/>
                    <a:gd name="T63" fmla="*/ 171370615 h 88"/>
                    <a:gd name="T64" fmla="*/ 60483760 w 124"/>
                    <a:gd name="T65" fmla="*/ 105846575 h 88"/>
                    <a:gd name="T66" fmla="*/ 65524071 w 124"/>
                    <a:gd name="T67" fmla="*/ 80644997 h 88"/>
                    <a:gd name="T68" fmla="*/ 100806250 w 124"/>
                    <a:gd name="T69" fmla="*/ 50403120 h 88"/>
                    <a:gd name="T70" fmla="*/ 126007831 w 124"/>
                    <a:gd name="T71" fmla="*/ 40322498 h 88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w 124"/>
                    <a:gd name="T109" fmla="*/ 0 h 88"/>
                    <a:gd name="T110" fmla="*/ 124 w 124"/>
                    <a:gd name="T111" fmla="*/ 88 h 88"/>
                  </a:gdLst>
                  <a:ahLst/>
                  <a:cxnLst>
                    <a:cxn ang="T72">
                      <a:pos x="T0" y="T1"/>
                    </a:cxn>
                    <a:cxn ang="T73">
                      <a:pos x="T2" y="T3"/>
                    </a:cxn>
                    <a:cxn ang="T74">
                      <a:pos x="T4" y="T5"/>
                    </a:cxn>
                    <a:cxn ang="T75">
                      <a:pos x="T6" y="T7"/>
                    </a:cxn>
                    <a:cxn ang="T76">
                      <a:pos x="T8" y="T9"/>
                    </a:cxn>
                    <a:cxn ang="T77">
                      <a:pos x="T10" y="T11"/>
                    </a:cxn>
                    <a:cxn ang="T78">
                      <a:pos x="T12" y="T13"/>
                    </a:cxn>
                    <a:cxn ang="T79">
                      <a:pos x="T14" y="T15"/>
                    </a:cxn>
                    <a:cxn ang="T80">
                      <a:pos x="T16" y="T17"/>
                    </a:cxn>
                    <a:cxn ang="T81">
                      <a:pos x="T18" y="T19"/>
                    </a:cxn>
                    <a:cxn ang="T82">
                      <a:pos x="T20" y="T21"/>
                    </a:cxn>
                    <a:cxn ang="T83">
                      <a:pos x="T22" y="T23"/>
                    </a:cxn>
                    <a:cxn ang="T84">
                      <a:pos x="T24" y="T25"/>
                    </a:cxn>
                    <a:cxn ang="T85">
                      <a:pos x="T26" y="T27"/>
                    </a:cxn>
                    <a:cxn ang="T86">
                      <a:pos x="T28" y="T29"/>
                    </a:cxn>
                    <a:cxn ang="T87">
                      <a:pos x="T30" y="T31"/>
                    </a:cxn>
                    <a:cxn ang="T88">
                      <a:pos x="T32" y="T33"/>
                    </a:cxn>
                    <a:cxn ang="T89">
                      <a:pos x="T34" y="T35"/>
                    </a:cxn>
                    <a:cxn ang="T90">
                      <a:pos x="T36" y="T37"/>
                    </a:cxn>
                    <a:cxn ang="T91">
                      <a:pos x="T38" y="T39"/>
                    </a:cxn>
                    <a:cxn ang="T92">
                      <a:pos x="T40" y="T41"/>
                    </a:cxn>
                    <a:cxn ang="T93">
                      <a:pos x="T42" y="T43"/>
                    </a:cxn>
                    <a:cxn ang="T94">
                      <a:pos x="T44" y="T45"/>
                    </a:cxn>
                    <a:cxn ang="T95">
                      <a:pos x="T46" y="T47"/>
                    </a:cxn>
                    <a:cxn ang="T96">
                      <a:pos x="T48" y="T49"/>
                    </a:cxn>
                    <a:cxn ang="T97">
                      <a:pos x="T50" y="T51"/>
                    </a:cxn>
                    <a:cxn ang="T98">
                      <a:pos x="T52" y="T53"/>
                    </a:cxn>
                    <a:cxn ang="T99">
                      <a:pos x="T54" y="T55"/>
                    </a:cxn>
                    <a:cxn ang="T100">
                      <a:pos x="T56" y="T57"/>
                    </a:cxn>
                    <a:cxn ang="T101">
                      <a:pos x="T58" y="T59"/>
                    </a:cxn>
                    <a:cxn ang="T102">
                      <a:pos x="T60" y="T61"/>
                    </a:cxn>
                    <a:cxn ang="T103">
                      <a:pos x="T62" y="T63"/>
                    </a:cxn>
                    <a:cxn ang="T104">
                      <a:pos x="T64" y="T65"/>
                    </a:cxn>
                    <a:cxn ang="T105">
                      <a:pos x="T66" y="T67"/>
                    </a:cxn>
                    <a:cxn ang="T106">
                      <a:pos x="T68" y="T69"/>
                    </a:cxn>
                    <a:cxn ang="T107">
                      <a:pos x="T70" y="T71"/>
                    </a:cxn>
                  </a:cxnLst>
                  <a:rect l="T108" t="T109" r="T110" b="T111"/>
                  <a:pathLst>
                    <a:path w="124" h="88">
                      <a:moveTo>
                        <a:pt x="50" y="16"/>
                      </a:moveTo>
                      <a:lnTo>
                        <a:pt x="50" y="16"/>
                      </a:lnTo>
                      <a:lnTo>
                        <a:pt x="72" y="6"/>
                      </a:lnTo>
                      <a:lnTo>
                        <a:pt x="84" y="2"/>
                      </a:lnTo>
                      <a:lnTo>
                        <a:pt x="98" y="0"/>
                      </a:lnTo>
                      <a:lnTo>
                        <a:pt x="104" y="2"/>
                      </a:lnTo>
                      <a:lnTo>
                        <a:pt x="106" y="4"/>
                      </a:lnTo>
                      <a:lnTo>
                        <a:pt x="106" y="6"/>
                      </a:lnTo>
                      <a:lnTo>
                        <a:pt x="98" y="10"/>
                      </a:lnTo>
                      <a:lnTo>
                        <a:pt x="76" y="20"/>
                      </a:lnTo>
                      <a:lnTo>
                        <a:pt x="66" y="26"/>
                      </a:lnTo>
                      <a:lnTo>
                        <a:pt x="86" y="26"/>
                      </a:lnTo>
                      <a:lnTo>
                        <a:pt x="104" y="28"/>
                      </a:lnTo>
                      <a:lnTo>
                        <a:pt x="120" y="30"/>
                      </a:lnTo>
                      <a:lnTo>
                        <a:pt x="122" y="32"/>
                      </a:lnTo>
                      <a:lnTo>
                        <a:pt x="124" y="34"/>
                      </a:lnTo>
                      <a:lnTo>
                        <a:pt x="124" y="36"/>
                      </a:lnTo>
                      <a:lnTo>
                        <a:pt x="120" y="38"/>
                      </a:lnTo>
                      <a:lnTo>
                        <a:pt x="112" y="40"/>
                      </a:lnTo>
                      <a:lnTo>
                        <a:pt x="104" y="40"/>
                      </a:lnTo>
                      <a:lnTo>
                        <a:pt x="92" y="40"/>
                      </a:lnTo>
                      <a:lnTo>
                        <a:pt x="70" y="44"/>
                      </a:lnTo>
                      <a:lnTo>
                        <a:pt x="96" y="44"/>
                      </a:lnTo>
                      <a:lnTo>
                        <a:pt x="110" y="44"/>
                      </a:lnTo>
                      <a:lnTo>
                        <a:pt x="114" y="46"/>
                      </a:lnTo>
                      <a:lnTo>
                        <a:pt x="118" y="48"/>
                      </a:lnTo>
                      <a:lnTo>
                        <a:pt x="118" y="50"/>
                      </a:lnTo>
                      <a:lnTo>
                        <a:pt x="116" y="54"/>
                      </a:lnTo>
                      <a:lnTo>
                        <a:pt x="114" y="56"/>
                      </a:lnTo>
                      <a:lnTo>
                        <a:pt x="110" y="56"/>
                      </a:lnTo>
                      <a:lnTo>
                        <a:pt x="62" y="60"/>
                      </a:lnTo>
                      <a:lnTo>
                        <a:pt x="58" y="62"/>
                      </a:lnTo>
                      <a:lnTo>
                        <a:pt x="76" y="66"/>
                      </a:lnTo>
                      <a:lnTo>
                        <a:pt x="88" y="64"/>
                      </a:lnTo>
                      <a:lnTo>
                        <a:pt x="94" y="64"/>
                      </a:lnTo>
                      <a:lnTo>
                        <a:pt x="96" y="66"/>
                      </a:lnTo>
                      <a:lnTo>
                        <a:pt x="98" y="68"/>
                      </a:lnTo>
                      <a:lnTo>
                        <a:pt x="96" y="72"/>
                      </a:lnTo>
                      <a:lnTo>
                        <a:pt x="92" y="74"/>
                      </a:lnTo>
                      <a:lnTo>
                        <a:pt x="86" y="74"/>
                      </a:lnTo>
                      <a:lnTo>
                        <a:pt x="54" y="76"/>
                      </a:lnTo>
                      <a:lnTo>
                        <a:pt x="40" y="80"/>
                      </a:lnTo>
                      <a:lnTo>
                        <a:pt x="26" y="86"/>
                      </a:lnTo>
                      <a:lnTo>
                        <a:pt x="14" y="88"/>
                      </a:lnTo>
                      <a:lnTo>
                        <a:pt x="0" y="88"/>
                      </a:lnTo>
                      <a:lnTo>
                        <a:pt x="12" y="68"/>
                      </a:lnTo>
                      <a:lnTo>
                        <a:pt x="22" y="50"/>
                      </a:lnTo>
                      <a:lnTo>
                        <a:pt x="24" y="42"/>
                      </a:lnTo>
                      <a:lnTo>
                        <a:pt x="26" y="32"/>
                      </a:lnTo>
                      <a:lnTo>
                        <a:pt x="32" y="26"/>
                      </a:lnTo>
                      <a:lnTo>
                        <a:pt x="40" y="20"/>
                      </a:lnTo>
                      <a:lnTo>
                        <a:pt x="50" y="16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>
                    <a:latin typeface="+mn-lt"/>
                    <a:cs typeface="+mn-cs"/>
                  </a:endParaRPr>
                </a:p>
              </p:txBody>
            </p:sp>
            <p:sp>
              <p:nvSpPr>
                <p:cNvPr id="155" name="Freeform 143"/>
                <p:cNvSpPr>
                  <a:spLocks noEditPoints="1"/>
                </p:cNvSpPr>
                <p:nvPr/>
              </p:nvSpPr>
              <p:spPr bwMode="auto">
                <a:xfrm>
                  <a:off x="3878105" y="5381488"/>
                  <a:ext cx="558355" cy="686000"/>
                </a:xfrm>
                <a:custGeom>
                  <a:avLst/>
                  <a:gdLst>
                    <a:gd name="T0" fmla="*/ 186491543 w 330"/>
                    <a:gd name="T1" fmla="*/ 866933887 h 408"/>
                    <a:gd name="T2" fmla="*/ 151209369 w 330"/>
                    <a:gd name="T3" fmla="*/ 730845292 h 408"/>
                    <a:gd name="T4" fmla="*/ 146169058 w 330"/>
                    <a:gd name="T5" fmla="*/ 720764670 h 408"/>
                    <a:gd name="T6" fmla="*/ 141128747 w 330"/>
                    <a:gd name="T7" fmla="*/ 690522804 h 408"/>
                    <a:gd name="T8" fmla="*/ 141128747 w 330"/>
                    <a:gd name="T9" fmla="*/ 589716584 h 408"/>
                    <a:gd name="T10" fmla="*/ 141128747 w 330"/>
                    <a:gd name="T11" fmla="*/ 554434408 h 408"/>
                    <a:gd name="T12" fmla="*/ 50403119 w 330"/>
                    <a:gd name="T13" fmla="*/ 55443446 h 408"/>
                    <a:gd name="T14" fmla="*/ 35282187 w 330"/>
                    <a:gd name="T15" fmla="*/ 80645001 h 408"/>
                    <a:gd name="T16" fmla="*/ 10080624 w 330"/>
                    <a:gd name="T17" fmla="*/ 156249690 h 408"/>
                    <a:gd name="T18" fmla="*/ 0 w 330"/>
                    <a:gd name="T19" fmla="*/ 282257515 h 408"/>
                    <a:gd name="T20" fmla="*/ 10080624 w 330"/>
                    <a:gd name="T21" fmla="*/ 403224979 h 408"/>
                    <a:gd name="T22" fmla="*/ 25201559 w 330"/>
                    <a:gd name="T23" fmla="*/ 493950676 h 408"/>
                    <a:gd name="T24" fmla="*/ 35282187 w 330"/>
                    <a:gd name="T25" fmla="*/ 599797206 h 408"/>
                    <a:gd name="T26" fmla="*/ 30241876 w 330"/>
                    <a:gd name="T27" fmla="*/ 670361560 h 408"/>
                    <a:gd name="T28" fmla="*/ 30241876 w 330"/>
                    <a:gd name="T29" fmla="*/ 665321249 h 408"/>
                    <a:gd name="T30" fmla="*/ 10080624 w 330"/>
                    <a:gd name="T31" fmla="*/ 801409646 h 408"/>
                    <a:gd name="T32" fmla="*/ 30241876 w 330"/>
                    <a:gd name="T33" fmla="*/ 806449957 h 408"/>
                    <a:gd name="T34" fmla="*/ 30241876 w 330"/>
                    <a:gd name="T35" fmla="*/ 801409646 h 408"/>
                    <a:gd name="T36" fmla="*/ 40322497 w 330"/>
                    <a:gd name="T37" fmla="*/ 846772644 h 408"/>
                    <a:gd name="T38" fmla="*/ 40322497 w 330"/>
                    <a:gd name="T39" fmla="*/ 907256375 h 408"/>
                    <a:gd name="T40" fmla="*/ 60483752 w 330"/>
                    <a:gd name="T41" fmla="*/ 972780418 h 408"/>
                    <a:gd name="T42" fmla="*/ 70564374 w 330"/>
                    <a:gd name="T43" fmla="*/ 992941662 h 408"/>
                    <a:gd name="T44" fmla="*/ 105846573 w 330"/>
                    <a:gd name="T45" fmla="*/ 1018143217 h 408"/>
                    <a:gd name="T46" fmla="*/ 146169058 w 330"/>
                    <a:gd name="T47" fmla="*/ 1028223839 h 408"/>
                    <a:gd name="T48" fmla="*/ 216733457 w 330"/>
                    <a:gd name="T49" fmla="*/ 1018143217 h 408"/>
                    <a:gd name="T50" fmla="*/ 236894699 w 330"/>
                    <a:gd name="T51" fmla="*/ 982861040 h 408"/>
                    <a:gd name="T52" fmla="*/ 236894699 w 330"/>
                    <a:gd name="T53" fmla="*/ 967740107 h 408"/>
                    <a:gd name="T54" fmla="*/ 216733457 w 330"/>
                    <a:gd name="T55" fmla="*/ 922377308 h 408"/>
                    <a:gd name="T56" fmla="*/ 821570832 w 330"/>
                    <a:gd name="T57" fmla="*/ 675401871 h 408"/>
                    <a:gd name="T58" fmla="*/ 816530521 w 330"/>
                    <a:gd name="T59" fmla="*/ 670361560 h 408"/>
                    <a:gd name="T60" fmla="*/ 801409589 w 330"/>
                    <a:gd name="T61" fmla="*/ 660280938 h 408"/>
                    <a:gd name="T62" fmla="*/ 751006483 w 330"/>
                    <a:gd name="T63" fmla="*/ 619958450 h 408"/>
                    <a:gd name="T64" fmla="*/ 735885551 w 330"/>
                    <a:gd name="T65" fmla="*/ 599797206 h 408"/>
                    <a:gd name="T66" fmla="*/ 715724309 w 330"/>
                    <a:gd name="T67" fmla="*/ 579635963 h 408"/>
                    <a:gd name="T68" fmla="*/ 690522756 w 330"/>
                    <a:gd name="T69" fmla="*/ 544353786 h 408"/>
                    <a:gd name="T70" fmla="*/ 675401824 w 330"/>
                    <a:gd name="T71" fmla="*/ 509071609 h 408"/>
                    <a:gd name="T72" fmla="*/ 660280892 w 330"/>
                    <a:gd name="T73" fmla="*/ 463708810 h 408"/>
                    <a:gd name="T74" fmla="*/ 478829709 w 330"/>
                    <a:gd name="T75" fmla="*/ 65524068 h 408"/>
                    <a:gd name="T76" fmla="*/ 483870019 w 330"/>
                    <a:gd name="T77" fmla="*/ 105846580 h 408"/>
                    <a:gd name="T78" fmla="*/ 483870019 w 330"/>
                    <a:gd name="T79" fmla="*/ 166330312 h 408"/>
                    <a:gd name="T80" fmla="*/ 504031262 w 330"/>
                    <a:gd name="T81" fmla="*/ 282257515 h 408"/>
                    <a:gd name="T82" fmla="*/ 534273126 w 330"/>
                    <a:gd name="T83" fmla="*/ 398184668 h 408"/>
                    <a:gd name="T84" fmla="*/ 534273126 w 330"/>
                    <a:gd name="T85" fmla="*/ 448587877 h 408"/>
                    <a:gd name="T86" fmla="*/ 529232815 w 330"/>
                    <a:gd name="T87" fmla="*/ 468749121 h 408"/>
                    <a:gd name="T88" fmla="*/ 509071573 w 330"/>
                    <a:gd name="T89" fmla="*/ 524192542 h 408"/>
                    <a:gd name="T90" fmla="*/ 509071573 w 330"/>
                    <a:gd name="T91" fmla="*/ 574595652 h 408"/>
                    <a:gd name="T92" fmla="*/ 514111883 w 330"/>
                    <a:gd name="T93" fmla="*/ 584676274 h 408"/>
                    <a:gd name="T94" fmla="*/ 524192505 w 330"/>
                    <a:gd name="T95" fmla="*/ 614918139 h 408"/>
                    <a:gd name="T96" fmla="*/ 534273126 w 330"/>
                    <a:gd name="T97" fmla="*/ 695563115 h 408"/>
                    <a:gd name="T98" fmla="*/ 559474679 w 330"/>
                    <a:gd name="T99" fmla="*/ 690522804 h 408"/>
                    <a:gd name="T100" fmla="*/ 564514990 w 330"/>
                    <a:gd name="T101" fmla="*/ 599797206 h 408"/>
                    <a:gd name="T102" fmla="*/ 594756853 w 330"/>
                    <a:gd name="T103" fmla="*/ 614918139 h 408"/>
                    <a:gd name="T104" fmla="*/ 614918096 w 330"/>
                    <a:gd name="T105" fmla="*/ 645160005 h 408"/>
                    <a:gd name="T106" fmla="*/ 619958407 w 330"/>
                    <a:gd name="T107" fmla="*/ 655240627 h 408"/>
                    <a:gd name="T108" fmla="*/ 650200270 w 330"/>
                    <a:gd name="T109" fmla="*/ 720764670 h 408"/>
                    <a:gd name="T110" fmla="*/ 660280892 w 330"/>
                    <a:gd name="T111" fmla="*/ 740925914 h 408"/>
                    <a:gd name="T112" fmla="*/ 690522756 w 330"/>
                    <a:gd name="T113" fmla="*/ 756046847 h 408"/>
                    <a:gd name="T114" fmla="*/ 811490211 w 330"/>
                    <a:gd name="T115" fmla="*/ 766127469 h 408"/>
                    <a:gd name="T116" fmla="*/ 816530521 w 330"/>
                    <a:gd name="T117" fmla="*/ 756046847 h 408"/>
                    <a:gd name="T118" fmla="*/ 826611143 w 330"/>
                    <a:gd name="T119" fmla="*/ 725804981 h 408"/>
                    <a:gd name="T120" fmla="*/ 831651453 w 330"/>
                    <a:gd name="T121" fmla="*/ 715724359 h 408"/>
                    <a:gd name="T122" fmla="*/ 821570832 w 330"/>
                    <a:gd name="T123" fmla="*/ 675401871 h 408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60000 65536"/>
                    <a:gd name="T184" fmla="*/ 0 60000 65536"/>
                    <a:gd name="T185" fmla="*/ 0 60000 65536"/>
                    <a:gd name="T186" fmla="*/ 0 w 330"/>
                    <a:gd name="T187" fmla="*/ 0 h 408"/>
                    <a:gd name="T188" fmla="*/ 330 w 330"/>
                    <a:gd name="T189" fmla="*/ 408 h 408"/>
                  </a:gdLst>
                  <a:ahLst/>
                  <a:cxnLst>
                    <a:cxn ang="T124">
                      <a:pos x="T0" y="T1"/>
                    </a:cxn>
                    <a:cxn ang="T125">
                      <a:pos x="T2" y="T3"/>
                    </a:cxn>
                    <a:cxn ang="T126">
                      <a:pos x="T4" y="T5"/>
                    </a:cxn>
                    <a:cxn ang="T127">
                      <a:pos x="T6" y="T7"/>
                    </a:cxn>
                    <a:cxn ang="T128">
                      <a:pos x="T8" y="T9"/>
                    </a:cxn>
                    <a:cxn ang="T129">
                      <a:pos x="T10" y="T11"/>
                    </a:cxn>
                    <a:cxn ang="T130">
                      <a:pos x="T12" y="T13"/>
                    </a:cxn>
                    <a:cxn ang="T131">
                      <a:pos x="T14" y="T15"/>
                    </a:cxn>
                    <a:cxn ang="T132">
                      <a:pos x="T16" y="T17"/>
                    </a:cxn>
                    <a:cxn ang="T133">
                      <a:pos x="T18" y="T19"/>
                    </a:cxn>
                    <a:cxn ang="T134">
                      <a:pos x="T20" y="T21"/>
                    </a:cxn>
                    <a:cxn ang="T135">
                      <a:pos x="T22" y="T23"/>
                    </a:cxn>
                    <a:cxn ang="T136">
                      <a:pos x="T24" y="T25"/>
                    </a:cxn>
                    <a:cxn ang="T137">
                      <a:pos x="T26" y="T27"/>
                    </a:cxn>
                    <a:cxn ang="T138">
                      <a:pos x="T28" y="T29"/>
                    </a:cxn>
                    <a:cxn ang="T139">
                      <a:pos x="T30" y="T31"/>
                    </a:cxn>
                    <a:cxn ang="T140">
                      <a:pos x="T32" y="T33"/>
                    </a:cxn>
                    <a:cxn ang="T141">
                      <a:pos x="T34" y="T35"/>
                    </a:cxn>
                    <a:cxn ang="T142">
                      <a:pos x="T36" y="T37"/>
                    </a:cxn>
                    <a:cxn ang="T143">
                      <a:pos x="T38" y="T39"/>
                    </a:cxn>
                    <a:cxn ang="T144">
                      <a:pos x="T40" y="T41"/>
                    </a:cxn>
                    <a:cxn ang="T145">
                      <a:pos x="T42" y="T43"/>
                    </a:cxn>
                    <a:cxn ang="T146">
                      <a:pos x="T44" y="T45"/>
                    </a:cxn>
                    <a:cxn ang="T147">
                      <a:pos x="T46" y="T47"/>
                    </a:cxn>
                    <a:cxn ang="T148">
                      <a:pos x="T48" y="T49"/>
                    </a:cxn>
                    <a:cxn ang="T149">
                      <a:pos x="T50" y="T51"/>
                    </a:cxn>
                    <a:cxn ang="T150">
                      <a:pos x="T52" y="T53"/>
                    </a:cxn>
                    <a:cxn ang="T151">
                      <a:pos x="T54" y="T55"/>
                    </a:cxn>
                    <a:cxn ang="T152">
                      <a:pos x="T56" y="T57"/>
                    </a:cxn>
                    <a:cxn ang="T153">
                      <a:pos x="T58" y="T59"/>
                    </a:cxn>
                    <a:cxn ang="T154">
                      <a:pos x="T60" y="T61"/>
                    </a:cxn>
                    <a:cxn ang="T155">
                      <a:pos x="T62" y="T63"/>
                    </a:cxn>
                    <a:cxn ang="T156">
                      <a:pos x="T64" y="T65"/>
                    </a:cxn>
                    <a:cxn ang="T157">
                      <a:pos x="T66" y="T67"/>
                    </a:cxn>
                    <a:cxn ang="T158">
                      <a:pos x="T68" y="T69"/>
                    </a:cxn>
                    <a:cxn ang="T159">
                      <a:pos x="T70" y="T71"/>
                    </a:cxn>
                    <a:cxn ang="T160">
                      <a:pos x="T72" y="T73"/>
                    </a:cxn>
                    <a:cxn ang="T161">
                      <a:pos x="T74" y="T75"/>
                    </a:cxn>
                    <a:cxn ang="T162">
                      <a:pos x="T76" y="T77"/>
                    </a:cxn>
                    <a:cxn ang="T163">
                      <a:pos x="T78" y="T79"/>
                    </a:cxn>
                    <a:cxn ang="T164">
                      <a:pos x="T80" y="T81"/>
                    </a:cxn>
                    <a:cxn ang="T165">
                      <a:pos x="T82" y="T83"/>
                    </a:cxn>
                    <a:cxn ang="T166">
                      <a:pos x="T84" y="T85"/>
                    </a:cxn>
                    <a:cxn ang="T167">
                      <a:pos x="T86" y="T87"/>
                    </a:cxn>
                    <a:cxn ang="T168">
                      <a:pos x="T88" y="T89"/>
                    </a:cxn>
                    <a:cxn ang="T169">
                      <a:pos x="T90" y="T91"/>
                    </a:cxn>
                    <a:cxn ang="T170">
                      <a:pos x="T92" y="T93"/>
                    </a:cxn>
                    <a:cxn ang="T171">
                      <a:pos x="T94" y="T95"/>
                    </a:cxn>
                    <a:cxn ang="T172">
                      <a:pos x="T96" y="T97"/>
                    </a:cxn>
                    <a:cxn ang="T173">
                      <a:pos x="T98" y="T99"/>
                    </a:cxn>
                    <a:cxn ang="T174">
                      <a:pos x="T100" y="T101"/>
                    </a:cxn>
                    <a:cxn ang="T175">
                      <a:pos x="T102" y="T103"/>
                    </a:cxn>
                    <a:cxn ang="T176">
                      <a:pos x="T104" y="T105"/>
                    </a:cxn>
                    <a:cxn ang="T177">
                      <a:pos x="T106" y="T107"/>
                    </a:cxn>
                    <a:cxn ang="T178">
                      <a:pos x="T108" y="T109"/>
                    </a:cxn>
                    <a:cxn ang="T179">
                      <a:pos x="T110" y="T111"/>
                    </a:cxn>
                    <a:cxn ang="T180">
                      <a:pos x="T112" y="T113"/>
                    </a:cxn>
                    <a:cxn ang="T181">
                      <a:pos x="T114" y="T115"/>
                    </a:cxn>
                    <a:cxn ang="T182">
                      <a:pos x="T116" y="T117"/>
                    </a:cxn>
                    <a:cxn ang="T183">
                      <a:pos x="T118" y="T119"/>
                    </a:cxn>
                    <a:cxn ang="T184">
                      <a:pos x="T120" y="T121"/>
                    </a:cxn>
                    <a:cxn ang="T185">
                      <a:pos x="T122" y="T123"/>
                    </a:cxn>
                  </a:cxnLst>
                  <a:rect l="T186" t="T187" r="T188" b="T189"/>
                  <a:pathLst>
                    <a:path w="330" h="408">
                      <a:moveTo>
                        <a:pt x="74" y="344"/>
                      </a:moveTo>
                      <a:lnTo>
                        <a:pt x="74" y="344"/>
                      </a:lnTo>
                      <a:lnTo>
                        <a:pt x="60" y="290"/>
                      </a:lnTo>
                      <a:lnTo>
                        <a:pt x="58" y="286"/>
                      </a:lnTo>
                      <a:lnTo>
                        <a:pt x="56" y="274"/>
                      </a:lnTo>
                      <a:lnTo>
                        <a:pt x="56" y="254"/>
                      </a:lnTo>
                      <a:lnTo>
                        <a:pt x="56" y="234"/>
                      </a:lnTo>
                      <a:lnTo>
                        <a:pt x="56" y="220"/>
                      </a:lnTo>
                      <a:lnTo>
                        <a:pt x="92" y="44"/>
                      </a:lnTo>
                      <a:lnTo>
                        <a:pt x="20" y="22"/>
                      </a:lnTo>
                      <a:lnTo>
                        <a:pt x="14" y="32"/>
                      </a:lnTo>
                      <a:lnTo>
                        <a:pt x="10" y="40"/>
                      </a:lnTo>
                      <a:lnTo>
                        <a:pt x="4" y="62"/>
                      </a:lnTo>
                      <a:lnTo>
                        <a:pt x="2" y="88"/>
                      </a:lnTo>
                      <a:lnTo>
                        <a:pt x="0" y="112"/>
                      </a:lnTo>
                      <a:lnTo>
                        <a:pt x="2" y="138"/>
                      </a:lnTo>
                      <a:lnTo>
                        <a:pt x="4" y="160"/>
                      </a:lnTo>
                      <a:lnTo>
                        <a:pt x="10" y="196"/>
                      </a:lnTo>
                      <a:lnTo>
                        <a:pt x="14" y="218"/>
                      </a:lnTo>
                      <a:lnTo>
                        <a:pt x="14" y="238"/>
                      </a:lnTo>
                      <a:lnTo>
                        <a:pt x="14" y="254"/>
                      </a:lnTo>
                      <a:lnTo>
                        <a:pt x="12" y="266"/>
                      </a:lnTo>
                      <a:lnTo>
                        <a:pt x="12" y="264"/>
                      </a:lnTo>
                      <a:lnTo>
                        <a:pt x="6" y="292"/>
                      </a:lnTo>
                      <a:lnTo>
                        <a:pt x="4" y="318"/>
                      </a:lnTo>
                      <a:lnTo>
                        <a:pt x="8" y="322"/>
                      </a:lnTo>
                      <a:lnTo>
                        <a:pt x="12" y="320"/>
                      </a:lnTo>
                      <a:lnTo>
                        <a:pt x="12" y="318"/>
                      </a:lnTo>
                      <a:lnTo>
                        <a:pt x="16" y="336"/>
                      </a:lnTo>
                      <a:lnTo>
                        <a:pt x="16" y="360"/>
                      </a:lnTo>
                      <a:lnTo>
                        <a:pt x="18" y="370"/>
                      </a:lnTo>
                      <a:lnTo>
                        <a:pt x="24" y="386"/>
                      </a:lnTo>
                      <a:lnTo>
                        <a:pt x="28" y="394"/>
                      </a:lnTo>
                      <a:lnTo>
                        <a:pt x="42" y="404"/>
                      </a:lnTo>
                      <a:lnTo>
                        <a:pt x="50" y="406"/>
                      </a:lnTo>
                      <a:lnTo>
                        <a:pt x="58" y="408"/>
                      </a:lnTo>
                      <a:lnTo>
                        <a:pt x="74" y="406"/>
                      </a:lnTo>
                      <a:lnTo>
                        <a:pt x="86" y="404"/>
                      </a:lnTo>
                      <a:lnTo>
                        <a:pt x="92" y="402"/>
                      </a:lnTo>
                      <a:lnTo>
                        <a:pt x="94" y="390"/>
                      </a:lnTo>
                      <a:lnTo>
                        <a:pt x="94" y="384"/>
                      </a:lnTo>
                      <a:lnTo>
                        <a:pt x="92" y="376"/>
                      </a:lnTo>
                      <a:lnTo>
                        <a:pt x="86" y="366"/>
                      </a:lnTo>
                      <a:lnTo>
                        <a:pt x="74" y="344"/>
                      </a:lnTo>
                      <a:close/>
                      <a:moveTo>
                        <a:pt x="326" y="268"/>
                      </a:moveTo>
                      <a:lnTo>
                        <a:pt x="326" y="268"/>
                      </a:lnTo>
                      <a:lnTo>
                        <a:pt x="324" y="266"/>
                      </a:lnTo>
                      <a:lnTo>
                        <a:pt x="318" y="262"/>
                      </a:lnTo>
                      <a:lnTo>
                        <a:pt x="310" y="254"/>
                      </a:lnTo>
                      <a:lnTo>
                        <a:pt x="298" y="246"/>
                      </a:lnTo>
                      <a:lnTo>
                        <a:pt x="292" y="238"/>
                      </a:lnTo>
                      <a:lnTo>
                        <a:pt x="284" y="230"/>
                      </a:lnTo>
                      <a:lnTo>
                        <a:pt x="280" y="224"/>
                      </a:lnTo>
                      <a:lnTo>
                        <a:pt x="274" y="216"/>
                      </a:lnTo>
                      <a:lnTo>
                        <a:pt x="268" y="202"/>
                      </a:lnTo>
                      <a:lnTo>
                        <a:pt x="262" y="184"/>
                      </a:lnTo>
                      <a:lnTo>
                        <a:pt x="260" y="0"/>
                      </a:lnTo>
                      <a:lnTo>
                        <a:pt x="190" y="26"/>
                      </a:lnTo>
                      <a:lnTo>
                        <a:pt x="192" y="42"/>
                      </a:lnTo>
                      <a:lnTo>
                        <a:pt x="192" y="66"/>
                      </a:lnTo>
                      <a:lnTo>
                        <a:pt x="194" y="82"/>
                      </a:lnTo>
                      <a:lnTo>
                        <a:pt x="200" y="112"/>
                      </a:lnTo>
                      <a:lnTo>
                        <a:pt x="212" y="158"/>
                      </a:lnTo>
                      <a:lnTo>
                        <a:pt x="212" y="178"/>
                      </a:lnTo>
                      <a:lnTo>
                        <a:pt x="210" y="186"/>
                      </a:lnTo>
                      <a:lnTo>
                        <a:pt x="206" y="194"/>
                      </a:lnTo>
                      <a:lnTo>
                        <a:pt x="202" y="208"/>
                      </a:lnTo>
                      <a:lnTo>
                        <a:pt x="200" y="222"/>
                      </a:lnTo>
                      <a:lnTo>
                        <a:pt x="202" y="228"/>
                      </a:lnTo>
                      <a:lnTo>
                        <a:pt x="204" y="232"/>
                      </a:lnTo>
                      <a:lnTo>
                        <a:pt x="206" y="238"/>
                      </a:lnTo>
                      <a:lnTo>
                        <a:pt x="208" y="244"/>
                      </a:lnTo>
                      <a:lnTo>
                        <a:pt x="210" y="258"/>
                      </a:lnTo>
                      <a:lnTo>
                        <a:pt x="212" y="276"/>
                      </a:lnTo>
                      <a:lnTo>
                        <a:pt x="218" y="278"/>
                      </a:lnTo>
                      <a:lnTo>
                        <a:pt x="222" y="274"/>
                      </a:lnTo>
                      <a:lnTo>
                        <a:pt x="218" y="232"/>
                      </a:lnTo>
                      <a:lnTo>
                        <a:pt x="224" y="238"/>
                      </a:lnTo>
                      <a:lnTo>
                        <a:pt x="236" y="244"/>
                      </a:lnTo>
                      <a:lnTo>
                        <a:pt x="242" y="250"/>
                      </a:lnTo>
                      <a:lnTo>
                        <a:pt x="244" y="256"/>
                      </a:lnTo>
                      <a:lnTo>
                        <a:pt x="246" y="260"/>
                      </a:lnTo>
                      <a:lnTo>
                        <a:pt x="252" y="276"/>
                      </a:lnTo>
                      <a:lnTo>
                        <a:pt x="258" y="286"/>
                      </a:lnTo>
                      <a:lnTo>
                        <a:pt x="262" y="294"/>
                      </a:lnTo>
                      <a:lnTo>
                        <a:pt x="266" y="298"/>
                      </a:lnTo>
                      <a:lnTo>
                        <a:pt x="274" y="300"/>
                      </a:lnTo>
                      <a:lnTo>
                        <a:pt x="294" y="302"/>
                      </a:lnTo>
                      <a:lnTo>
                        <a:pt x="322" y="304"/>
                      </a:lnTo>
                      <a:lnTo>
                        <a:pt x="324" y="300"/>
                      </a:lnTo>
                      <a:lnTo>
                        <a:pt x="326" y="296"/>
                      </a:lnTo>
                      <a:lnTo>
                        <a:pt x="328" y="288"/>
                      </a:lnTo>
                      <a:lnTo>
                        <a:pt x="330" y="284"/>
                      </a:lnTo>
                      <a:lnTo>
                        <a:pt x="328" y="276"/>
                      </a:lnTo>
                      <a:lnTo>
                        <a:pt x="326" y="268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>
                    <a:latin typeface="+mn-lt"/>
                    <a:cs typeface="+mn-cs"/>
                  </a:endParaRPr>
                </a:p>
              </p:txBody>
            </p:sp>
            <p:sp>
              <p:nvSpPr>
                <p:cNvPr id="156" name="Freeform 144"/>
                <p:cNvSpPr>
                  <a:spLocks/>
                </p:cNvSpPr>
                <p:nvPr/>
              </p:nvSpPr>
              <p:spPr bwMode="auto">
                <a:xfrm>
                  <a:off x="3612221" y="4174337"/>
                  <a:ext cx="335012" cy="723226"/>
                </a:xfrm>
                <a:custGeom>
                  <a:avLst/>
                  <a:gdLst>
                    <a:gd name="T0" fmla="*/ 418346010 w 202"/>
                    <a:gd name="T1" fmla="*/ 463708816 h 426"/>
                    <a:gd name="T2" fmla="*/ 352821868 w 202"/>
                    <a:gd name="T3" fmla="*/ 529232859 h 426"/>
                    <a:gd name="T4" fmla="*/ 327620313 w 202"/>
                    <a:gd name="T5" fmla="*/ 569555348 h 426"/>
                    <a:gd name="T6" fmla="*/ 297378447 w 202"/>
                    <a:gd name="T7" fmla="*/ 609877836 h 426"/>
                    <a:gd name="T8" fmla="*/ 231854404 w 202"/>
                    <a:gd name="T9" fmla="*/ 650200325 h 426"/>
                    <a:gd name="T10" fmla="*/ 221773782 w 202"/>
                    <a:gd name="T11" fmla="*/ 650200325 h 426"/>
                    <a:gd name="T12" fmla="*/ 216733471 w 202"/>
                    <a:gd name="T13" fmla="*/ 670361569 h 426"/>
                    <a:gd name="T14" fmla="*/ 226814093 w 202"/>
                    <a:gd name="T15" fmla="*/ 675401880 h 426"/>
                    <a:gd name="T16" fmla="*/ 236894715 w 202"/>
                    <a:gd name="T17" fmla="*/ 685482502 h 426"/>
                    <a:gd name="T18" fmla="*/ 246975337 w 202"/>
                    <a:gd name="T19" fmla="*/ 710684057 h 426"/>
                    <a:gd name="T20" fmla="*/ 292338136 w 202"/>
                    <a:gd name="T21" fmla="*/ 771167790 h 426"/>
                    <a:gd name="T22" fmla="*/ 357862179 w 202"/>
                    <a:gd name="T23" fmla="*/ 846772654 h 426"/>
                    <a:gd name="T24" fmla="*/ 418346010 w 202"/>
                    <a:gd name="T25" fmla="*/ 877014521 h 426"/>
                    <a:gd name="T26" fmla="*/ 493950674 w 202"/>
                    <a:gd name="T27" fmla="*/ 907256387 h 426"/>
                    <a:gd name="T28" fmla="*/ 498990985 w 202"/>
                    <a:gd name="T29" fmla="*/ 912296698 h 426"/>
                    <a:gd name="T30" fmla="*/ 483870052 w 202"/>
                    <a:gd name="T31" fmla="*/ 982861053 h 426"/>
                    <a:gd name="T32" fmla="*/ 453628186 w 202"/>
                    <a:gd name="T33" fmla="*/ 1038304474 h 426"/>
                    <a:gd name="T34" fmla="*/ 413305599 w 202"/>
                    <a:gd name="T35" fmla="*/ 1073586652 h 426"/>
                    <a:gd name="T36" fmla="*/ 120967513 w 202"/>
                    <a:gd name="T37" fmla="*/ 841732343 h 426"/>
                    <a:gd name="T38" fmla="*/ 85685311 w 202"/>
                    <a:gd name="T39" fmla="*/ 811490278 h 426"/>
                    <a:gd name="T40" fmla="*/ 50403122 w 202"/>
                    <a:gd name="T41" fmla="*/ 771167790 h 426"/>
                    <a:gd name="T42" fmla="*/ 15120939 w 202"/>
                    <a:gd name="T43" fmla="*/ 710684057 h 426"/>
                    <a:gd name="T44" fmla="*/ 10080625 w 202"/>
                    <a:gd name="T45" fmla="*/ 700603435 h 426"/>
                    <a:gd name="T46" fmla="*/ 0 w 202"/>
                    <a:gd name="T47" fmla="*/ 660280947 h 426"/>
                    <a:gd name="T48" fmla="*/ 10080625 w 202"/>
                    <a:gd name="T49" fmla="*/ 635079391 h 426"/>
                    <a:gd name="T50" fmla="*/ 206652800 w 202"/>
                    <a:gd name="T51" fmla="*/ 312499385 h 426"/>
                    <a:gd name="T52" fmla="*/ 262096270 w 202"/>
                    <a:gd name="T53" fmla="*/ 156249692 h 426"/>
                    <a:gd name="T54" fmla="*/ 297378447 w 202"/>
                    <a:gd name="T55" fmla="*/ 90725624 h 426"/>
                    <a:gd name="T56" fmla="*/ 312499380 w 202"/>
                    <a:gd name="T57" fmla="*/ 70564380 h 426"/>
                    <a:gd name="T58" fmla="*/ 337700935 w 202"/>
                    <a:gd name="T59" fmla="*/ 55443446 h 426"/>
                    <a:gd name="T60" fmla="*/ 362902490 w 202"/>
                    <a:gd name="T61" fmla="*/ 50403123 h 426"/>
                    <a:gd name="T62" fmla="*/ 509071607 w 202"/>
                    <a:gd name="T63" fmla="*/ 0 h 426"/>
                    <a:gd name="T64" fmla="*/ 483870052 w 202"/>
                    <a:gd name="T65" fmla="*/ 196572181 h 426"/>
                    <a:gd name="T66" fmla="*/ 458668497 w 202"/>
                    <a:gd name="T67" fmla="*/ 347781562 h 426"/>
                    <a:gd name="T68" fmla="*/ 418346010 w 202"/>
                    <a:gd name="T69" fmla="*/ 463708816 h 42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w 202"/>
                    <a:gd name="T106" fmla="*/ 0 h 426"/>
                    <a:gd name="T107" fmla="*/ 202 w 202"/>
                    <a:gd name="T108" fmla="*/ 426 h 426"/>
                  </a:gdLst>
                  <a:ahLst/>
                  <a:cxnLst>
                    <a:cxn ang="T70">
                      <a:pos x="T0" y="T1"/>
                    </a:cxn>
                    <a:cxn ang="T71">
                      <a:pos x="T2" y="T3"/>
                    </a:cxn>
                    <a:cxn ang="T72">
                      <a:pos x="T4" y="T5"/>
                    </a:cxn>
                    <a:cxn ang="T73">
                      <a:pos x="T6" y="T7"/>
                    </a:cxn>
                    <a:cxn ang="T74">
                      <a:pos x="T8" y="T9"/>
                    </a:cxn>
                    <a:cxn ang="T75">
                      <a:pos x="T10" y="T11"/>
                    </a:cxn>
                    <a:cxn ang="T76">
                      <a:pos x="T12" y="T13"/>
                    </a:cxn>
                    <a:cxn ang="T77">
                      <a:pos x="T14" y="T15"/>
                    </a:cxn>
                    <a:cxn ang="T78">
                      <a:pos x="T16" y="T17"/>
                    </a:cxn>
                    <a:cxn ang="T79">
                      <a:pos x="T18" y="T19"/>
                    </a:cxn>
                    <a:cxn ang="T80">
                      <a:pos x="T20" y="T21"/>
                    </a:cxn>
                    <a:cxn ang="T81">
                      <a:pos x="T22" y="T23"/>
                    </a:cxn>
                    <a:cxn ang="T82">
                      <a:pos x="T24" y="T25"/>
                    </a:cxn>
                    <a:cxn ang="T83">
                      <a:pos x="T26" y="T27"/>
                    </a:cxn>
                    <a:cxn ang="T84">
                      <a:pos x="T28" y="T29"/>
                    </a:cxn>
                    <a:cxn ang="T85">
                      <a:pos x="T30" y="T31"/>
                    </a:cxn>
                    <a:cxn ang="T86">
                      <a:pos x="T32" y="T33"/>
                    </a:cxn>
                    <a:cxn ang="T87">
                      <a:pos x="T34" y="T35"/>
                    </a:cxn>
                    <a:cxn ang="T88">
                      <a:pos x="T36" y="T37"/>
                    </a:cxn>
                    <a:cxn ang="T89">
                      <a:pos x="T38" y="T39"/>
                    </a:cxn>
                    <a:cxn ang="T90">
                      <a:pos x="T40" y="T41"/>
                    </a:cxn>
                    <a:cxn ang="T91">
                      <a:pos x="T42" y="T43"/>
                    </a:cxn>
                    <a:cxn ang="T92">
                      <a:pos x="T44" y="T45"/>
                    </a:cxn>
                    <a:cxn ang="T93">
                      <a:pos x="T46" y="T47"/>
                    </a:cxn>
                    <a:cxn ang="T94">
                      <a:pos x="T48" y="T49"/>
                    </a:cxn>
                    <a:cxn ang="T95">
                      <a:pos x="T50" y="T51"/>
                    </a:cxn>
                    <a:cxn ang="T96">
                      <a:pos x="T52" y="T53"/>
                    </a:cxn>
                    <a:cxn ang="T97">
                      <a:pos x="T54" y="T55"/>
                    </a:cxn>
                    <a:cxn ang="T98">
                      <a:pos x="T56" y="T57"/>
                    </a:cxn>
                    <a:cxn ang="T99">
                      <a:pos x="T58" y="T59"/>
                    </a:cxn>
                    <a:cxn ang="T100">
                      <a:pos x="T60" y="T61"/>
                    </a:cxn>
                    <a:cxn ang="T101">
                      <a:pos x="T62" y="T63"/>
                    </a:cxn>
                    <a:cxn ang="T102">
                      <a:pos x="T64" y="T65"/>
                    </a:cxn>
                    <a:cxn ang="T103">
                      <a:pos x="T66" y="T67"/>
                    </a:cxn>
                    <a:cxn ang="T104">
                      <a:pos x="T68" y="T69"/>
                    </a:cxn>
                  </a:cxnLst>
                  <a:rect l="T105" t="T106" r="T107" b="T108"/>
                  <a:pathLst>
                    <a:path w="202" h="426">
                      <a:moveTo>
                        <a:pt x="166" y="184"/>
                      </a:moveTo>
                      <a:lnTo>
                        <a:pt x="166" y="184"/>
                      </a:lnTo>
                      <a:lnTo>
                        <a:pt x="152" y="196"/>
                      </a:lnTo>
                      <a:lnTo>
                        <a:pt x="140" y="210"/>
                      </a:lnTo>
                      <a:lnTo>
                        <a:pt x="130" y="226"/>
                      </a:lnTo>
                      <a:lnTo>
                        <a:pt x="124" y="236"/>
                      </a:lnTo>
                      <a:lnTo>
                        <a:pt x="118" y="242"/>
                      </a:lnTo>
                      <a:lnTo>
                        <a:pt x="104" y="252"/>
                      </a:lnTo>
                      <a:lnTo>
                        <a:pt x="92" y="258"/>
                      </a:lnTo>
                      <a:lnTo>
                        <a:pt x="88" y="258"/>
                      </a:lnTo>
                      <a:lnTo>
                        <a:pt x="86" y="262"/>
                      </a:lnTo>
                      <a:lnTo>
                        <a:pt x="86" y="266"/>
                      </a:lnTo>
                      <a:lnTo>
                        <a:pt x="90" y="268"/>
                      </a:lnTo>
                      <a:lnTo>
                        <a:pt x="92" y="270"/>
                      </a:lnTo>
                      <a:lnTo>
                        <a:pt x="94" y="272"/>
                      </a:lnTo>
                      <a:lnTo>
                        <a:pt x="98" y="282"/>
                      </a:lnTo>
                      <a:lnTo>
                        <a:pt x="104" y="292"/>
                      </a:lnTo>
                      <a:lnTo>
                        <a:pt x="116" y="306"/>
                      </a:lnTo>
                      <a:lnTo>
                        <a:pt x="134" y="324"/>
                      </a:lnTo>
                      <a:lnTo>
                        <a:pt x="142" y="336"/>
                      </a:lnTo>
                      <a:lnTo>
                        <a:pt x="166" y="348"/>
                      </a:lnTo>
                      <a:lnTo>
                        <a:pt x="184" y="356"/>
                      </a:lnTo>
                      <a:lnTo>
                        <a:pt x="196" y="360"/>
                      </a:lnTo>
                      <a:lnTo>
                        <a:pt x="198" y="362"/>
                      </a:lnTo>
                      <a:lnTo>
                        <a:pt x="198" y="370"/>
                      </a:lnTo>
                      <a:lnTo>
                        <a:pt x="192" y="390"/>
                      </a:lnTo>
                      <a:lnTo>
                        <a:pt x="186" y="400"/>
                      </a:lnTo>
                      <a:lnTo>
                        <a:pt x="180" y="412"/>
                      </a:lnTo>
                      <a:lnTo>
                        <a:pt x="172" y="420"/>
                      </a:lnTo>
                      <a:lnTo>
                        <a:pt x="164" y="426"/>
                      </a:lnTo>
                      <a:lnTo>
                        <a:pt x="48" y="334"/>
                      </a:lnTo>
                      <a:lnTo>
                        <a:pt x="34" y="322"/>
                      </a:lnTo>
                      <a:lnTo>
                        <a:pt x="26" y="314"/>
                      </a:lnTo>
                      <a:lnTo>
                        <a:pt x="20" y="306"/>
                      </a:lnTo>
                      <a:lnTo>
                        <a:pt x="6" y="282"/>
                      </a:lnTo>
                      <a:lnTo>
                        <a:pt x="4" y="278"/>
                      </a:lnTo>
                      <a:lnTo>
                        <a:pt x="0" y="270"/>
                      </a:lnTo>
                      <a:lnTo>
                        <a:pt x="0" y="262"/>
                      </a:lnTo>
                      <a:lnTo>
                        <a:pt x="0" y="258"/>
                      </a:lnTo>
                      <a:lnTo>
                        <a:pt x="4" y="252"/>
                      </a:lnTo>
                      <a:lnTo>
                        <a:pt x="82" y="124"/>
                      </a:lnTo>
                      <a:lnTo>
                        <a:pt x="104" y="62"/>
                      </a:lnTo>
                      <a:lnTo>
                        <a:pt x="112" y="48"/>
                      </a:lnTo>
                      <a:lnTo>
                        <a:pt x="118" y="36"/>
                      </a:lnTo>
                      <a:lnTo>
                        <a:pt x="124" y="28"/>
                      </a:lnTo>
                      <a:lnTo>
                        <a:pt x="130" y="24"/>
                      </a:lnTo>
                      <a:lnTo>
                        <a:pt x="134" y="22"/>
                      </a:lnTo>
                      <a:lnTo>
                        <a:pt x="144" y="20"/>
                      </a:lnTo>
                      <a:lnTo>
                        <a:pt x="202" y="0"/>
                      </a:lnTo>
                      <a:lnTo>
                        <a:pt x="200" y="24"/>
                      </a:lnTo>
                      <a:lnTo>
                        <a:pt x="192" y="78"/>
                      </a:lnTo>
                      <a:lnTo>
                        <a:pt x="188" y="108"/>
                      </a:lnTo>
                      <a:lnTo>
                        <a:pt x="182" y="138"/>
                      </a:lnTo>
                      <a:lnTo>
                        <a:pt x="174" y="164"/>
                      </a:lnTo>
                      <a:lnTo>
                        <a:pt x="166" y="184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>
                    <a:latin typeface="+mn-lt"/>
                    <a:cs typeface="+mn-cs"/>
                  </a:endParaRPr>
                </a:p>
              </p:txBody>
            </p:sp>
          </p:grpSp>
          <p:sp>
            <p:nvSpPr>
              <p:cNvPr id="149" name="Freeform 138"/>
              <p:cNvSpPr>
                <a:spLocks/>
              </p:cNvSpPr>
              <p:nvPr/>
            </p:nvSpPr>
            <p:spPr bwMode="auto">
              <a:xfrm>
                <a:off x="3544225" y="4214357"/>
                <a:ext cx="202273" cy="330410"/>
              </a:xfrm>
              <a:custGeom>
                <a:avLst/>
                <a:gdLst>
                  <a:gd name="T0" fmla="*/ 2147483647 w 120"/>
                  <a:gd name="T1" fmla="*/ 2147483647 h 196"/>
                  <a:gd name="T2" fmla="*/ 2147483647 w 120"/>
                  <a:gd name="T3" fmla="*/ 2147483647 h 196"/>
                  <a:gd name="T4" fmla="*/ 2147483647 w 120"/>
                  <a:gd name="T5" fmla="*/ 2147483647 h 196"/>
                  <a:gd name="T6" fmla="*/ 2147483647 w 120"/>
                  <a:gd name="T7" fmla="*/ 2147483647 h 196"/>
                  <a:gd name="T8" fmla="*/ 2147483647 w 120"/>
                  <a:gd name="T9" fmla="*/ 2147483647 h 196"/>
                  <a:gd name="T10" fmla="*/ 2147483647 w 120"/>
                  <a:gd name="T11" fmla="*/ 2147483647 h 196"/>
                  <a:gd name="T12" fmla="*/ 2147483647 w 120"/>
                  <a:gd name="T13" fmla="*/ 2147483647 h 196"/>
                  <a:gd name="T14" fmla="*/ 2147483647 w 120"/>
                  <a:gd name="T15" fmla="*/ 2147483647 h 196"/>
                  <a:gd name="T16" fmla="*/ 2147483647 w 120"/>
                  <a:gd name="T17" fmla="*/ 2147483647 h 196"/>
                  <a:gd name="T18" fmla="*/ 2147483647 w 120"/>
                  <a:gd name="T19" fmla="*/ 2147483647 h 196"/>
                  <a:gd name="T20" fmla="*/ 2147483647 w 120"/>
                  <a:gd name="T21" fmla="*/ 2147483647 h 196"/>
                  <a:gd name="T22" fmla="*/ 2147483647 w 120"/>
                  <a:gd name="T23" fmla="*/ 2147483647 h 196"/>
                  <a:gd name="T24" fmla="*/ 2147483647 w 120"/>
                  <a:gd name="T25" fmla="*/ 2147483647 h 196"/>
                  <a:gd name="T26" fmla="*/ 2147483647 w 120"/>
                  <a:gd name="T27" fmla="*/ 2147483647 h 196"/>
                  <a:gd name="T28" fmla="*/ 2147483647 w 120"/>
                  <a:gd name="T29" fmla="*/ 2147483647 h 196"/>
                  <a:gd name="T30" fmla="*/ 2147483647 w 120"/>
                  <a:gd name="T31" fmla="*/ 2147483647 h 196"/>
                  <a:gd name="T32" fmla="*/ 2147483647 w 120"/>
                  <a:gd name="T33" fmla="*/ 2147483647 h 196"/>
                  <a:gd name="T34" fmla="*/ 2147483647 w 120"/>
                  <a:gd name="T35" fmla="*/ 2147483647 h 196"/>
                  <a:gd name="T36" fmla="*/ 2147483647 w 120"/>
                  <a:gd name="T37" fmla="*/ 2147483647 h 196"/>
                  <a:gd name="T38" fmla="*/ 2147483647 w 120"/>
                  <a:gd name="T39" fmla="*/ 2147483647 h 196"/>
                  <a:gd name="T40" fmla="*/ 0 w 120"/>
                  <a:gd name="T41" fmla="*/ 2147483647 h 196"/>
                  <a:gd name="T42" fmla="*/ 2147483647 w 120"/>
                  <a:gd name="T43" fmla="*/ 2147483647 h 196"/>
                  <a:gd name="T44" fmla="*/ 2147483647 w 120"/>
                  <a:gd name="T45" fmla="*/ 2147483647 h 196"/>
                  <a:gd name="T46" fmla="*/ 2147483647 w 120"/>
                  <a:gd name="T47" fmla="*/ 2147483647 h 196"/>
                  <a:gd name="T48" fmla="*/ 2147483647 w 120"/>
                  <a:gd name="T49" fmla="*/ 0 h 196"/>
                  <a:gd name="T50" fmla="*/ 2147483647 w 120"/>
                  <a:gd name="T51" fmla="*/ 0 h 196"/>
                  <a:gd name="T52" fmla="*/ 2147483647 w 120"/>
                  <a:gd name="T53" fmla="*/ 2147483647 h 196"/>
                  <a:gd name="T54" fmla="*/ 2147483647 w 120"/>
                  <a:gd name="T55" fmla="*/ 2147483647 h 19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w 120"/>
                  <a:gd name="T85" fmla="*/ 0 h 196"/>
                  <a:gd name="T86" fmla="*/ 120 w 120"/>
                  <a:gd name="T87" fmla="*/ 196 h 196"/>
                </a:gdLst>
                <a:ahLst/>
                <a:cxnLst>
                  <a:cxn ang="T56">
                    <a:pos x="T0" y="T1"/>
                  </a:cxn>
                  <a:cxn ang="T57">
                    <a:pos x="T2" y="T3"/>
                  </a:cxn>
                  <a:cxn ang="T58">
                    <a:pos x="T4" y="T5"/>
                  </a:cxn>
                  <a:cxn ang="T59">
                    <a:pos x="T6" y="T7"/>
                  </a:cxn>
                  <a:cxn ang="T60">
                    <a:pos x="T8" y="T9"/>
                  </a:cxn>
                  <a:cxn ang="T61">
                    <a:pos x="T10" y="T11"/>
                  </a:cxn>
                  <a:cxn ang="T62">
                    <a:pos x="T12" y="T13"/>
                  </a:cxn>
                  <a:cxn ang="T63">
                    <a:pos x="T14" y="T15"/>
                  </a:cxn>
                  <a:cxn ang="T64">
                    <a:pos x="T16" y="T17"/>
                  </a:cxn>
                  <a:cxn ang="T65">
                    <a:pos x="T18" y="T19"/>
                  </a:cxn>
                  <a:cxn ang="T66">
                    <a:pos x="T20" y="T21"/>
                  </a:cxn>
                  <a:cxn ang="T67">
                    <a:pos x="T22" y="T23"/>
                  </a:cxn>
                  <a:cxn ang="T68">
                    <a:pos x="T24" y="T25"/>
                  </a:cxn>
                  <a:cxn ang="T69">
                    <a:pos x="T26" y="T27"/>
                  </a:cxn>
                  <a:cxn ang="T70">
                    <a:pos x="T28" y="T29"/>
                  </a:cxn>
                  <a:cxn ang="T71">
                    <a:pos x="T30" y="T31"/>
                  </a:cxn>
                  <a:cxn ang="T72">
                    <a:pos x="T32" y="T33"/>
                  </a:cxn>
                  <a:cxn ang="T73">
                    <a:pos x="T34" y="T35"/>
                  </a:cxn>
                  <a:cxn ang="T74">
                    <a:pos x="T36" y="T37"/>
                  </a:cxn>
                  <a:cxn ang="T75">
                    <a:pos x="T38" y="T39"/>
                  </a:cxn>
                  <a:cxn ang="T76">
                    <a:pos x="T40" y="T41"/>
                  </a:cxn>
                  <a:cxn ang="T77">
                    <a:pos x="T42" y="T43"/>
                  </a:cxn>
                  <a:cxn ang="T78">
                    <a:pos x="T44" y="T45"/>
                  </a:cxn>
                  <a:cxn ang="T79">
                    <a:pos x="T46" y="T47"/>
                  </a:cxn>
                  <a:cxn ang="T80">
                    <a:pos x="T48" y="T49"/>
                  </a:cxn>
                  <a:cxn ang="T81">
                    <a:pos x="T50" y="T51"/>
                  </a:cxn>
                  <a:cxn ang="T82">
                    <a:pos x="T52" y="T53"/>
                  </a:cxn>
                  <a:cxn ang="T83">
                    <a:pos x="T54" y="T55"/>
                  </a:cxn>
                </a:cxnLst>
                <a:rect l="T84" t="T85" r="T86" b="T87"/>
                <a:pathLst>
                  <a:path w="120" h="196">
                    <a:moveTo>
                      <a:pt x="82" y="2"/>
                    </a:moveTo>
                    <a:lnTo>
                      <a:pt x="82" y="2"/>
                    </a:lnTo>
                    <a:lnTo>
                      <a:pt x="96" y="24"/>
                    </a:lnTo>
                    <a:lnTo>
                      <a:pt x="98" y="34"/>
                    </a:lnTo>
                    <a:lnTo>
                      <a:pt x="102" y="46"/>
                    </a:lnTo>
                    <a:lnTo>
                      <a:pt x="106" y="70"/>
                    </a:lnTo>
                    <a:lnTo>
                      <a:pt x="114" y="120"/>
                    </a:lnTo>
                    <a:lnTo>
                      <a:pt x="118" y="170"/>
                    </a:lnTo>
                    <a:lnTo>
                      <a:pt x="120" y="188"/>
                    </a:lnTo>
                    <a:lnTo>
                      <a:pt x="118" y="196"/>
                    </a:lnTo>
                    <a:lnTo>
                      <a:pt x="106" y="174"/>
                    </a:lnTo>
                    <a:lnTo>
                      <a:pt x="76" y="120"/>
                    </a:lnTo>
                    <a:lnTo>
                      <a:pt x="58" y="90"/>
                    </a:lnTo>
                    <a:lnTo>
                      <a:pt x="38" y="62"/>
                    </a:lnTo>
                    <a:lnTo>
                      <a:pt x="22" y="40"/>
                    </a:lnTo>
                    <a:lnTo>
                      <a:pt x="14" y="32"/>
                    </a:lnTo>
                    <a:lnTo>
                      <a:pt x="8" y="26"/>
                    </a:lnTo>
                    <a:lnTo>
                      <a:pt x="0" y="22"/>
                    </a:lnTo>
                    <a:lnTo>
                      <a:pt x="2" y="12"/>
                    </a:lnTo>
                    <a:lnTo>
                      <a:pt x="36" y="4"/>
                    </a:lnTo>
                    <a:lnTo>
                      <a:pt x="64" y="0"/>
                    </a:lnTo>
                    <a:lnTo>
                      <a:pt x="74" y="0"/>
                    </a:lnTo>
                    <a:lnTo>
                      <a:pt x="82" y="2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>
                  <a:latin typeface="Calibri" pitchFamily="34" charset="0"/>
                  <a:cs typeface="+mn-cs"/>
                </a:endParaRPr>
              </a:p>
            </p:txBody>
          </p:sp>
          <p:sp>
            <p:nvSpPr>
              <p:cNvPr id="150" name="Freeform 140"/>
              <p:cNvSpPr>
                <a:spLocks/>
              </p:cNvSpPr>
              <p:nvPr/>
            </p:nvSpPr>
            <p:spPr bwMode="auto">
              <a:xfrm>
                <a:off x="3575617" y="4138614"/>
                <a:ext cx="148895" cy="233985"/>
              </a:xfrm>
              <a:custGeom>
                <a:avLst/>
                <a:gdLst>
                  <a:gd name="T0" fmla="*/ 196572170 w 90"/>
                  <a:gd name="T1" fmla="*/ 120967497 h 140"/>
                  <a:gd name="T2" fmla="*/ 196572170 w 90"/>
                  <a:gd name="T3" fmla="*/ 120967497 h 140"/>
                  <a:gd name="T4" fmla="*/ 191531860 w 90"/>
                  <a:gd name="T5" fmla="*/ 136088428 h 140"/>
                  <a:gd name="T6" fmla="*/ 181451238 w 90"/>
                  <a:gd name="T7" fmla="*/ 171370600 h 140"/>
                  <a:gd name="T8" fmla="*/ 181451238 w 90"/>
                  <a:gd name="T9" fmla="*/ 196572151 h 140"/>
                  <a:gd name="T10" fmla="*/ 186491549 w 90"/>
                  <a:gd name="T11" fmla="*/ 211693132 h 140"/>
                  <a:gd name="T12" fmla="*/ 191531860 w 90"/>
                  <a:gd name="T13" fmla="*/ 226814063 h 140"/>
                  <a:gd name="T14" fmla="*/ 206652792 w 90"/>
                  <a:gd name="T15" fmla="*/ 236894683 h 140"/>
                  <a:gd name="T16" fmla="*/ 206652792 w 90"/>
                  <a:gd name="T17" fmla="*/ 236894683 h 140"/>
                  <a:gd name="T18" fmla="*/ 226814085 w 90"/>
                  <a:gd name="T19" fmla="*/ 241934994 h 140"/>
                  <a:gd name="T20" fmla="*/ 226814085 w 90"/>
                  <a:gd name="T21" fmla="*/ 241934994 h 140"/>
                  <a:gd name="T22" fmla="*/ 226814085 w 90"/>
                  <a:gd name="T23" fmla="*/ 257055925 h 140"/>
                  <a:gd name="T24" fmla="*/ 226814085 w 90"/>
                  <a:gd name="T25" fmla="*/ 272176856 h 140"/>
                  <a:gd name="T26" fmla="*/ 221773774 w 90"/>
                  <a:gd name="T27" fmla="*/ 282257476 h 140"/>
                  <a:gd name="T28" fmla="*/ 221773774 w 90"/>
                  <a:gd name="T29" fmla="*/ 282257476 h 140"/>
                  <a:gd name="T30" fmla="*/ 211693152 w 90"/>
                  <a:gd name="T31" fmla="*/ 297378407 h 140"/>
                  <a:gd name="T32" fmla="*/ 206652792 w 90"/>
                  <a:gd name="T33" fmla="*/ 322579959 h 140"/>
                  <a:gd name="T34" fmla="*/ 196572170 w 90"/>
                  <a:gd name="T35" fmla="*/ 352821820 h 140"/>
                  <a:gd name="T36" fmla="*/ 186491549 w 90"/>
                  <a:gd name="T37" fmla="*/ 347781510 h 140"/>
                  <a:gd name="T38" fmla="*/ 186491549 w 90"/>
                  <a:gd name="T39" fmla="*/ 347781510 h 140"/>
                  <a:gd name="T40" fmla="*/ 196572170 w 90"/>
                  <a:gd name="T41" fmla="*/ 337700889 h 140"/>
                  <a:gd name="T42" fmla="*/ 196572170 w 90"/>
                  <a:gd name="T43" fmla="*/ 322579959 h 140"/>
                  <a:gd name="T44" fmla="*/ 186491549 w 90"/>
                  <a:gd name="T45" fmla="*/ 307459028 h 140"/>
                  <a:gd name="T46" fmla="*/ 186491549 w 90"/>
                  <a:gd name="T47" fmla="*/ 307459028 h 140"/>
                  <a:gd name="T48" fmla="*/ 171370617 w 90"/>
                  <a:gd name="T49" fmla="*/ 297378407 h 140"/>
                  <a:gd name="T50" fmla="*/ 146169063 w 90"/>
                  <a:gd name="T51" fmla="*/ 282257476 h 140"/>
                  <a:gd name="T52" fmla="*/ 95765930 w 90"/>
                  <a:gd name="T53" fmla="*/ 257055925 h 140"/>
                  <a:gd name="T54" fmla="*/ 95765930 w 90"/>
                  <a:gd name="T55" fmla="*/ 257055925 h 140"/>
                  <a:gd name="T56" fmla="*/ 70564376 w 90"/>
                  <a:gd name="T57" fmla="*/ 241934994 h 140"/>
                  <a:gd name="T58" fmla="*/ 55443444 w 90"/>
                  <a:gd name="T59" fmla="*/ 226814063 h 140"/>
                  <a:gd name="T60" fmla="*/ 35282188 w 90"/>
                  <a:gd name="T61" fmla="*/ 206652772 h 140"/>
                  <a:gd name="T62" fmla="*/ 20161249 w 90"/>
                  <a:gd name="T63" fmla="*/ 191531841 h 140"/>
                  <a:gd name="T64" fmla="*/ 20161249 w 90"/>
                  <a:gd name="T65" fmla="*/ 191531841 h 140"/>
                  <a:gd name="T66" fmla="*/ 15120939 w 90"/>
                  <a:gd name="T67" fmla="*/ 120967497 h 140"/>
                  <a:gd name="T68" fmla="*/ 15120939 w 90"/>
                  <a:gd name="T69" fmla="*/ 120967497 h 140"/>
                  <a:gd name="T70" fmla="*/ 10080625 w 90"/>
                  <a:gd name="T71" fmla="*/ 70564369 h 140"/>
                  <a:gd name="T72" fmla="*/ 0 w 90"/>
                  <a:gd name="T73" fmla="*/ 35282185 h 140"/>
                  <a:gd name="T74" fmla="*/ 0 w 90"/>
                  <a:gd name="T75" fmla="*/ 35282185 h 140"/>
                  <a:gd name="T76" fmla="*/ 10080625 w 90"/>
                  <a:gd name="T77" fmla="*/ 25201558 h 140"/>
                  <a:gd name="T78" fmla="*/ 20161249 w 90"/>
                  <a:gd name="T79" fmla="*/ 5040312 h 140"/>
                  <a:gd name="T80" fmla="*/ 20161249 w 90"/>
                  <a:gd name="T81" fmla="*/ 5040312 h 140"/>
                  <a:gd name="T82" fmla="*/ 25201560 w 90"/>
                  <a:gd name="T83" fmla="*/ 0 h 140"/>
                  <a:gd name="T84" fmla="*/ 30241877 w 90"/>
                  <a:gd name="T85" fmla="*/ 5040312 h 140"/>
                  <a:gd name="T86" fmla="*/ 50403120 w 90"/>
                  <a:gd name="T87" fmla="*/ 15120937 h 140"/>
                  <a:gd name="T88" fmla="*/ 110886887 w 90"/>
                  <a:gd name="T89" fmla="*/ 55443438 h 140"/>
                  <a:gd name="T90" fmla="*/ 196572170 w 90"/>
                  <a:gd name="T91" fmla="*/ 120967497 h 140"/>
                  <a:gd name="T92" fmla="*/ 196572170 w 90"/>
                  <a:gd name="T93" fmla="*/ 120967497 h 140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w 90"/>
                  <a:gd name="T142" fmla="*/ 0 h 140"/>
                  <a:gd name="T143" fmla="*/ 90 w 90"/>
                  <a:gd name="T144" fmla="*/ 140 h 140"/>
                </a:gdLst>
                <a:ahLst/>
                <a:cxnLst>
                  <a:cxn ang="T94">
                    <a:pos x="T0" y="T1"/>
                  </a:cxn>
                  <a:cxn ang="T95">
                    <a:pos x="T2" y="T3"/>
                  </a:cxn>
                  <a:cxn ang="T96">
                    <a:pos x="T4" y="T5"/>
                  </a:cxn>
                  <a:cxn ang="T97">
                    <a:pos x="T6" y="T7"/>
                  </a:cxn>
                  <a:cxn ang="T98">
                    <a:pos x="T8" y="T9"/>
                  </a:cxn>
                  <a:cxn ang="T99">
                    <a:pos x="T10" y="T11"/>
                  </a:cxn>
                  <a:cxn ang="T100">
                    <a:pos x="T12" y="T13"/>
                  </a:cxn>
                  <a:cxn ang="T101">
                    <a:pos x="T14" y="T15"/>
                  </a:cxn>
                  <a:cxn ang="T102">
                    <a:pos x="T16" y="T17"/>
                  </a:cxn>
                  <a:cxn ang="T103">
                    <a:pos x="T18" y="T19"/>
                  </a:cxn>
                  <a:cxn ang="T104">
                    <a:pos x="T20" y="T21"/>
                  </a:cxn>
                  <a:cxn ang="T105">
                    <a:pos x="T22" y="T23"/>
                  </a:cxn>
                  <a:cxn ang="T106">
                    <a:pos x="T24" y="T25"/>
                  </a:cxn>
                  <a:cxn ang="T107">
                    <a:pos x="T26" y="T27"/>
                  </a:cxn>
                  <a:cxn ang="T108">
                    <a:pos x="T28" y="T29"/>
                  </a:cxn>
                  <a:cxn ang="T109">
                    <a:pos x="T30" y="T31"/>
                  </a:cxn>
                  <a:cxn ang="T110">
                    <a:pos x="T32" y="T33"/>
                  </a:cxn>
                  <a:cxn ang="T111">
                    <a:pos x="T34" y="T35"/>
                  </a:cxn>
                  <a:cxn ang="T112">
                    <a:pos x="T36" y="T37"/>
                  </a:cxn>
                  <a:cxn ang="T113">
                    <a:pos x="T38" y="T39"/>
                  </a:cxn>
                  <a:cxn ang="T114">
                    <a:pos x="T40" y="T41"/>
                  </a:cxn>
                  <a:cxn ang="T115">
                    <a:pos x="T42" y="T43"/>
                  </a:cxn>
                  <a:cxn ang="T116">
                    <a:pos x="T44" y="T45"/>
                  </a:cxn>
                  <a:cxn ang="T117">
                    <a:pos x="T46" y="T47"/>
                  </a:cxn>
                  <a:cxn ang="T118">
                    <a:pos x="T48" y="T49"/>
                  </a:cxn>
                  <a:cxn ang="T119">
                    <a:pos x="T50" y="T51"/>
                  </a:cxn>
                  <a:cxn ang="T120">
                    <a:pos x="T52" y="T53"/>
                  </a:cxn>
                  <a:cxn ang="T121">
                    <a:pos x="T54" y="T55"/>
                  </a:cxn>
                  <a:cxn ang="T122">
                    <a:pos x="T56" y="T57"/>
                  </a:cxn>
                  <a:cxn ang="T123">
                    <a:pos x="T58" y="T59"/>
                  </a:cxn>
                  <a:cxn ang="T124">
                    <a:pos x="T60" y="T61"/>
                  </a:cxn>
                  <a:cxn ang="T125">
                    <a:pos x="T62" y="T63"/>
                  </a:cxn>
                  <a:cxn ang="T126">
                    <a:pos x="T64" y="T65"/>
                  </a:cxn>
                  <a:cxn ang="T127">
                    <a:pos x="T66" y="T67"/>
                  </a:cxn>
                  <a:cxn ang="T128">
                    <a:pos x="T68" y="T69"/>
                  </a:cxn>
                  <a:cxn ang="T129">
                    <a:pos x="T70" y="T71"/>
                  </a:cxn>
                  <a:cxn ang="T130">
                    <a:pos x="T72" y="T73"/>
                  </a:cxn>
                  <a:cxn ang="T131">
                    <a:pos x="T74" y="T75"/>
                  </a:cxn>
                  <a:cxn ang="T132">
                    <a:pos x="T76" y="T77"/>
                  </a:cxn>
                  <a:cxn ang="T133">
                    <a:pos x="T78" y="T79"/>
                  </a:cxn>
                  <a:cxn ang="T134">
                    <a:pos x="T80" y="T81"/>
                  </a:cxn>
                  <a:cxn ang="T135">
                    <a:pos x="T82" y="T83"/>
                  </a:cxn>
                  <a:cxn ang="T136">
                    <a:pos x="T84" y="T85"/>
                  </a:cxn>
                  <a:cxn ang="T137">
                    <a:pos x="T86" y="T87"/>
                  </a:cxn>
                  <a:cxn ang="T138">
                    <a:pos x="T88" y="T89"/>
                  </a:cxn>
                  <a:cxn ang="T139">
                    <a:pos x="T90" y="T91"/>
                  </a:cxn>
                  <a:cxn ang="T140">
                    <a:pos x="T92" y="T93"/>
                  </a:cxn>
                </a:cxnLst>
                <a:rect l="T141" t="T142" r="T143" b="T144"/>
                <a:pathLst>
                  <a:path w="90" h="140">
                    <a:moveTo>
                      <a:pt x="78" y="48"/>
                    </a:moveTo>
                    <a:lnTo>
                      <a:pt x="78" y="48"/>
                    </a:lnTo>
                    <a:lnTo>
                      <a:pt x="76" y="54"/>
                    </a:lnTo>
                    <a:lnTo>
                      <a:pt x="72" y="68"/>
                    </a:lnTo>
                    <a:lnTo>
                      <a:pt x="72" y="78"/>
                    </a:lnTo>
                    <a:lnTo>
                      <a:pt x="74" y="84"/>
                    </a:lnTo>
                    <a:lnTo>
                      <a:pt x="76" y="90"/>
                    </a:lnTo>
                    <a:lnTo>
                      <a:pt x="82" y="94"/>
                    </a:lnTo>
                    <a:lnTo>
                      <a:pt x="90" y="96"/>
                    </a:lnTo>
                    <a:lnTo>
                      <a:pt x="90" y="102"/>
                    </a:lnTo>
                    <a:lnTo>
                      <a:pt x="90" y="108"/>
                    </a:lnTo>
                    <a:lnTo>
                      <a:pt x="88" y="112"/>
                    </a:lnTo>
                    <a:lnTo>
                      <a:pt x="84" y="118"/>
                    </a:lnTo>
                    <a:lnTo>
                      <a:pt x="82" y="128"/>
                    </a:lnTo>
                    <a:lnTo>
                      <a:pt x="78" y="140"/>
                    </a:lnTo>
                    <a:lnTo>
                      <a:pt x="74" y="138"/>
                    </a:lnTo>
                    <a:lnTo>
                      <a:pt x="78" y="134"/>
                    </a:lnTo>
                    <a:lnTo>
                      <a:pt x="78" y="128"/>
                    </a:lnTo>
                    <a:lnTo>
                      <a:pt x="74" y="122"/>
                    </a:lnTo>
                    <a:lnTo>
                      <a:pt x="68" y="118"/>
                    </a:lnTo>
                    <a:lnTo>
                      <a:pt x="58" y="112"/>
                    </a:lnTo>
                    <a:lnTo>
                      <a:pt x="38" y="102"/>
                    </a:lnTo>
                    <a:lnTo>
                      <a:pt x="28" y="96"/>
                    </a:lnTo>
                    <a:lnTo>
                      <a:pt x="22" y="90"/>
                    </a:lnTo>
                    <a:lnTo>
                      <a:pt x="14" y="82"/>
                    </a:lnTo>
                    <a:lnTo>
                      <a:pt x="8" y="76"/>
                    </a:lnTo>
                    <a:lnTo>
                      <a:pt x="6" y="48"/>
                    </a:lnTo>
                    <a:lnTo>
                      <a:pt x="4" y="28"/>
                    </a:lnTo>
                    <a:lnTo>
                      <a:pt x="0" y="14"/>
                    </a:lnTo>
                    <a:lnTo>
                      <a:pt x="4" y="10"/>
                    </a:lnTo>
                    <a:lnTo>
                      <a:pt x="8" y="2"/>
                    </a:lnTo>
                    <a:lnTo>
                      <a:pt x="10" y="0"/>
                    </a:lnTo>
                    <a:lnTo>
                      <a:pt x="12" y="2"/>
                    </a:lnTo>
                    <a:lnTo>
                      <a:pt x="20" y="6"/>
                    </a:lnTo>
                    <a:lnTo>
                      <a:pt x="44" y="22"/>
                    </a:lnTo>
                    <a:lnTo>
                      <a:pt x="78" y="48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>
                  <a:latin typeface="+mn-lt"/>
                  <a:cs typeface="+mn-cs"/>
                </a:endParaRPr>
              </a:p>
            </p:txBody>
          </p:sp>
        </p:grpSp>
        <p:sp>
          <p:nvSpPr>
            <p:cNvPr id="142" name="Freeform 5"/>
            <p:cNvSpPr>
              <a:spLocks noEditPoints="1"/>
            </p:cNvSpPr>
            <p:nvPr/>
          </p:nvSpPr>
          <p:spPr bwMode="auto">
            <a:xfrm>
              <a:off x="3157487" y="1957407"/>
              <a:ext cx="238081" cy="618012"/>
            </a:xfrm>
            <a:custGeom>
              <a:avLst/>
              <a:gdLst>
                <a:gd name="T0" fmla="*/ 2147483647 w 600"/>
                <a:gd name="T1" fmla="*/ 1302100615 h 1727"/>
                <a:gd name="T2" fmla="*/ 2132965708 w 600"/>
                <a:gd name="T3" fmla="*/ 1014817518 h 1727"/>
                <a:gd name="T4" fmla="*/ 2114775135 w 600"/>
                <a:gd name="T5" fmla="*/ 861847602 h 1727"/>
                <a:gd name="T6" fmla="*/ 1982886016 w 600"/>
                <a:gd name="T7" fmla="*/ 936466814 h 1727"/>
                <a:gd name="T8" fmla="*/ 1791874337 w 600"/>
                <a:gd name="T9" fmla="*/ 179084624 h 1727"/>
                <a:gd name="T10" fmla="*/ 1664531796 w 600"/>
                <a:gd name="T11" fmla="*/ 41039906 h 1727"/>
                <a:gd name="T12" fmla="*/ 1459878253 w 600"/>
                <a:gd name="T13" fmla="*/ 22385578 h 1727"/>
                <a:gd name="T14" fmla="*/ 1064208499 w 600"/>
                <a:gd name="T15" fmla="*/ 813345211 h 1727"/>
                <a:gd name="T16" fmla="*/ 1059661922 w 600"/>
                <a:gd name="T17" fmla="*/ 820807712 h 1727"/>
                <a:gd name="T18" fmla="*/ 786788399 w 600"/>
                <a:gd name="T19" fmla="*/ 1085705480 h 1727"/>
                <a:gd name="T20" fmla="*/ 650350571 w 600"/>
                <a:gd name="T21" fmla="*/ 1078242979 h 1727"/>
                <a:gd name="T22" fmla="*/ 659445858 w 600"/>
                <a:gd name="T23" fmla="*/ 1227481403 h 1727"/>
                <a:gd name="T24" fmla="*/ 418406771 w 600"/>
                <a:gd name="T25" fmla="*/ 1652809174 h 1727"/>
                <a:gd name="T26" fmla="*/ 18190581 w 600"/>
                <a:gd name="T27" fmla="*/ 2147483647 h 1727"/>
                <a:gd name="T28" fmla="*/ 841362251 w 600"/>
                <a:gd name="T29" fmla="*/ 2147483647 h 1727"/>
                <a:gd name="T30" fmla="*/ 768595694 w 600"/>
                <a:gd name="T31" fmla="*/ 2147483647 h 1727"/>
                <a:gd name="T32" fmla="*/ 463885336 w 600"/>
                <a:gd name="T33" fmla="*/ 2147483647 h 1727"/>
                <a:gd name="T34" fmla="*/ 836813541 w 600"/>
                <a:gd name="T35" fmla="*/ 1757274526 h 1727"/>
                <a:gd name="T36" fmla="*/ 941416800 w 600"/>
                <a:gd name="T37" fmla="*/ 2089329247 h 1727"/>
                <a:gd name="T38" fmla="*/ 809527682 w 600"/>
                <a:gd name="T39" fmla="*/ 2147483647 h 1727"/>
                <a:gd name="T40" fmla="*/ 845910960 w 600"/>
                <a:gd name="T41" fmla="*/ 2147483647 h 1727"/>
                <a:gd name="T42" fmla="*/ 668541144 w 600"/>
                <a:gd name="T43" fmla="*/ 2147483647 h 1727"/>
                <a:gd name="T44" fmla="*/ 886840816 w 600"/>
                <a:gd name="T45" fmla="*/ 2147483647 h 1727"/>
                <a:gd name="T46" fmla="*/ 968702659 w 600"/>
                <a:gd name="T47" fmla="*/ 2147483647 h 1727"/>
                <a:gd name="T48" fmla="*/ 1296152433 w 600"/>
                <a:gd name="T49" fmla="*/ 2147483647 h 1727"/>
                <a:gd name="T50" fmla="*/ 1368918990 w 600"/>
                <a:gd name="T51" fmla="*/ 2147483647 h 1727"/>
                <a:gd name="T52" fmla="*/ 1878284890 w 600"/>
                <a:gd name="T53" fmla="*/ 2147483647 h 1727"/>
                <a:gd name="T54" fmla="*/ 1987434726 w 600"/>
                <a:gd name="T55" fmla="*/ 2147483647 h 1727"/>
                <a:gd name="T56" fmla="*/ 2147483647 w 600"/>
                <a:gd name="T57" fmla="*/ 2147483647 h 1727"/>
                <a:gd name="T58" fmla="*/ 2147483647 w 600"/>
                <a:gd name="T59" fmla="*/ 2147483647 h 1727"/>
                <a:gd name="T60" fmla="*/ 2147483647 w 600"/>
                <a:gd name="T61" fmla="*/ 2147483647 h 1727"/>
                <a:gd name="T62" fmla="*/ 1700915074 w 600"/>
                <a:gd name="T63" fmla="*/ 2147483647 h 1727"/>
                <a:gd name="T64" fmla="*/ 1891928886 w 600"/>
                <a:gd name="T65" fmla="*/ 2147483647 h 1727"/>
                <a:gd name="T66" fmla="*/ 1650889932 w 600"/>
                <a:gd name="T67" fmla="*/ 2147483647 h 1727"/>
                <a:gd name="T68" fmla="*/ 1578123375 w 600"/>
                <a:gd name="T69" fmla="*/ 2147483647 h 1727"/>
                <a:gd name="T70" fmla="*/ 1455329543 w 600"/>
                <a:gd name="T71" fmla="*/ 2147483647 h 1727"/>
                <a:gd name="T72" fmla="*/ 1432590261 w 600"/>
                <a:gd name="T73" fmla="*/ 2147483647 h 1727"/>
                <a:gd name="T74" fmla="*/ 1964693311 w 600"/>
                <a:gd name="T75" fmla="*/ 2147483647 h 1727"/>
                <a:gd name="T76" fmla="*/ 1782779051 w 600"/>
                <a:gd name="T77" fmla="*/ 1962477842 h 1727"/>
                <a:gd name="T78" fmla="*/ 1105140487 w 600"/>
                <a:gd name="T79" fmla="*/ 1414028468 h 1727"/>
                <a:gd name="T80" fmla="*/ 1332535712 w 600"/>
                <a:gd name="T81" fmla="*/ 1201364583 h 1727"/>
                <a:gd name="T82" fmla="*/ 1896475463 w 600"/>
                <a:gd name="T83" fmla="*/ 1354332326 h 1727"/>
                <a:gd name="T84" fmla="*/ 1937407451 w 600"/>
                <a:gd name="T85" fmla="*/ 1078242979 h 1727"/>
                <a:gd name="T86" fmla="*/ 2147483647 w 600"/>
                <a:gd name="T87" fmla="*/ 2147483647 h 1727"/>
                <a:gd name="T88" fmla="*/ 2147483647 w 600"/>
                <a:gd name="T89" fmla="*/ 2147483647 h 1727"/>
                <a:gd name="T90" fmla="*/ 2147483647 w 600"/>
                <a:gd name="T91" fmla="*/ 1839356238 h 1727"/>
                <a:gd name="T92" fmla="*/ 2147483647 w 600"/>
                <a:gd name="T93" fmla="*/ 2147483647 h 1727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600"/>
                <a:gd name="T142" fmla="*/ 0 h 1727"/>
                <a:gd name="T143" fmla="*/ 600 w 600"/>
                <a:gd name="T144" fmla="*/ 1727 h 1727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600" h="1727">
                  <a:moveTo>
                    <a:pt x="588" y="660"/>
                  </a:moveTo>
                  <a:cubicBezTo>
                    <a:pt x="584" y="609"/>
                    <a:pt x="581" y="557"/>
                    <a:pt x="581" y="506"/>
                  </a:cubicBezTo>
                  <a:cubicBezTo>
                    <a:pt x="580" y="455"/>
                    <a:pt x="582" y="399"/>
                    <a:pt x="567" y="349"/>
                  </a:cubicBezTo>
                  <a:cubicBezTo>
                    <a:pt x="562" y="333"/>
                    <a:pt x="560" y="307"/>
                    <a:pt x="545" y="296"/>
                  </a:cubicBezTo>
                  <a:cubicBezTo>
                    <a:pt x="535" y="288"/>
                    <a:pt x="517" y="285"/>
                    <a:pt x="504" y="281"/>
                  </a:cubicBezTo>
                  <a:cubicBezTo>
                    <a:pt x="493" y="277"/>
                    <a:pt x="481" y="274"/>
                    <a:pt x="469" y="272"/>
                  </a:cubicBezTo>
                  <a:cubicBezTo>
                    <a:pt x="477" y="267"/>
                    <a:pt x="490" y="260"/>
                    <a:pt x="486" y="250"/>
                  </a:cubicBezTo>
                  <a:cubicBezTo>
                    <a:pt x="478" y="255"/>
                    <a:pt x="472" y="262"/>
                    <a:pt x="461" y="259"/>
                  </a:cubicBezTo>
                  <a:cubicBezTo>
                    <a:pt x="464" y="250"/>
                    <a:pt x="469" y="241"/>
                    <a:pt x="465" y="231"/>
                  </a:cubicBezTo>
                  <a:cubicBezTo>
                    <a:pt x="463" y="239"/>
                    <a:pt x="461" y="251"/>
                    <a:pt x="452" y="254"/>
                  </a:cubicBezTo>
                  <a:cubicBezTo>
                    <a:pt x="450" y="248"/>
                    <a:pt x="449" y="240"/>
                    <a:pt x="448" y="233"/>
                  </a:cubicBezTo>
                  <a:cubicBezTo>
                    <a:pt x="448" y="244"/>
                    <a:pt x="443" y="255"/>
                    <a:pt x="436" y="251"/>
                  </a:cubicBezTo>
                  <a:cubicBezTo>
                    <a:pt x="433" y="237"/>
                    <a:pt x="431" y="222"/>
                    <a:pt x="427" y="208"/>
                  </a:cubicBezTo>
                  <a:cubicBezTo>
                    <a:pt x="420" y="176"/>
                    <a:pt x="418" y="143"/>
                    <a:pt x="413" y="110"/>
                  </a:cubicBezTo>
                  <a:cubicBezTo>
                    <a:pt x="409" y="91"/>
                    <a:pt x="404" y="67"/>
                    <a:pt x="394" y="48"/>
                  </a:cubicBezTo>
                  <a:cubicBezTo>
                    <a:pt x="392" y="41"/>
                    <a:pt x="389" y="35"/>
                    <a:pt x="386" y="29"/>
                  </a:cubicBezTo>
                  <a:cubicBezTo>
                    <a:pt x="384" y="26"/>
                    <a:pt x="381" y="22"/>
                    <a:pt x="378" y="19"/>
                  </a:cubicBezTo>
                  <a:cubicBezTo>
                    <a:pt x="374" y="14"/>
                    <a:pt x="370" y="11"/>
                    <a:pt x="366" y="11"/>
                  </a:cubicBezTo>
                  <a:cubicBezTo>
                    <a:pt x="356" y="4"/>
                    <a:pt x="344" y="0"/>
                    <a:pt x="334" y="2"/>
                  </a:cubicBezTo>
                  <a:cubicBezTo>
                    <a:pt x="328" y="4"/>
                    <a:pt x="326" y="7"/>
                    <a:pt x="319" y="5"/>
                  </a:cubicBezTo>
                  <a:cubicBezTo>
                    <a:pt x="321" y="6"/>
                    <a:pt x="321" y="6"/>
                    <a:pt x="321" y="6"/>
                  </a:cubicBezTo>
                  <a:cubicBezTo>
                    <a:pt x="211" y="11"/>
                    <a:pt x="239" y="136"/>
                    <a:pt x="235" y="208"/>
                  </a:cubicBezTo>
                  <a:cubicBezTo>
                    <a:pt x="233" y="220"/>
                    <a:pt x="233" y="220"/>
                    <a:pt x="233" y="220"/>
                  </a:cubicBezTo>
                  <a:cubicBezTo>
                    <a:pt x="233" y="219"/>
                    <a:pt x="234" y="219"/>
                    <a:pt x="234" y="218"/>
                  </a:cubicBezTo>
                  <a:cubicBezTo>
                    <a:pt x="234" y="219"/>
                    <a:pt x="234" y="219"/>
                    <a:pt x="234" y="219"/>
                  </a:cubicBezTo>
                  <a:cubicBezTo>
                    <a:pt x="233" y="226"/>
                    <a:pt x="232" y="234"/>
                    <a:pt x="230" y="242"/>
                  </a:cubicBezTo>
                  <a:cubicBezTo>
                    <a:pt x="233" y="220"/>
                    <a:pt x="233" y="220"/>
                    <a:pt x="233" y="220"/>
                  </a:cubicBezTo>
                  <a:cubicBezTo>
                    <a:pt x="233" y="221"/>
                    <a:pt x="232" y="223"/>
                    <a:pt x="232" y="224"/>
                  </a:cubicBezTo>
                  <a:cubicBezTo>
                    <a:pt x="226" y="238"/>
                    <a:pt x="221" y="253"/>
                    <a:pt x="212" y="265"/>
                  </a:cubicBezTo>
                  <a:cubicBezTo>
                    <a:pt x="203" y="278"/>
                    <a:pt x="191" y="292"/>
                    <a:pt x="173" y="291"/>
                  </a:cubicBezTo>
                  <a:cubicBezTo>
                    <a:pt x="165" y="291"/>
                    <a:pt x="156" y="287"/>
                    <a:pt x="153" y="280"/>
                  </a:cubicBezTo>
                  <a:cubicBezTo>
                    <a:pt x="155" y="292"/>
                    <a:pt x="155" y="300"/>
                    <a:pt x="171" y="306"/>
                  </a:cubicBezTo>
                  <a:cubicBezTo>
                    <a:pt x="157" y="307"/>
                    <a:pt x="151" y="297"/>
                    <a:pt x="143" y="289"/>
                  </a:cubicBezTo>
                  <a:cubicBezTo>
                    <a:pt x="144" y="297"/>
                    <a:pt x="151" y="307"/>
                    <a:pt x="158" y="312"/>
                  </a:cubicBezTo>
                  <a:cubicBezTo>
                    <a:pt x="162" y="314"/>
                    <a:pt x="166" y="317"/>
                    <a:pt x="170" y="318"/>
                  </a:cubicBezTo>
                  <a:cubicBezTo>
                    <a:pt x="161" y="321"/>
                    <a:pt x="152" y="324"/>
                    <a:pt x="145" y="329"/>
                  </a:cubicBezTo>
                  <a:cubicBezTo>
                    <a:pt x="135" y="335"/>
                    <a:pt x="138" y="340"/>
                    <a:pt x="135" y="349"/>
                  </a:cubicBezTo>
                  <a:cubicBezTo>
                    <a:pt x="133" y="354"/>
                    <a:pt x="124" y="368"/>
                    <a:pt x="126" y="375"/>
                  </a:cubicBezTo>
                  <a:cubicBezTo>
                    <a:pt x="118" y="398"/>
                    <a:pt x="102" y="421"/>
                    <a:pt x="92" y="443"/>
                  </a:cubicBezTo>
                  <a:cubicBezTo>
                    <a:pt x="85" y="460"/>
                    <a:pt x="77" y="476"/>
                    <a:pt x="68" y="492"/>
                  </a:cubicBezTo>
                  <a:cubicBezTo>
                    <a:pt x="57" y="512"/>
                    <a:pt x="44" y="534"/>
                    <a:pt x="30" y="551"/>
                  </a:cubicBezTo>
                  <a:cubicBezTo>
                    <a:pt x="16" y="568"/>
                    <a:pt x="0" y="578"/>
                    <a:pt x="4" y="599"/>
                  </a:cubicBezTo>
                  <a:cubicBezTo>
                    <a:pt x="16" y="669"/>
                    <a:pt x="113" y="687"/>
                    <a:pt x="157" y="739"/>
                  </a:cubicBezTo>
                  <a:cubicBezTo>
                    <a:pt x="161" y="728"/>
                    <a:pt x="171" y="731"/>
                    <a:pt x="178" y="724"/>
                  </a:cubicBezTo>
                  <a:cubicBezTo>
                    <a:pt x="182" y="720"/>
                    <a:pt x="184" y="712"/>
                    <a:pt x="185" y="706"/>
                  </a:cubicBezTo>
                  <a:cubicBezTo>
                    <a:pt x="183" y="709"/>
                    <a:pt x="179" y="713"/>
                    <a:pt x="171" y="716"/>
                  </a:cubicBezTo>
                  <a:cubicBezTo>
                    <a:pt x="142" y="725"/>
                    <a:pt x="137" y="650"/>
                    <a:pt x="160" y="655"/>
                  </a:cubicBezTo>
                  <a:cubicBezTo>
                    <a:pt x="163" y="655"/>
                    <a:pt x="166" y="655"/>
                    <a:pt x="169" y="655"/>
                  </a:cubicBezTo>
                  <a:cubicBezTo>
                    <a:pt x="143" y="640"/>
                    <a:pt x="121" y="619"/>
                    <a:pt x="100" y="599"/>
                  </a:cubicBezTo>
                  <a:cubicBezTo>
                    <a:pt x="103" y="598"/>
                    <a:pt x="106" y="597"/>
                    <a:pt x="109" y="596"/>
                  </a:cubicBezTo>
                  <a:cubicBezTo>
                    <a:pt x="105" y="592"/>
                    <a:pt x="102" y="586"/>
                    <a:pt x="102" y="580"/>
                  </a:cubicBezTo>
                  <a:cubicBezTo>
                    <a:pt x="121" y="557"/>
                    <a:pt x="132" y="526"/>
                    <a:pt x="152" y="501"/>
                  </a:cubicBezTo>
                  <a:cubicBezTo>
                    <a:pt x="158" y="493"/>
                    <a:pt x="167" y="482"/>
                    <a:pt x="176" y="476"/>
                  </a:cubicBezTo>
                  <a:cubicBezTo>
                    <a:pt x="179" y="474"/>
                    <a:pt x="181" y="473"/>
                    <a:pt x="184" y="471"/>
                  </a:cubicBezTo>
                  <a:cubicBezTo>
                    <a:pt x="185" y="474"/>
                    <a:pt x="186" y="477"/>
                    <a:pt x="187" y="479"/>
                  </a:cubicBezTo>
                  <a:cubicBezTo>
                    <a:pt x="193" y="492"/>
                    <a:pt x="200" y="506"/>
                    <a:pt x="204" y="519"/>
                  </a:cubicBezTo>
                  <a:cubicBezTo>
                    <a:pt x="209" y="535"/>
                    <a:pt x="206" y="546"/>
                    <a:pt x="207" y="560"/>
                  </a:cubicBezTo>
                  <a:cubicBezTo>
                    <a:pt x="209" y="574"/>
                    <a:pt x="219" y="589"/>
                    <a:pt x="221" y="603"/>
                  </a:cubicBezTo>
                  <a:cubicBezTo>
                    <a:pt x="222" y="608"/>
                    <a:pt x="222" y="613"/>
                    <a:pt x="222" y="617"/>
                  </a:cubicBezTo>
                  <a:cubicBezTo>
                    <a:pt x="199" y="623"/>
                    <a:pt x="198" y="646"/>
                    <a:pt x="178" y="659"/>
                  </a:cubicBezTo>
                  <a:cubicBezTo>
                    <a:pt x="178" y="659"/>
                    <a:pt x="177" y="659"/>
                    <a:pt x="177" y="658"/>
                  </a:cubicBezTo>
                  <a:cubicBezTo>
                    <a:pt x="163" y="687"/>
                    <a:pt x="181" y="700"/>
                    <a:pt x="186" y="702"/>
                  </a:cubicBezTo>
                  <a:cubicBezTo>
                    <a:pt x="186" y="702"/>
                    <a:pt x="186" y="702"/>
                    <a:pt x="186" y="701"/>
                  </a:cubicBezTo>
                  <a:cubicBezTo>
                    <a:pt x="190" y="702"/>
                    <a:pt x="194" y="702"/>
                    <a:pt x="198" y="703"/>
                  </a:cubicBezTo>
                  <a:cubicBezTo>
                    <a:pt x="197" y="705"/>
                    <a:pt x="196" y="708"/>
                    <a:pt x="195" y="710"/>
                  </a:cubicBezTo>
                  <a:cubicBezTo>
                    <a:pt x="176" y="749"/>
                    <a:pt x="158" y="791"/>
                    <a:pt x="147" y="832"/>
                  </a:cubicBezTo>
                  <a:cubicBezTo>
                    <a:pt x="154" y="833"/>
                    <a:pt x="195" y="837"/>
                    <a:pt x="202" y="842"/>
                  </a:cubicBezTo>
                  <a:cubicBezTo>
                    <a:pt x="201" y="863"/>
                    <a:pt x="197" y="891"/>
                    <a:pt x="196" y="915"/>
                  </a:cubicBezTo>
                  <a:cubicBezTo>
                    <a:pt x="194" y="963"/>
                    <a:pt x="190" y="990"/>
                    <a:pt x="195" y="1029"/>
                  </a:cubicBezTo>
                  <a:cubicBezTo>
                    <a:pt x="201" y="1081"/>
                    <a:pt x="197" y="1136"/>
                    <a:pt x="190" y="1187"/>
                  </a:cubicBezTo>
                  <a:cubicBezTo>
                    <a:pt x="200" y="1191"/>
                    <a:pt x="209" y="1191"/>
                    <a:pt x="218" y="1191"/>
                  </a:cubicBezTo>
                  <a:cubicBezTo>
                    <a:pt x="216" y="1206"/>
                    <a:pt x="213" y="1221"/>
                    <a:pt x="213" y="1237"/>
                  </a:cubicBezTo>
                  <a:cubicBezTo>
                    <a:pt x="212" y="1255"/>
                    <a:pt x="214" y="1273"/>
                    <a:pt x="217" y="1291"/>
                  </a:cubicBezTo>
                  <a:cubicBezTo>
                    <a:pt x="225" y="1341"/>
                    <a:pt x="240" y="1389"/>
                    <a:pt x="259" y="1436"/>
                  </a:cubicBezTo>
                  <a:cubicBezTo>
                    <a:pt x="274" y="1473"/>
                    <a:pt x="294" y="1521"/>
                    <a:pt x="285" y="1560"/>
                  </a:cubicBezTo>
                  <a:cubicBezTo>
                    <a:pt x="280" y="1583"/>
                    <a:pt x="279" y="1609"/>
                    <a:pt x="281" y="1632"/>
                  </a:cubicBezTo>
                  <a:cubicBezTo>
                    <a:pt x="283" y="1648"/>
                    <a:pt x="290" y="1663"/>
                    <a:pt x="292" y="1679"/>
                  </a:cubicBezTo>
                  <a:cubicBezTo>
                    <a:pt x="294" y="1691"/>
                    <a:pt x="287" y="1699"/>
                    <a:pt x="301" y="1706"/>
                  </a:cubicBezTo>
                  <a:cubicBezTo>
                    <a:pt x="317" y="1713"/>
                    <a:pt x="366" y="1727"/>
                    <a:pt x="383" y="1719"/>
                  </a:cubicBezTo>
                  <a:cubicBezTo>
                    <a:pt x="392" y="1714"/>
                    <a:pt x="396" y="1709"/>
                    <a:pt x="398" y="1703"/>
                  </a:cubicBezTo>
                  <a:cubicBezTo>
                    <a:pt x="401" y="1708"/>
                    <a:pt x="405" y="1711"/>
                    <a:pt x="413" y="1712"/>
                  </a:cubicBezTo>
                  <a:cubicBezTo>
                    <a:pt x="428" y="1715"/>
                    <a:pt x="442" y="1713"/>
                    <a:pt x="456" y="1709"/>
                  </a:cubicBezTo>
                  <a:cubicBezTo>
                    <a:pt x="500" y="1697"/>
                    <a:pt x="454" y="1666"/>
                    <a:pt x="443" y="1643"/>
                  </a:cubicBezTo>
                  <a:cubicBezTo>
                    <a:pt x="439" y="1634"/>
                    <a:pt x="438" y="1622"/>
                    <a:pt x="437" y="1610"/>
                  </a:cubicBezTo>
                  <a:cubicBezTo>
                    <a:pt x="437" y="1588"/>
                    <a:pt x="432" y="1578"/>
                    <a:pt x="433" y="1563"/>
                  </a:cubicBezTo>
                  <a:cubicBezTo>
                    <a:pt x="434" y="1546"/>
                    <a:pt x="475" y="1428"/>
                    <a:pt x="479" y="1417"/>
                  </a:cubicBezTo>
                  <a:cubicBezTo>
                    <a:pt x="482" y="1406"/>
                    <a:pt x="519" y="1310"/>
                    <a:pt x="522" y="1297"/>
                  </a:cubicBezTo>
                  <a:cubicBezTo>
                    <a:pt x="524" y="1287"/>
                    <a:pt x="538" y="1222"/>
                    <a:pt x="542" y="1204"/>
                  </a:cubicBezTo>
                  <a:cubicBezTo>
                    <a:pt x="550" y="1201"/>
                    <a:pt x="549" y="1016"/>
                    <a:pt x="561" y="923"/>
                  </a:cubicBezTo>
                  <a:cubicBezTo>
                    <a:pt x="569" y="860"/>
                    <a:pt x="568" y="859"/>
                    <a:pt x="582" y="855"/>
                  </a:cubicBezTo>
                  <a:cubicBezTo>
                    <a:pt x="587" y="849"/>
                    <a:pt x="591" y="840"/>
                    <a:pt x="594" y="830"/>
                  </a:cubicBezTo>
                  <a:cubicBezTo>
                    <a:pt x="596" y="821"/>
                    <a:pt x="598" y="808"/>
                    <a:pt x="598" y="795"/>
                  </a:cubicBezTo>
                  <a:cubicBezTo>
                    <a:pt x="600" y="750"/>
                    <a:pt x="591" y="706"/>
                    <a:pt x="588" y="660"/>
                  </a:cubicBezTo>
                  <a:close/>
                  <a:moveTo>
                    <a:pt x="376" y="1659"/>
                  </a:moveTo>
                  <a:cubicBezTo>
                    <a:pt x="366" y="1644"/>
                    <a:pt x="365" y="1625"/>
                    <a:pt x="362" y="1608"/>
                  </a:cubicBezTo>
                  <a:cubicBezTo>
                    <a:pt x="367" y="1612"/>
                    <a:pt x="372" y="1616"/>
                    <a:pt x="374" y="1623"/>
                  </a:cubicBezTo>
                  <a:cubicBezTo>
                    <a:pt x="378" y="1635"/>
                    <a:pt x="376" y="1647"/>
                    <a:pt x="376" y="1659"/>
                  </a:cubicBezTo>
                  <a:close/>
                  <a:moveTo>
                    <a:pt x="432" y="1268"/>
                  </a:moveTo>
                  <a:cubicBezTo>
                    <a:pt x="429" y="1284"/>
                    <a:pt x="421" y="1302"/>
                    <a:pt x="416" y="1317"/>
                  </a:cubicBezTo>
                  <a:cubicBezTo>
                    <a:pt x="409" y="1339"/>
                    <a:pt x="408" y="1361"/>
                    <a:pt x="406" y="1383"/>
                  </a:cubicBezTo>
                  <a:cubicBezTo>
                    <a:pt x="404" y="1425"/>
                    <a:pt x="404" y="1467"/>
                    <a:pt x="388" y="1507"/>
                  </a:cubicBezTo>
                  <a:cubicBezTo>
                    <a:pt x="382" y="1522"/>
                    <a:pt x="374" y="1535"/>
                    <a:pt x="363" y="1547"/>
                  </a:cubicBezTo>
                  <a:cubicBezTo>
                    <a:pt x="361" y="1550"/>
                    <a:pt x="357" y="1553"/>
                    <a:pt x="353" y="1557"/>
                  </a:cubicBezTo>
                  <a:cubicBezTo>
                    <a:pt x="353" y="1553"/>
                    <a:pt x="352" y="1549"/>
                    <a:pt x="350" y="1546"/>
                  </a:cubicBezTo>
                  <a:cubicBezTo>
                    <a:pt x="349" y="1543"/>
                    <a:pt x="348" y="1541"/>
                    <a:pt x="347" y="1538"/>
                  </a:cubicBezTo>
                  <a:cubicBezTo>
                    <a:pt x="340" y="1511"/>
                    <a:pt x="330" y="1467"/>
                    <a:pt x="329" y="1444"/>
                  </a:cubicBezTo>
                  <a:cubicBezTo>
                    <a:pt x="327" y="1417"/>
                    <a:pt x="320" y="1330"/>
                    <a:pt x="320" y="1330"/>
                  </a:cubicBezTo>
                  <a:cubicBezTo>
                    <a:pt x="320" y="1330"/>
                    <a:pt x="320" y="1330"/>
                    <a:pt x="320" y="1330"/>
                  </a:cubicBezTo>
                  <a:cubicBezTo>
                    <a:pt x="319" y="1315"/>
                    <a:pt x="317" y="1300"/>
                    <a:pt x="315" y="1285"/>
                  </a:cubicBezTo>
                  <a:cubicBezTo>
                    <a:pt x="312" y="1268"/>
                    <a:pt x="307" y="1252"/>
                    <a:pt x="308" y="1235"/>
                  </a:cubicBezTo>
                  <a:cubicBezTo>
                    <a:pt x="310" y="1221"/>
                    <a:pt x="313" y="1208"/>
                    <a:pt x="315" y="1195"/>
                  </a:cubicBezTo>
                  <a:cubicBezTo>
                    <a:pt x="317" y="1194"/>
                    <a:pt x="319" y="1194"/>
                    <a:pt x="322" y="1194"/>
                  </a:cubicBezTo>
                  <a:cubicBezTo>
                    <a:pt x="335" y="1193"/>
                    <a:pt x="347" y="1193"/>
                    <a:pt x="360" y="1194"/>
                  </a:cubicBezTo>
                  <a:cubicBezTo>
                    <a:pt x="372" y="1195"/>
                    <a:pt x="420" y="1196"/>
                    <a:pt x="432" y="1197"/>
                  </a:cubicBezTo>
                  <a:cubicBezTo>
                    <a:pt x="432" y="1210"/>
                    <a:pt x="440" y="1213"/>
                    <a:pt x="432" y="1268"/>
                  </a:cubicBezTo>
                  <a:close/>
                  <a:moveTo>
                    <a:pt x="426" y="371"/>
                  </a:moveTo>
                  <a:cubicBezTo>
                    <a:pt x="417" y="395"/>
                    <a:pt x="392" y="526"/>
                    <a:pt x="392" y="526"/>
                  </a:cubicBezTo>
                  <a:cubicBezTo>
                    <a:pt x="392" y="526"/>
                    <a:pt x="392" y="526"/>
                    <a:pt x="384" y="526"/>
                  </a:cubicBezTo>
                  <a:cubicBezTo>
                    <a:pt x="384" y="526"/>
                    <a:pt x="384" y="526"/>
                    <a:pt x="301" y="363"/>
                  </a:cubicBezTo>
                  <a:cubicBezTo>
                    <a:pt x="301" y="354"/>
                    <a:pt x="243" y="379"/>
                    <a:pt x="243" y="379"/>
                  </a:cubicBezTo>
                  <a:cubicBezTo>
                    <a:pt x="243" y="379"/>
                    <a:pt x="243" y="346"/>
                    <a:pt x="243" y="273"/>
                  </a:cubicBezTo>
                  <a:cubicBezTo>
                    <a:pt x="243" y="273"/>
                    <a:pt x="243" y="273"/>
                    <a:pt x="276" y="264"/>
                  </a:cubicBezTo>
                  <a:cubicBezTo>
                    <a:pt x="285" y="289"/>
                    <a:pt x="293" y="322"/>
                    <a:pt x="293" y="322"/>
                  </a:cubicBezTo>
                  <a:cubicBezTo>
                    <a:pt x="293" y="322"/>
                    <a:pt x="293" y="322"/>
                    <a:pt x="310" y="354"/>
                  </a:cubicBezTo>
                  <a:cubicBezTo>
                    <a:pt x="384" y="485"/>
                    <a:pt x="384" y="485"/>
                    <a:pt x="384" y="485"/>
                  </a:cubicBezTo>
                  <a:cubicBezTo>
                    <a:pt x="384" y="485"/>
                    <a:pt x="384" y="485"/>
                    <a:pt x="417" y="363"/>
                  </a:cubicBezTo>
                  <a:cubicBezTo>
                    <a:pt x="426" y="354"/>
                    <a:pt x="417" y="297"/>
                    <a:pt x="417" y="297"/>
                  </a:cubicBezTo>
                  <a:cubicBezTo>
                    <a:pt x="417" y="297"/>
                    <a:pt x="417" y="297"/>
                    <a:pt x="417" y="281"/>
                  </a:cubicBezTo>
                  <a:cubicBezTo>
                    <a:pt x="417" y="281"/>
                    <a:pt x="417" y="281"/>
                    <a:pt x="426" y="289"/>
                  </a:cubicBezTo>
                  <a:cubicBezTo>
                    <a:pt x="426" y="289"/>
                    <a:pt x="426" y="289"/>
                    <a:pt x="467" y="371"/>
                  </a:cubicBezTo>
                  <a:cubicBezTo>
                    <a:pt x="467" y="371"/>
                    <a:pt x="467" y="371"/>
                    <a:pt x="426" y="371"/>
                  </a:cubicBezTo>
                  <a:close/>
                  <a:moveTo>
                    <a:pt x="487" y="649"/>
                  </a:moveTo>
                  <a:cubicBezTo>
                    <a:pt x="483" y="649"/>
                    <a:pt x="483" y="649"/>
                    <a:pt x="483" y="649"/>
                  </a:cubicBezTo>
                  <a:cubicBezTo>
                    <a:pt x="483" y="644"/>
                    <a:pt x="475" y="632"/>
                    <a:pt x="474" y="622"/>
                  </a:cubicBezTo>
                  <a:cubicBezTo>
                    <a:pt x="472" y="613"/>
                    <a:pt x="474" y="599"/>
                    <a:pt x="474" y="588"/>
                  </a:cubicBezTo>
                  <a:cubicBezTo>
                    <a:pt x="476" y="556"/>
                    <a:pt x="487" y="525"/>
                    <a:pt x="487" y="493"/>
                  </a:cubicBezTo>
                  <a:cubicBezTo>
                    <a:pt x="487" y="490"/>
                    <a:pt x="487" y="488"/>
                    <a:pt x="487" y="486"/>
                  </a:cubicBezTo>
                  <a:cubicBezTo>
                    <a:pt x="487" y="488"/>
                    <a:pt x="487" y="490"/>
                    <a:pt x="487" y="493"/>
                  </a:cubicBezTo>
                  <a:cubicBezTo>
                    <a:pt x="488" y="525"/>
                    <a:pt x="493" y="556"/>
                    <a:pt x="481" y="587"/>
                  </a:cubicBezTo>
                  <a:cubicBezTo>
                    <a:pt x="484" y="586"/>
                    <a:pt x="487" y="587"/>
                    <a:pt x="489" y="587"/>
                  </a:cubicBezTo>
                  <a:cubicBezTo>
                    <a:pt x="484" y="599"/>
                    <a:pt x="492" y="605"/>
                    <a:pt x="492" y="616"/>
                  </a:cubicBezTo>
                  <a:cubicBezTo>
                    <a:pt x="492" y="627"/>
                    <a:pt x="488" y="638"/>
                    <a:pt x="487" y="649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grpSp>
          <p:nvGrpSpPr>
            <p:cNvPr id="143" name="Gruppe 51"/>
            <p:cNvGrpSpPr>
              <a:grpSpLocks/>
            </p:cNvGrpSpPr>
            <p:nvPr/>
          </p:nvGrpSpPr>
          <p:grpSpPr bwMode="auto">
            <a:xfrm>
              <a:off x="3038092" y="1930398"/>
              <a:ext cx="203938" cy="665228"/>
              <a:chOff x="2761494" y="1597101"/>
              <a:chExt cx="749466" cy="2442448"/>
            </a:xfrm>
            <a:grpFill/>
          </p:grpSpPr>
          <p:sp>
            <p:nvSpPr>
              <p:cNvPr id="145" name="Freeform 125"/>
              <p:cNvSpPr>
                <a:spLocks/>
              </p:cNvSpPr>
              <p:nvPr/>
            </p:nvSpPr>
            <p:spPr bwMode="auto">
              <a:xfrm>
                <a:off x="2762795" y="1597101"/>
                <a:ext cx="746615" cy="2444087"/>
              </a:xfrm>
              <a:custGeom>
                <a:avLst/>
                <a:gdLst>
                  <a:gd name="T0" fmla="*/ 2147483647 w 364"/>
                  <a:gd name="T1" fmla="*/ 2147483647 h 1186"/>
                  <a:gd name="T2" fmla="*/ 2147483647 w 364"/>
                  <a:gd name="T3" fmla="*/ 2147483647 h 1186"/>
                  <a:gd name="T4" fmla="*/ 2147483647 w 364"/>
                  <a:gd name="T5" fmla="*/ 2147483647 h 1186"/>
                  <a:gd name="T6" fmla="*/ 2147483647 w 364"/>
                  <a:gd name="T7" fmla="*/ 2147483647 h 1186"/>
                  <a:gd name="T8" fmla="*/ 2147483647 w 364"/>
                  <a:gd name="T9" fmla="*/ 2147483647 h 1186"/>
                  <a:gd name="T10" fmla="*/ 2147483647 w 364"/>
                  <a:gd name="T11" fmla="*/ 2147483647 h 1186"/>
                  <a:gd name="T12" fmla="*/ 2147483647 w 364"/>
                  <a:gd name="T13" fmla="*/ 2147483647 h 1186"/>
                  <a:gd name="T14" fmla="*/ 2147483647 w 364"/>
                  <a:gd name="T15" fmla="*/ 2147483647 h 1186"/>
                  <a:gd name="T16" fmla="*/ 2147483647 w 364"/>
                  <a:gd name="T17" fmla="*/ 0 h 1186"/>
                  <a:gd name="T18" fmla="*/ 2147483647 w 364"/>
                  <a:gd name="T19" fmla="*/ 2147483647 h 1186"/>
                  <a:gd name="T20" fmla="*/ 2147483647 w 364"/>
                  <a:gd name="T21" fmla="*/ 2147483647 h 1186"/>
                  <a:gd name="T22" fmla="*/ 2147483647 w 364"/>
                  <a:gd name="T23" fmla="*/ 2147483647 h 1186"/>
                  <a:gd name="T24" fmla="*/ 2147483647 w 364"/>
                  <a:gd name="T25" fmla="*/ 2147483647 h 1186"/>
                  <a:gd name="T26" fmla="*/ 2147483647 w 364"/>
                  <a:gd name="T27" fmla="*/ 2147483647 h 1186"/>
                  <a:gd name="T28" fmla="*/ 2147483647 w 364"/>
                  <a:gd name="T29" fmla="*/ 2147483647 h 1186"/>
                  <a:gd name="T30" fmla="*/ 2147483647 w 364"/>
                  <a:gd name="T31" fmla="*/ 2147483647 h 1186"/>
                  <a:gd name="T32" fmla="*/ 2147483647 w 364"/>
                  <a:gd name="T33" fmla="*/ 2147483647 h 1186"/>
                  <a:gd name="T34" fmla="*/ 2147483647 w 364"/>
                  <a:gd name="T35" fmla="*/ 2147483647 h 1186"/>
                  <a:gd name="T36" fmla="*/ 2147483647 w 364"/>
                  <a:gd name="T37" fmla="*/ 2147483647 h 1186"/>
                  <a:gd name="T38" fmla="*/ 2147483647 w 364"/>
                  <a:gd name="T39" fmla="*/ 2147483647 h 1186"/>
                  <a:gd name="T40" fmla="*/ 2147483647 w 364"/>
                  <a:gd name="T41" fmla="*/ 2147483647 h 1186"/>
                  <a:gd name="T42" fmla="*/ 0 w 364"/>
                  <a:gd name="T43" fmla="*/ 2147483647 h 1186"/>
                  <a:gd name="T44" fmla="*/ 2147483647 w 364"/>
                  <a:gd name="T45" fmla="*/ 2147483647 h 1186"/>
                  <a:gd name="T46" fmla="*/ 2147483647 w 364"/>
                  <a:gd name="T47" fmla="*/ 2147483647 h 1186"/>
                  <a:gd name="T48" fmla="*/ 2147483647 w 364"/>
                  <a:gd name="T49" fmla="*/ 2147483647 h 1186"/>
                  <a:gd name="T50" fmla="*/ 2147483647 w 364"/>
                  <a:gd name="T51" fmla="*/ 2147483647 h 1186"/>
                  <a:gd name="T52" fmla="*/ 2147483647 w 364"/>
                  <a:gd name="T53" fmla="*/ 2147483647 h 1186"/>
                  <a:gd name="T54" fmla="*/ 2147483647 w 364"/>
                  <a:gd name="T55" fmla="*/ 2147483647 h 1186"/>
                  <a:gd name="T56" fmla="*/ 2147483647 w 364"/>
                  <a:gd name="T57" fmla="*/ 2147483647 h 1186"/>
                  <a:gd name="T58" fmla="*/ 2147483647 w 364"/>
                  <a:gd name="T59" fmla="*/ 2147483647 h 1186"/>
                  <a:gd name="T60" fmla="*/ 2147483647 w 364"/>
                  <a:gd name="T61" fmla="*/ 2147483647 h 1186"/>
                  <a:gd name="T62" fmla="*/ 2147483647 w 364"/>
                  <a:gd name="T63" fmla="*/ 2147483647 h 1186"/>
                  <a:gd name="T64" fmla="*/ 2147483647 w 364"/>
                  <a:gd name="T65" fmla="*/ 2147483647 h 1186"/>
                  <a:gd name="T66" fmla="*/ 2147483647 w 364"/>
                  <a:gd name="T67" fmla="*/ 2147483647 h 1186"/>
                  <a:gd name="T68" fmla="*/ 2147483647 w 364"/>
                  <a:gd name="T69" fmla="*/ 2147483647 h 1186"/>
                  <a:gd name="T70" fmla="*/ 2147483647 w 364"/>
                  <a:gd name="T71" fmla="*/ 2147483647 h 1186"/>
                  <a:gd name="T72" fmla="*/ 2147483647 w 364"/>
                  <a:gd name="T73" fmla="*/ 2147483647 h 1186"/>
                  <a:gd name="T74" fmla="*/ 2147483647 w 364"/>
                  <a:gd name="T75" fmla="*/ 2147483647 h 1186"/>
                  <a:gd name="T76" fmla="*/ 2147483647 w 364"/>
                  <a:gd name="T77" fmla="*/ 2147483647 h 1186"/>
                  <a:gd name="T78" fmla="*/ 2147483647 w 364"/>
                  <a:gd name="T79" fmla="*/ 2147483647 h 1186"/>
                  <a:gd name="T80" fmla="*/ 2147483647 w 364"/>
                  <a:gd name="T81" fmla="*/ 2147483647 h 1186"/>
                  <a:gd name="T82" fmla="*/ 2147483647 w 364"/>
                  <a:gd name="T83" fmla="*/ 2147483647 h 1186"/>
                  <a:gd name="T84" fmla="*/ 2147483647 w 364"/>
                  <a:gd name="T85" fmla="*/ 2147483647 h 1186"/>
                  <a:gd name="T86" fmla="*/ 2147483647 w 364"/>
                  <a:gd name="T87" fmla="*/ 2147483647 h 1186"/>
                  <a:gd name="T88" fmla="*/ 2147483647 w 364"/>
                  <a:gd name="T89" fmla="*/ 2147483647 h 1186"/>
                  <a:gd name="T90" fmla="*/ 2147483647 w 364"/>
                  <a:gd name="T91" fmla="*/ 2147483647 h 1186"/>
                  <a:gd name="T92" fmla="*/ 2147483647 w 364"/>
                  <a:gd name="T93" fmla="*/ 2147483647 h 1186"/>
                  <a:gd name="T94" fmla="*/ 2147483647 w 364"/>
                  <a:gd name="T95" fmla="*/ 2147483647 h 1186"/>
                  <a:gd name="T96" fmla="*/ 2147483647 w 364"/>
                  <a:gd name="T97" fmla="*/ 2147483647 h 1186"/>
                  <a:gd name="T98" fmla="*/ 2147483647 w 364"/>
                  <a:gd name="T99" fmla="*/ 2147483647 h 1186"/>
                  <a:gd name="T100" fmla="*/ 2147483647 w 364"/>
                  <a:gd name="T101" fmla="*/ 2147483647 h 1186"/>
                  <a:gd name="T102" fmla="*/ 2147483647 w 364"/>
                  <a:gd name="T103" fmla="*/ 2147483647 h 1186"/>
                  <a:gd name="T104" fmla="*/ 2147483647 w 364"/>
                  <a:gd name="T105" fmla="*/ 2147483647 h 1186"/>
                  <a:gd name="T106" fmla="*/ 2147483647 w 364"/>
                  <a:gd name="T107" fmla="*/ 2147483647 h 1186"/>
                  <a:gd name="T108" fmla="*/ 2147483647 w 364"/>
                  <a:gd name="T109" fmla="*/ 2147483647 h 1186"/>
                  <a:gd name="T110" fmla="*/ 2147483647 w 364"/>
                  <a:gd name="T111" fmla="*/ 2147483647 h 1186"/>
                  <a:gd name="T112" fmla="*/ 2147483647 w 364"/>
                  <a:gd name="T113" fmla="*/ 2147483647 h 1186"/>
                  <a:gd name="T114" fmla="*/ 2147483647 w 364"/>
                  <a:gd name="T115" fmla="*/ 2147483647 h 1186"/>
                  <a:gd name="T116" fmla="*/ 2147483647 w 364"/>
                  <a:gd name="T117" fmla="*/ 2147483647 h 118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w 364"/>
                  <a:gd name="T178" fmla="*/ 0 h 1186"/>
                  <a:gd name="T179" fmla="*/ 364 w 364"/>
                  <a:gd name="T180" fmla="*/ 1186 h 1186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T177" t="T178" r="T179" b="T180"/>
                <a:pathLst>
                  <a:path w="364" h="1186">
                    <a:moveTo>
                      <a:pt x="350" y="338"/>
                    </a:moveTo>
                    <a:lnTo>
                      <a:pt x="350" y="338"/>
                    </a:lnTo>
                    <a:lnTo>
                      <a:pt x="342" y="314"/>
                    </a:lnTo>
                    <a:lnTo>
                      <a:pt x="336" y="286"/>
                    </a:lnTo>
                    <a:lnTo>
                      <a:pt x="326" y="232"/>
                    </a:lnTo>
                    <a:lnTo>
                      <a:pt x="322" y="224"/>
                    </a:lnTo>
                    <a:lnTo>
                      <a:pt x="318" y="216"/>
                    </a:lnTo>
                    <a:lnTo>
                      <a:pt x="312" y="212"/>
                    </a:lnTo>
                    <a:lnTo>
                      <a:pt x="306" y="210"/>
                    </a:lnTo>
                    <a:lnTo>
                      <a:pt x="278" y="200"/>
                    </a:lnTo>
                    <a:lnTo>
                      <a:pt x="258" y="192"/>
                    </a:lnTo>
                    <a:lnTo>
                      <a:pt x="246" y="186"/>
                    </a:lnTo>
                    <a:lnTo>
                      <a:pt x="240" y="180"/>
                    </a:lnTo>
                    <a:lnTo>
                      <a:pt x="234" y="174"/>
                    </a:lnTo>
                    <a:lnTo>
                      <a:pt x="230" y="168"/>
                    </a:lnTo>
                    <a:lnTo>
                      <a:pt x="224" y="162"/>
                    </a:lnTo>
                    <a:lnTo>
                      <a:pt x="220" y="158"/>
                    </a:lnTo>
                    <a:lnTo>
                      <a:pt x="216" y="156"/>
                    </a:lnTo>
                    <a:lnTo>
                      <a:pt x="216" y="146"/>
                    </a:lnTo>
                    <a:lnTo>
                      <a:pt x="218" y="140"/>
                    </a:lnTo>
                    <a:lnTo>
                      <a:pt x="222" y="136"/>
                    </a:lnTo>
                    <a:lnTo>
                      <a:pt x="228" y="126"/>
                    </a:lnTo>
                    <a:lnTo>
                      <a:pt x="236" y="110"/>
                    </a:lnTo>
                    <a:lnTo>
                      <a:pt x="238" y="102"/>
                    </a:lnTo>
                    <a:lnTo>
                      <a:pt x="238" y="96"/>
                    </a:lnTo>
                    <a:lnTo>
                      <a:pt x="238" y="90"/>
                    </a:lnTo>
                    <a:lnTo>
                      <a:pt x="234" y="88"/>
                    </a:lnTo>
                    <a:lnTo>
                      <a:pt x="236" y="76"/>
                    </a:lnTo>
                    <a:lnTo>
                      <a:pt x="236" y="68"/>
                    </a:lnTo>
                    <a:lnTo>
                      <a:pt x="236" y="56"/>
                    </a:lnTo>
                    <a:lnTo>
                      <a:pt x="232" y="42"/>
                    </a:lnTo>
                    <a:lnTo>
                      <a:pt x="230" y="32"/>
                    </a:lnTo>
                    <a:lnTo>
                      <a:pt x="226" y="24"/>
                    </a:lnTo>
                    <a:lnTo>
                      <a:pt x="222" y="16"/>
                    </a:lnTo>
                    <a:lnTo>
                      <a:pt x="214" y="10"/>
                    </a:lnTo>
                    <a:lnTo>
                      <a:pt x="204" y="4"/>
                    </a:lnTo>
                    <a:lnTo>
                      <a:pt x="192" y="0"/>
                    </a:lnTo>
                    <a:lnTo>
                      <a:pt x="174" y="0"/>
                    </a:lnTo>
                    <a:lnTo>
                      <a:pt x="158" y="2"/>
                    </a:lnTo>
                    <a:lnTo>
                      <a:pt x="146" y="6"/>
                    </a:lnTo>
                    <a:lnTo>
                      <a:pt x="136" y="14"/>
                    </a:lnTo>
                    <a:lnTo>
                      <a:pt x="128" y="20"/>
                    </a:lnTo>
                    <a:lnTo>
                      <a:pt x="124" y="28"/>
                    </a:lnTo>
                    <a:lnTo>
                      <a:pt x="120" y="36"/>
                    </a:lnTo>
                    <a:lnTo>
                      <a:pt x="118" y="44"/>
                    </a:lnTo>
                    <a:lnTo>
                      <a:pt x="116" y="60"/>
                    </a:lnTo>
                    <a:lnTo>
                      <a:pt x="118" y="72"/>
                    </a:lnTo>
                    <a:lnTo>
                      <a:pt x="120" y="82"/>
                    </a:lnTo>
                    <a:lnTo>
                      <a:pt x="118" y="84"/>
                    </a:lnTo>
                    <a:lnTo>
                      <a:pt x="116" y="92"/>
                    </a:lnTo>
                    <a:lnTo>
                      <a:pt x="116" y="98"/>
                    </a:lnTo>
                    <a:lnTo>
                      <a:pt x="118" y="106"/>
                    </a:lnTo>
                    <a:lnTo>
                      <a:pt x="122" y="116"/>
                    </a:lnTo>
                    <a:lnTo>
                      <a:pt x="130" y="126"/>
                    </a:lnTo>
                    <a:lnTo>
                      <a:pt x="132" y="128"/>
                    </a:lnTo>
                    <a:lnTo>
                      <a:pt x="134" y="130"/>
                    </a:lnTo>
                    <a:lnTo>
                      <a:pt x="136" y="136"/>
                    </a:lnTo>
                    <a:lnTo>
                      <a:pt x="138" y="152"/>
                    </a:lnTo>
                    <a:lnTo>
                      <a:pt x="140" y="158"/>
                    </a:lnTo>
                    <a:lnTo>
                      <a:pt x="138" y="164"/>
                    </a:lnTo>
                    <a:lnTo>
                      <a:pt x="134" y="168"/>
                    </a:lnTo>
                    <a:lnTo>
                      <a:pt x="126" y="174"/>
                    </a:lnTo>
                    <a:lnTo>
                      <a:pt x="112" y="186"/>
                    </a:lnTo>
                    <a:lnTo>
                      <a:pt x="102" y="192"/>
                    </a:lnTo>
                    <a:lnTo>
                      <a:pt x="90" y="198"/>
                    </a:lnTo>
                    <a:lnTo>
                      <a:pt x="70" y="204"/>
                    </a:lnTo>
                    <a:lnTo>
                      <a:pt x="62" y="208"/>
                    </a:lnTo>
                    <a:lnTo>
                      <a:pt x="52" y="212"/>
                    </a:lnTo>
                    <a:lnTo>
                      <a:pt x="46" y="216"/>
                    </a:lnTo>
                    <a:lnTo>
                      <a:pt x="42" y="222"/>
                    </a:lnTo>
                    <a:lnTo>
                      <a:pt x="38" y="228"/>
                    </a:lnTo>
                    <a:lnTo>
                      <a:pt x="36" y="236"/>
                    </a:lnTo>
                    <a:lnTo>
                      <a:pt x="32" y="274"/>
                    </a:lnTo>
                    <a:lnTo>
                      <a:pt x="30" y="302"/>
                    </a:lnTo>
                    <a:lnTo>
                      <a:pt x="24" y="392"/>
                    </a:lnTo>
                    <a:lnTo>
                      <a:pt x="18" y="448"/>
                    </a:lnTo>
                    <a:lnTo>
                      <a:pt x="14" y="482"/>
                    </a:lnTo>
                    <a:lnTo>
                      <a:pt x="10" y="514"/>
                    </a:lnTo>
                    <a:lnTo>
                      <a:pt x="8" y="540"/>
                    </a:lnTo>
                    <a:lnTo>
                      <a:pt x="6" y="566"/>
                    </a:lnTo>
                    <a:lnTo>
                      <a:pt x="4" y="588"/>
                    </a:lnTo>
                    <a:lnTo>
                      <a:pt x="6" y="594"/>
                    </a:lnTo>
                    <a:lnTo>
                      <a:pt x="8" y="598"/>
                    </a:lnTo>
                    <a:lnTo>
                      <a:pt x="12" y="598"/>
                    </a:lnTo>
                    <a:lnTo>
                      <a:pt x="4" y="616"/>
                    </a:lnTo>
                    <a:lnTo>
                      <a:pt x="2" y="626"/>
                    </a:lnTo>
                    <a:lnTo>
                      <a:pt x="0" y="638"/>
                    </a:lnTo>
                    <a:lnTo>
                      <a:pt x="2" y="650"/>
                    </a:lnTo>
                    <a:lnTo>
                      <a:pt x="6" y="660"/>
                    </a:lnTo>
                    <a:lnTo>
                      <a:pt x="14" y="670"/>
                    </a:lnTo>
                    <a:lnTo>
                      <a:pt x="26" y="676"/>
                    </a:lnTo>
                    <a:lnTo>
                      <a:pt x="36" y="680"/>
                    </a:lnTo>
                    <a:lnTo>
                      <a:pt x="40" y="680"/>
                    </a:lnTo>
                    <a:lnTo>
                      <a:pt x="42" y="678"/>
                    </a:lnTo>
                    <a:lnTo>
                      <a:pt x="42" y="674"/>
                    </a:lnTo>
                    <a:lnTo>
                      <a:pt x="38" y="670"/>
                    </a:lnTo>
                    <a:lnTo>
                      <a:pt x="36" y="664"/>
                    </a:lnTo>
                    <a:lnTo>
                      <a:pt x="34" y="660"/>
                    </a:lnTo>
                    <a:lnTo>
                      <a:pt x="34" y="654"/>
                    </a:lnTo>
                    <a:lnTo>
                      <a:pt x="36" y="650"/>
                    </a:lnTo>
                    <a:lnTo>
                      <a:pt x="34" y="644"/>
                    </a:lnTo>
                    <a:lnTo>
                      <a:pt x="34" y="636"/>
                    </a:lnTo>
                    <a:lnTo>
                      <a:pt x="38" y="628"/>
                    </a:lnTo>
                    <a:lnTo>
                      <a:pt x="40" y="622"/>
                    </a:lnTo>
                    <a:lnTo>
                      <a:pt x="38" y="616"/>
                    </a:lnTo>
                    <a:lnTo>
                      <a:pt x="38" y="612"/>
                    </a:lnTo>
                    <a:lnTo>
                      <a:pt x="38" y="608"/>
                    </a:lnTo>
                    <a:lnTo>
                      <a:pt x="40" y="606"/>
                    </a:lnTo>
                    <a:lnTo>
                      <a:pt x="42" y="604"/>
                    </a:lnTo>
                    <a:lnTo>
                      <a:pt x="44" y="604"/>
                    </a:lnTo>
                    <a:lnTo>
                      <a:pt x="48" y="602"/>
                    </a:lnTo>
                    <a:lnTo>
                      <a:pt x="50" y="596"/>
                    </a:lnTo>
                    <a:lnTo>
                      <a:pt x="50" y="594"/>
                    </a:lnTo>
                    <a:lnTo>
                      <a:pt x="58" y="534"/>
                    </a:lnTo>
                    <a:lnTo>
                      <a:pt x="56" y="568"/>
                    </a:lnTo>
                    <a:lnTo>
                      <a:pt x="56" y="578"/>
                    </a:lnTo>
                    <a:lnTo>
                      <a:pt x="56" y="586"/>
                    </a:lnTo>
                    <a:lnTo>
                      <a:pt x="60" y="598"/>
                    </a:lnTo>
                    <a:lnTo>
                      <a:pt x="62" y="612"/>
                    </a:lnTo>
                    <a:lnTo>
                      <a:pt x="62" y="644"/>
                    </a:lnTo>
                    <a:lnTo>
                      <a:pt x="64" y="686"/>
                    </a:lnTo>
                    <a:lnTo>
                      <a:pt x="70" y="758"/>
                    </a:lnTo>
                    <a:lnTo>
                      <a:pt x="76" y="832"/>
                    </a:lnTo>
                    <a:lnTo>
                      <a:pt x="78" y="876"/>
                    </a:lnTo>
                    <a:lnTo>
                      <a:pt x="80" y="948"/>
                    </a:lnTo>
                    <a:lnTo>
                      <a:pt x="80" y="990"/>
                    </a:lnTo>
                    <a:lnTo>
                      <a:pt x="76" y="1022"/>
                    </a:lnTo>
                    <a:lnTo>
                      <a:pt x="74" y="1044"/>
                    </a:lnTo>
                    <a:lnTo>
                      <a:pt x="72" y="1068"/>
                    </a:lnTo>
                    <a:lnTo>
                      <a:pt x="74" y="1088"/>
                    </a:lnTo>
                    <a:lnTo>
                      <a:pt x="76" y="1104"/>
                    </a:lnTo>
                    <a:lnTo>
                      <a:pt x="84" y="1124"/>
                    </a:lnTo>
                    <a:lnTo>
                      <a:pt x="86" y="1130"/>
                    </a:lnTo>
                    <a:lnTo>
                      <a:pt x="84" y="1134"/>
                    </a:lnTo>
                    <a:lnTo>
                      <a:pt x="66" y="1150"/>
                    </a:lnTo>
                    <a:lnTo>
                      <a:pt x="56" y="1162"/>
                    </a:lnTo>
                    <a:lnTo>
                      <a:pt x="54" y="1166"/>
                    </a:lnTo>
                    <a:lnTo>
                      <a:pt x="54" y="1170"/>
                    </a:lnTo>
                    <a:lnTo>
                      <a:pt x="56" y="1174"/>
                    </a:lnTo>
                    <a:lnTo>
                      <a:pt x="60" y="1176"/>
                    </a:lnTo>
                    <a:lnTo>
                      <a:pt x="72" y="1180"/>
                    </a:lnTo>
                    <a:lnTo>
                      <a:pt x="86" y="1180"/>
                    </a:lnTo>
                    <a:lnTo>
                      <a:pt x="102" y="1174"/>
                    </a:lnTo>
                    <a:lnTo>
                      <a:pt x="118" y="1168"/>
                    </a:lnTo>
                    <a:lnTo>
                      <a:pt x="134" y="1164"/>
                    </a:lnTo>
                    <a:lnTo>
                      <a:pt x="146" y="1160"/>
                    </a:lnTo>
                    <a:lnTo>
                      <a:pt x="150" y="1158"/>
                    </a:lnTo>
                    <a:lnTo>
                      <a:pt x="152" y="1156"/>
                    </a:lnTo>
                    <a:lnTo>
                      <a:pt x="152" y="1152"/>
                    </a:lnTo>
                    <a:lnTo>
                      <a:pt x="150" y="1146"/>
                    </a:lnTo>
                    <a:lnTo>
                      <a:pt x="148" y="1138"/>
                    </a:lnTo>
                    <a:lnTo>
                      <a:pt x="150" y="1130"/>
                    </a:lnTo>
                    <a:lnTo>
                      <a:pt x="154" y="1116"/>
                    </a:lnTo>
                    <a:lnTo>
                      <a:pt x="156" y="1106"/>
                    </a:lnTo>
                    <a:lnTo>
                      <a:pt x="156" y="1090"/>
                    </a:lnTo>
                    <a:lnTo>
                      <a:pt x="156" y="1052"/>
                    </a:lnTo>
                    <a:lnTo>
                      <a:pt x="156" y="984"/>
                    </a:lnTo>
                    <a:lnTo>
                      <a:pt x="158" y="920"/>
                    </a:lnTo>
                    <a:lnTo>
                      <a:pt x="162" y="886"/>
                    </a:lnTo>
                    <a:lnTo>
                      <a:pt x="164" y="868"/>
                    </a:lnTo>
                    <a:lnTo>
                      <a:pt x="168" y="840"/>
                    </a:lnTo>
                    <a:lnTo>
                      <a:pt x="174" y="772"/>
                    </a:lnTo>
                    <a:lnTo>
                      <a:pt x="178" y="706"/>
                    </a:lnTo>
                    <a:lnTo>
                      <a:pt x="178" y="666"/>
                    </a:lnTo>
                    <a:lnTo>
                      <a:pt x="178" y="624"/>
                    </a:lnTo>
                    <a:lnTo>
                      <a:pt x="182" y="650"/>
                    </a:lnTo>
                    <a:lnTo>
                      <a:pt x="190" y="714"/>
                    </a:lnTo>
                    <a:lnTo>
                      <a:pt x="194" y="756"/>
                    </a:lnTo>
                    <a:lnTo>
                      <a:pt x="196" y="800"/>
                    </a:lnTo>
                    <a:lnTo>
                      <a:pt x="200" y="840"/>
                    </a:lnTo>
                    <a:lnTo>
                      <a:pt x="204" y="878"/>
                    </a:lnTo>
                    <a:lnTo>
                      <a:pt x="206" y="914"/>
                    </a:lnTo>
                    <a:lnTo>
                      <a:pt x="208" y="954"/>
                    </a:lnTo>
                    <a:lnTo>
                      <a:pt x="206" y="1012"/>
                    </a:lnTo>
                    <a:lnTo>
                      <a:pt x="206" y="1040"/>
                    </a:lnTo>
                    <a:lnTo>
                      <a:pt x="206" y="1078"/>
                    </a:lnTo>
                    <a:lnTo>
                      <a:pt x="208" y="1096"/>
                    </a:lnTo>
                    <a:lnTo>
                      <a:pt x="208" y="1112"/>
                    </a:lnTo>
                    <a:lnTo>
                      <a:pt x="212" y="1124"/>
                    </a:lnTo>
                    <a:lnTo>
                      <a:pt x="214" y="1126"/>
                    </a:lnTo>
                    <a:lnTo>
                      <a:pt x="216" y="1128"/>
                    </a:lnTo>
                    <a:lnTo>
                      <a:pt x="218" y="1142"/>
                    </a:lnTo>
                    <a:lnTo>
                      <a:pt x="220" y="1154"/>
                    </a:lnTo>
                    <a:lnTo>
                      <a:pt x="222" y="1162"/>
                    </a:lnTo>
                    <a:lnTo>
                      <a:pt x="226" y="1172"/>
                    </a:lnTo>
                    <a:lnTo>
                      <a:pt x="234" y="1178"/>
                    </a:lnTo>
                    <a:lnTo>
                      <a:pt x="246" y="1184"/>
                    </a:lnTo>
                    <a:lnTo>
                      <a:pt x="252" y="1186"/>
                    </a:lnTo>
                    <a:lnTo>
                      <a:pt x="262" y="1186"/>
                    </a:lnTo>
                    <a:lnTo>
                      <a:pt x="282" y="1182"/>
                    </a:lnTo>
                    <a:lnTo>
                      <a:pt x="290" y="1178"/>
                    </a:lnTo>
                    <a:lnTo>
                      <a:pt x="292" y="1176"/>
                    </a:lnTo>
                    <a:lnTo>
                      <a:pt x="294" y="1174"/>
                    </a:lnTo>
                    <a:lnTo>
                      <a:pt x="292" y="1168"/>
                    </a:lnTo>
                    <a:lnTo>
                      <a:pt x="288" y="1162"/>
                    </a:lnTo>
                    <a:lnTo>
                      <a:pt x="276" y="1148"/>
                    </a:lnTo>
                    <a:lnTo>
                      <a:pt x="274" y="1142"/>
                    </a:lnTo>
                    <a:lnTo>
                      <a:pt x="274" y="1140"/>
                    </a:lnTo>
                    <a:lnTo>
                      <a:pt x="274" y="1138"/>
                    </a:lnTo>
                    <a:lnTo>
                      <a:pt x="280" y="1132"/>
                    </a:lnTo>
                    <a:lnTo>
                      <a:pt x="284" y="1130"/>
                    </a:lnTo>
                    <a:lnTo>
                      <a:pt x="288" y="1128"/>
                    </a:lnTo>
                    <a:lnTo>
                      <a:pt x="288" y="1122"/>
                    </a:lnTo>
                    <a:lnTo>
                      <a:pt x="286" y="936"/>
                    </a:lnTo>
                    <a:lnTo>
                      <a:pt x="288" y="864"/>
                    </a:lnTo>
                    <a:lnTo>
                      <a:pt x="288" y="834"/>
                    </a:lnTo>
                    <a:lnTo>
                      <a:pt x="286" y="810"/>
                    </a:lnTo>
                    <a:lnTo>
                      <a:pt x="286" y="780"/>
                    </a:lnTo>
                    <a:lnTo>
                      <a:pt x="288" y="738"/>
                    </a:lnTo>
                    <a:lnTo>
                      <a:pt x="290" y="660"/>
                    </a:lnTo>
                    <a:lnTo>
                      <a:pt x="290" y="602"/>
                    </a:lnTo>
                    <a:lnTo>
                      <a:pt x="304" y="598"/>
                    </a:lnTo>
                    <a:lnTo>
                      <a:pt x="314" y="590"/>
                    </a:lnTo>
                    <a:lnTo>
                      <a:pt x="322" y="582"/>
                    </a:lnTo>
                    <a:lnTo>
                      <a:pt x="326" y="572"/>
                    </a:lnTo>
                    <a:lnTo>
                      <a:pt x="330" y="564"/>
                    </a:lnTo>
                    <a:lnTo>
                      <a:pt x="330" y="556"/>
                    </a:lnTo>
                    <a:lnTo>
                      <a:pt x="330" y="544"/>
                    </a:lnTo>
                    <a:lnTo>
                      <a:pt x="332" y="536"/>
                    </a:lnTo>
                    <a:lnTo>
                      <a:pt x="334" y="530"/>
                    </a:lnTo>
                    <a:lnTo>
                      <a:pt x="338" y="526"/>
                    </a:lnTo>
                    <a:lnTo>
                      <a:pt x="340" y="526"/>
                    </a:lnTo>
                    <a:lnTo>
                      <a:pt x="344" y="526"/>
                    </a:lnTo>
                    <a:lnTo>
                      <a:pt x="346" y="526"/>
                    </a:lnTo>
                    <a:lnTo>
                      <a:pt x="348" y="524"/>
                    </a:lnTo>
                    <a:lnTo>
                      <a:pt x="352" y="514"/>
                    </a:lnTo>
                    <a:lnTo>
                      <a:pt x="354" y="502"/>
                    </a:lnTo>
                    <a:lnTo>
                      <a:pt x="356" y="492"/>
                    </a:lnTo>
                    <a:lnTo>
                      <a:pt x="358" y="454"/>
                    </a:lnTo>
                    <a:lnTo>
                      <a:pt x="362" y="416"/>
                    </a:lnTo>
                    <a:lnTo>
                      <a:pt x="364" y="396"/>
                    </a:lnTo>
                    <a:lnTo>
                      <a:pt x="362" y="382"/>
                    </a:lnTo>
                    <a:lnTo>
                      <a:pt x="356" y="362"/>
                    </a:lnTo>
                    <a:lnTo>
                      <a:pt x="350" y="338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>
                  <a:latin typeface="+mn-lt"/>
                  <a:cs typeface="+mn-cs"/>
                </a:endParaRPr>
              </a:p>
            </p:txBody>
          </p:sp>
          <p:sp>
            <p:nvSpPr>
              <p:cNvPr id="146" name="Freeform 127"/>
              <p:cNvSpPr>
                <a:spLocks/>
              </p:cNvSpPr>
              <p:nvPr/>
            </p:nvSpPr>
            <p:spPr bwMode="auto">
              <a:xfrm>
                <a:off x="3016156" y="1924561"/>
                <a:ext cx="209678" cy="353852"/>
              </a:xfrm>
              <a:custGeom>
                <a:avLst/>
                <a:gdLst>
                  <a:gd name="T0" fmla="*/ 0 w 102"/>
                  <a:gd name="T1" fmla="*/ 2147483647 h 172"/>
                  <a:gd name="T2" fmla="*/ 0 w 102"/>
                  <a:gd name="T3" fmla="*/ 2147483647 h 172"/>
                  <a:gd name="T4" fmla="*/ 2147483647 w 102"/>
                  <a:gd name="T5" fmla="*/ 2147483647 h 172"/>
                  <a:gd name="T6" fmla="*/ 2147483647 w 102"/>
                  <a:gd name="T7" fmla="*/ 2147483647 h 172"/>
                  <a:gd name="T8" fmla="*/ 2147483647 w 102"/>
                  <a:gd name="T9" fmla="*/ 2147483647 h 172"/>
                  <a:gd name="T10" fmla="*/ 2147483647 w 102"/>
                  <a:gd name="T11" fmla="*/ 2147483647 h 172"/>
                  <a:gd name="T12" fmla="*/ 2147483647 w 102"/>
                  <a:gd name="T13" fmla="*/ 2147483647 h 172"/>
                  <a:gd name="T14" fmla="*/ 2147483647 w 102"/>
                  <a:gd name="T15" fmla="*/ 2147483647 h 172"/>
                  <a:gd name="T16" fmla="*/ 2147483647 w 102"/>
                  <a:gd name="T17" fmla="*/ 2147483647 h 172"/>
                  <a:gd name="T18" fmla="*/ 2147483647 w 102"/>
                  <a:gd name="T19" fmla="*/ 2147483647 h 172"/>
                  <a:gd name="T20" fmla="*/ 2147483647 w 102"/>
                  <a:gd name="T21" fmla="*/ 2147483647 h 172"/>
                  <a:gd name="T22" fmla="*/ 2147483647 w 102"/>
                  <a:gd name="T23" fmla="*/ 2147483647 h 172"/>
                  <a:gd name="T24" fmla="*/ 2147483647 w 102"/>
                  <a:gd name="T25" fmla="*/ 2147483647 h 172"/>
                  <a:gd name="T26" fmla="*/ 2147483647 w 102"/>
                  <a:gd name="T27" fmla="*/ 2147483647 h 172"/>
                  <a:gd name="T28" fmla="*/ 2147483647 w 102"/>
                  <a:gd name="T29" fmla="*/ 2147483647 h 172"/>
                  <a:gd name="T30" fmla="*/ 2147483647 w 102"/>
                  <a:gd name="T31" fmla="*/ 2147483647 h 172"/>
                  <a:gd name="T32" fmla="*/ 2147483647 w 102"/>
                  <a:gd name="T33" fmla="*/ 2147483647 h 172"/>
                  <a:gd name="T34" fmla="*/ 2147483647 w 102"/>
                  <a:gd name="T35" fmla="*/ 2147483647 h 172"/>
                  <a:gd name="T36" fmla="*/ 2147483647 w 102"/>
                  <a:gd name="T37" fmla="*/ 2147483647 h 172"/>
                  <a:gd name="T38" fmla="*/ 2147483647 w 102"/>
                  <a:gd name="T39" fmla="*/ 2147483647 h 172"/>
                  <a:gd name="T40" fmla="*/ 2147483647 w 102"/>
                  <a:gd name="T41" fmla="*/ 2147483647 h 172"/>
                  <a:gd name="T42" fmla="*/ 2147483647 w 102"/>
                  <a:gd name="T43" fmla="*/ 2147483647 h 172"/>
                  <a:gd name="T44" fmla="*/ 2147483647 w 102"/>
                  <a:gd name="T45" fmla="*/ 2147483647 h 172"/>
                  <a:gd name="T46" fmla="*/ 2147483647 w 102"/>
                  <a:gd name="T47" fmla="*/ 2147483647 h 172"/>
                  <a:gd name="T48" fmla="*/ 2147483647 w 102"/>
                  <a:gd name="T49" fmla="*/ 2147483647 h 172"/>
                  <a:gd name="T50" fmla="*/ 2147483647 w 102"/>
                  <a:gd name="T51" fmla="*/ 0 h 172"/>
                  <a:gd name="T52" fmla="*/ 2147483647 w 102"/>
                  <a:gd name="T53" fmla="*/ 0 h 172"/>
                  <a:gd name="T54" fmla="*/ 2147483647 w 102"/>
                  <a:gd name="T55" fmla="*/ 0 h 172"/>
                  <a:gd name="T56" fmla="*/ 2147483647 w 102"/>
                  <a:gd name="T57" fmla="*/ 2147483647 h 172"/>
                  <a:gd name="T58" fmla="*/ 2147483647 w 102"/>
                  <a:gd name="T59" fmla="*/ 2147483647 h 172"/>
                  <a:gd name="T60" fmla="*/ 2147483647 w 102"/>
                  <a:gd name="T61" fmla="*/ 2147483647 h 172"/>
                  <a:gd name="T62" fmla="*/ 2147483647 w 102"/>
                  <a:gd name="T63" fmla="*/ 2147483647 h 172"/>
                  <a:gd name="T64" fmla="*/ 2147483647 w 102"/>
                  <a:gd name="T65" fmla="*/ 2147483647 h 172"/>
                  <a:gd name="T66" fmla="*/ 2147483647 w 102"/>
                  <a:gd name="T67" fmla="*/ 2147483647 h 172"/>
                  <a:gd name="T68" fmla="*/ 2147483647 w 102"/>
                  <a:gd name="T69" fmla="*/ 2147483647 h 172"/>
                  <a:gd name="T70" fmla="*/ 2147483647 w 102"/>
                  <a:gd name="T71" fmla="*/ 2147483647 h 172"/>
                  <a:gd name="T72" fmla="*/ 2147483647 w 102"/>
                  <a:gd name="T73" fmla="*/ 2147483647 h 172"/>
                  <a:gd name="T74" fmla="*/ 2147483647 w 102"/>
                  <a:gd name="T75" fmla="*/ 2147483647 h 172"/>
                  <a:gd name="T76" fmla="*/ 2147483647 w 102"/>
                  <a:gd name="T77" fmla="*/ 2147483647 h 172"/>
                  <a:gd name="T78" fmla="*/ 2147483647 w 102"/>
                  <a:gd name="T79" fmla="*/ 2147483647 h 172"/>
                  <a:gd name="T80" fmla="*/ 2147483647 w 102"/>
                  <a:gd name="T81" fmla="*/ 2147483647 h 172"/>
                  <a:gd name="T82" fmla="*/ 2147483647 w 102"/>
                  <a:gd name="T83" fmla="*/ 2147483647 h 172"/>
                  <a:gd name="T84" fmla="*/ 0 w 102"/>
                  <a:gd name="T85" fmla="*/ 2147483647 h 172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102"/>
                  <a:gd name="T130" fmla="*/ 0 h 172"/>
                  <a:gd name="T131" fmla="*/ 102 w 102"/>
                  <a:gd name="T132" fmla="*/ 172 h 172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102" h="172">
                    <a:moveTo>
                      <a:pt x="0" y="14"/>
                    </a:moveTo>
                    <a:lnTo>
                      <a:pt x="0" y="14"/>
                    </a:lnTo>
                    <a:lnTo>
                      <a:pt x="2" y="22"/>
                    </a:lnTo>
                    <a:lnTo>
                      <a:pt x="4" y="32"/>
                    </a:lnTo>
                    <a:lnTo>
                      <a:pt x="8" y="42"/>
                    </a:lnTo>
                    <a:lnTo>
                      <a:pt x="12" y="66"/>
                    </a:lnTo>
                    <a:lnTo>
                      <a:pt x="18" y="106"/>
                    </a:lnTo>
                    <a:lnTo>
                      <a:pt x="24" y="126"/>
                    </a:lnTo>
                    <a:lnTo>
                      <a:pt x="30" y="146"/>
                    </a:lnTo>
                    <a:lnTo>
                      <a:pt x="38" y="162"/>
                    </a:lnTo>
                    <a:lnTo>
                      <a:pt x="42" y="168"/>
                    </a:lnTo>
                    <a:lnTo>
                      <a:pt x="46" y="172"/>
                    </a:lnTo>
                    <a:lnTo>
                      <a:pt x="64" y="144"/>
                    </a:lnTo>
                    <a:lnTo>
                      <a:pt x="78" y="118"/>
                    </a:lnTo>
                    <a:lnTo>
                      <a:pt x="90" y="94"/>
                    </a:lnTo>
                    <a:lnTo>
                      <a:pt x="98" y="72"/>
                    </a:lnTo>
                    <a:lnTo>
                      <a:pt x="102" y="52"/>
                    </a:lnTo>
                    <a:lnTo>
                      <a:pt x="102" y="34"/>
                    </a:lnTo>
                    <a:lnTo>
                      <a:pt x="100" y="16"/>
                    </a:lnTo>
                    <a:lnTo>
                      <a:pt x="100" y="10"/>
                    </a:lnTo>
                    <a:lnTo>
                      <a:pt x="96" y="6"/>
                    </a:lnTo>
                    <a:lnTo>
                      <a:pt x="90" y="0"/>
                    </a:lnTo>
                    <a:lnTo>
                      <a:pt x="88" y="0"/>
                    </a:lnTo>
                    <a:lnTo>
                      <a:pt x="88" y="2"/>
                    </a:lnTo>
                    <a:lnTo>
                      <a:pt x="86" y="6"/>
                    </a:lnTo>
                    <a:lnTo>
                      <a:pt x="86" y="14"/>
                    </a:lnTo>
                    <a:lnTo>
                      <a:pt x="82" y="20"/>
                    </a:lnTo>
                    <a:lnTo>
                      <a:pt x="74" y="30"/>
                    </a:lnTo>
                    <a:lnTo>
                      <a:pt x="66" y="34"/>
                    </a:lnTo>
                    <a:lnTo>
                      <a:pt x="56" y="38"/>
                    </a:lnTo>
                    <a:lnTo>
                      <a:pt x="44" y="38"/>
                    </a:lnTo>
                    <a:lnTo>
                      <a:pt x="32" y="34"/>
                    </a:lnTo>
                    <a:lnTo>
                      <a:pt x="20" y="26"/>
                    </a:lnTo>
                    <a:lnTo>
                      <a:pt x="12" y="16"/>
                    </a:lnTo>
                    <a:lnTo>
                      <a:pt x="6" y="6"/>
                    </a:lnTo>
                    <a:lnTo>
                      <a:pt x="0" y="1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>
                  <a:latin typeface="Calibri" pitchFamily="34" charset="0"/>
                  <a:cs typeface="+mn-cs"/>
                </a:endParaRPr>
              </a:p>
            </p:txBody>
          </p:sp>
          <p:sp>
            <p:nvSpPr>
              <p:cNvPr id="147" name="Freeform 128"/>
              <p:cNvSpPr>
                <a:spLocks/>
              </p:cNvSpPr>
              <p:nvPr/>
            </p:nvSpPr>
            <p:spPr bwMode="auto">
              <a:xfrm>
                <a:off x="3089439" y="2005421"/>
                <a:ext cx="64164" cy="285826"/>
              </a:xfrm>
              <a:custGeom>
                <a:avLst/>
                <a:gdLst>
                  <a:gd name="T0" fmla="*/ 2147483647 w 30"/>
                  <a:gd name="T1" fmla="*/ 2147483647 h 136"/>
                  <a:gd name="T2" fmla="*/ 2147483647 w 30"/>
                  <a:gd name="T3" fmla="*/ 2147483647 h 136"/>
                  <a:gd name="T4" fmla="*/ 2147483647 w 30"/>
                  <a:gd name="T5" fmla="*/ 2147483647 h 136"/>
                  <a:gd name="T6" fmla="*/ 0 w 30"/>
                  <a:gd name="T7" fmla="*/ 2147483647 h 136"/>
                  <a:gd name="T8" fmla="*/ 2147483647 w 30"/>
                  <a:gd name="T9" fmla="*/ 2147483647 h 136"/>
                  <a:gd name="T10" fmla="*/ 2147483647 w 30"/>
                  <a:gd name="T11" fmla="*/ 2147483647 h 136"/>
                  <a:gd name="T12" fmla="*/ 2147483647 w 30"/>
                  <a:gd name="T13" fmla="*/ 2147483647 h 136"/>
                  <a:gd name="T14" fmla="*/ 2147483647 w 30"/>
                  <a:gd name="T15" fmla="*/ 2147483647 h 136"/>
                  <a:gd name="T16" fmla="*/ 2147483647 w 30"/>
                  <a:gd name="T17" fmla="*/ 2147483647 h 136"/>
                  <a:gd name="T18" fmla="*/ 2147483647 w 30"/>
                  <a:gd name="T19" fmla="*/ 2147483647 h 136"/>
                  <a:gd name="T20" fmla="*/ 2147483647 w 30"/>
                  <a:gd name="T21" fmla="*/ 2147483647 h 136"/>
                  <a:gd name="T22" fmla="*/ 2147483647 w 30"/>
                  <a:gd name="T23" fmla="*/ 2147483647 h 136"/>
                  <a:gd name="T24" fmla="*/ 0 w 30"/>
                  <a:gd name="T25" fmla="*/ 2147483647 h 136"/>
                  <a:gd name="T26" fmla="*/ 0 w 30"/>
                  <a:gd name="T27" fmla="*/ 2147483647 h 136"/>
                  <a:gd name="T28" fmla="*/ 0 w 30"/>
                  <a:gd name="T29" fmla="*/ 2147483647 h 136"/>
                  <a:gd name="T30" fmla="*/ 2147483647 w 30"/>
                  <a:gd name="T31" fmla="*/ 2147483647 h 136"/>
                  <a:gd name="T32" fmla="*/ 2147483647 w 30"/>
                  <a:gd name="T33" fmla="*/ 0 h 136"/>
                  <a:gd name="T34" fmla="*/ 2147483647 w 30"/>
                  <a:gd name="T35" fmla="*/ 0 h 136"/>
                  <a:gd name="T36" fmla="*/ 2147483647 w 30"/>
                  <a:gd name="T37" fmla="*/ 2147483647 h 136"/>
                  <a:gd name="T38" fmla="*/ 2147483647 w 30"/>
                  <a:gd name="T39" fmla="*/ 2147483647 h 136"/>
                  <a:gd name="T40" fmla="*/ 2147483647 w 30"/>
                  <a:gd name="T41" fmla="*/ 2147483647 h 136"/>
                  <a:gd name="T42" fmla="*/ 2147483647 w 30"/>
                  <a:gd name="T43" fmla="*/ 2147483647 h 136"/>
                  <a:gd name="T44" fmla="*/ 2147483647 w 30"/>
                  <a:gd name="T45" fmla="*/ 2147483647 h 136"/>
                  <a:gd name="T46" fmla="*/ 2147483647 w 30"/>
                  <a:gd name="T47" fmla="*/ 2147483647 h 136"/>
                  <a:gd name="T48" fmla="*/ 2147483647 w 30"/>
                  <a:gd name="T49" fmla="*/ 2147483647 h 136"/>
                  <a:gd name="T50" fmla="*/ 2147483647 w 30"/>
                  <a:gd name="T51" fmla="*/ 2147483647 h 136"/>
                  <a:gd name="T52" fmla="*/ 2147483647 w 30"/>
                  <a:gd name="T53" fmla="*/ 2147483647 h 136"/>
                  <a:gd name="T54" fmla="*/ 2147483647 w 30"/>
                  <a:gd name="T55" fmla="*/ 2147483647 h 136"/>
                  <a:gd name="T56" fmla="*/ 2147483647 w 30"/>
                  <a:gd name="T57" fmla="*/ 2147483647 h 136"/>
                  <a:gd name="T58" fmla="*/ 2147483647 w 30"/>
                  <a:gd name="T59" fmla="*/ 2147483647 h 136"/>
                  <a:gd name="T60" fmla="*/ 2147483647 w 30"/>
                  <a:gd name="T61" fmla="*/ 2147483647 h 136"/>
                  <a:gd name="T62" fmla="*/ 2147483647 w 30"/>
                  <a:gd name="T63" fmla="*/ 2147483647 h 136"/>
                  <a:gd name="T64" fmla="*/ 2147483647 w 30"/>
                  <a:gd name="T65" fmla="*/ 2147483647 h 136"/>
                  <a:gd name="T66" fmla="*/ 2147483647 w 30"/>
                  <a:gd name="T67" fmla="*/ 2147483647 h 136"/>
                  <a:gd name="T68" fmla="*/ 2147483647 w 30"/>
                  <a:gd name="T69" fmla="*/ 2147483647 h 136"/>
                  <a:gd name="T70" fmla="*/ 2147483647 w 30"/>
                  <a:gd name="T71" fmla="*/ 2147483647 h 136"/>
                  <a:gd name="T72" fmla="*/ 2147483647 w 30"/>
                  <a:gd name="T73" fmla="*/ 2147483647 h 1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w 30"/>
                  <a:gd name="T112" fmla="*/ 0 h 136"/>
                  <a:gd name="T113" fmla="*/ 30 w 30"/>
                  <a:gd name="T114" fmla="*/ 136 h 136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T111" t="T112" r="T113" b="T114"/>
                <a:pathLst>
                  <a:path w="30" h="136">
                    <a:moveTo>
                      <a:pt x="4" y="134"/>
                    </a:moveTo>
                    <a:lnTo>
                      <a:pt x="4" y="134"/>
                    </a:lnTo>
                    <a:lnTo>
                      <a:pt x="2" y="124"/>
                    </a:lnTo>
                    <a:lnTo>
                      <a:pt x="0" y="104"/>
                    </a:lnTo>
                    <a:lnTo>
                      <a:pt x="2" y="62"/>
                    </a:lnTo>
                    <a:lnTo>
                      <a:pt x="2" y="50"/>
                    </a:lnTo>
                    <a:lnTo>
                      <a:pt x="6" y="40"/>
                    </a:lnTo>
                    <a:lnTo>
                      <a:pt x="10" y="28"/>
                    </a:lnTo>
                    <a:lnTo>
                      <a:pt x="8" y="24"/>
                    </a:lnTo>
                    <a:lnTo>
                      <a:pt x="6" y="18"/>
                    </a:lnTo>
                    <a:lnTo>
                      <a:pt x="0" y="8"/>
                    </a:lnTo>
                    <a:lnTo>
                      <a:pt x="0" y="6"/>
                    </a:lnTo>
                    <a:lnTo>
                      <a:pt x="4" y="2"/>
                    </a:lnTo>
                    <a:lnTo>
                      <a:pt x="14" y="0"/>
                    </a:lnTo>
                    <a:lnTo>
                      <a:pt x="18" y="2"/>
                    </a:lnTo>
                    <a:lnTo>
                      <a:pt x="22" y="4"/>
                    </a:lnTo>
                    <a:lnTo>
                      <a:pt x="26" y="8"/>
                    </a:lnTo>
                    <a:lnTo>
                      <a:pt x="24" y="14"/>
                    </a:lnTo>
                    <a:lnTo>
                      <a:pt x="20" y="20"/>
                    </a:lnTo>
                    <a:lnTo>
                      <a:pt x="20" y="24"/>
                    </a:lnTo>
                    <a:lnTo>
                      <a:pt x="20" y="28"/>
                    </a:lnTo>
                    <a:lnTo>
                      <a:pt x="26" y="66"/>
                    </a:lnTo>
                    <a:lnTo>
                      <a:pt x="30" y="104"/>
                    </a:lnTo>
                    <a:lnTo>
                      <a:pt x="28" y="114"/>
                    </a:lnTo>
                    <a:lnTo>
                      <a:pt x="22" y="126"/>
                    </a:lnTo>
                    <a:lnTo>
                      <a:pt x="18" y="132"/>
                    </a:lnTo>
                    <a:lnTo>
                      <a:pt x="14" y="134"/>
                    </a:lnTo>
                    <a:lnTo>
                      <a:pt x="8" y="136"/>
                    </a:lnTo>
                    <a:lnTo>
                      <a:pt x="4" y="13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>
                  <a:latin typeface="+mn-lt"/>
                  <a:cs typeface="+mn-cs"/>
                </a:endParaRPr>
              </a:p>
            </p:txBody>
          </p:sp>
        </p:grpSp>
        <p:sp>
          <p:nvSpPr>
            <p:cNvPr id="144" name="Freeform 5"/>
            <p:cNvSpPr>
              <a:spLocks noEditPoints="1"/>
            </p:cNvSpPr>
            <p:nvPr/>
          </p:nvSpPr>
          <p:spPr bwMode="auto">
            <a:xfrm>
              <a:off x="3362236" y="1943108"/>
              <a:ext cx="206337" cy="641843"/>
            </a:xfrm>
            <a:custGeom>
              <a:avLst/>
              <a:gdLst/>
              <a:ahLst/>
              <a:cxnLst>
                <a:cxn ang="0">
                  <a:pos x="463" y="788"/>
                </a:cxn>
                <a:cxn ang="0">
                  <a:pos x="470" y="944"/>
                </a:cxn>
                <a:cxn ang="0">
                  <a:pos x="497" y="1404"/>
                </a:cxn>
                <a:cxn ang="0">
                  <a:pos x="485" y="1473"/>
                </a:cxn>
                <a:cxn ang="0">
                  <a:pos x="509" y="1592"/>
                </a:cxn>
                <a:cxn ang="0">
                  <a:pos x="386" y="1521"/>
                </a:cxn>
                <a:cxn ang="0">
                  <a:pos x="349" y="1293"/>
                </a:cxn>
                <a:cxn ang="0">
                  <a:pos x="354" y="1113"/>
                </a:cxn>
                <a:cxn ang="0">
                  <a:pos x="301" y="973"/>
                </a:cxn>
                <a:cxn ang="0">
                  <a:pos x="279" y="1144"/>
                </a:cxn>
                <a:cxn ang="0">
                  <a:pos x="283" y="1349"/>
                </a:cxn>
                <a:cxn ang="0">
                  <a:pos x="308" y="1501"/>
                </a:cxn>
                <a:cxn ang="0">
                  <a:pos x="290" y="1540"/>
                </a:cxn>
                <a:cxn ang="0">
                  <a:pos x="270" y="1579"/>
                </a:cxn>
                <a:cxn ang="0">
                  <a:pos x="196" y="1603"/>
                </a:cxn>
                <a:cxn ang="0">
                  <a:pos x="192" y="1541"/>
                </a:cxn>
                <a:cxn ang="0">
                  <a:pos x="176" y="1433"/>
                </a:cxn>
                <a:cxn ang="0">
                  <a:pos x="171" y="1303"/>
                </a:cxn>
                <a:cxn ang="0">
                  <a:pos x="138" y="1082"/>
                </a:cxn>
                <a:cxn ang="0">
                  <a:pos x="115" y="941"/>
                </a:cxn>
                <a:cxn ang="0">
                  <a:pos x="24" y="874"/>
                </a:cxn>
                <a:cxn ang="0">
                  <a:pos x="14" y="848"/>
                </a:cxn>
                <a:cxn ang="0">
                  <a:pos x="11" y="479"/>
                </a:cxn>
                <a:cxn ang="0">
                  <a:pos x="108" y="264"/>
                </a:cxn>
                <a:cxn ang="0">
                  <a:pos x="176" y="217"/>
                </a:cxn>
                <a:cxn ang="0">
                  <a:pos x="159" y="156"/>
                </a:cxn>
                <a:cxn ang="0">
                  <a:pos x="146" y="92"/>
                </a:cxn>
                <a:cxn ang="0">
                  <a:pos x="295" y="92"/>
                </a:cxn>
                <a:cxn ang="0">
                  <a:pos x="293" y="144"/>
                </a:cxn>
                <a:cxn ang="0">
                  <a:pos x="283" y="172"/>
                </a:cxn>
                <a:cxn ang="0">
                  <a:pos x="304" y="231"/>
                </a:cxn>
                <a:cxn ang="0">
                  <a:pos x="409" y="260"/>
                </a:cxn>
                <a:cxn ang="0">
                  <a:pos x="457" y="306"/>
                </a:cxn>
                <a:cxn ang="0">
                  <a:pos x="472" y="389"/>
                </a:cxn>
                <a:cxn ang="0">
                  <a:pos x="494" y="532"/>
                </a:cxn>
                <a:cxn ang="0">
                  <a:pos x="500" y="582"/>
                </a:cxn>
                <a:cxn ang="0">
                  <a:pos x="498" y="634"/>
                </a:cxn>
                <a:cxn ang="0">
                  <a:pos x="475" y="785"/>
                </a:cxn>
                <a:cxn ang="0">
                  <a:pos x="193" y="359"/>
                </a:cxn>
                <a:cxn ang="0">
                  <a:pos x="383" y="694"/>
                </a:cxn>
                <a:cxn ang="0">
                  <a:pos x="324" y="529"/>
                </a:cxn>
                <a:cxn ang="0">
                  <a:pos x="299" y="423"/>
                </a:cxn>
                <a:cxn ang="0">
                  <a:pos x="281" y="220"/>
                </a:cxn>
                <a:cxn ang="0">
                  <a:pos x="244" y="305"/>
                </a:cxn>
                <a:cxn ang="0">
                  <a:pos x="201" y="258"/>
                </a:cxn>
                <a:cxn ang="0">
                  <a:pos x="179" y="220"/>
                </a:cxn>
              </a:cxnLst>
              <a:rect l="0" t="0" r="r" b="b"/>
              <a:pathLst>
                <a:path w="516" h="1608">
                  <a:moveTo>
                    <a:pt x="475" y="785"/>
                  </a:moveTo>
                  <a:cubicBezTo>
                    <a:pt x="474" y="788"/>
                    <a:pt x="466" y="786"/>
                    <a:pt x="463" y="788"/>
                  </a:cubicBezTo>
                  <a:cubicBezTo>
                    <a:pt x="468" y="818"/>
                    <a:pt x="460" y="848"/>
                    <a:pt x="460" y="873"/>
                  </a:cubicBezTo>
                  <a:cubicBezTo>
                    <a:pt x="459" y="895"/>
                    <a:pt x="466" y="920"/>
                    <a:pt x="470" y="944"/>
                  </a:cubicBezTo>
                  <a:cubicBezTo>
                    <a:pt x="481" y="1012"/>
                    <a:pt x="494" y="1085"/>
                    <a:pt x="496" y="1161"/>
                  </a:cubicBezTo>
                  <a:cubicBezTo>
                    <a:pt x="497" y="1241"/>
                    <a:pt x="497" y="1324"/>
                    <a:pt x="497" y="1404"/>
                  </a:cubicBezTo>
                  <a:cubicBezTo>
                    <a:pt x="497" y="1418"/>
                    <a:pt x="496" y="1430"/>
                    <a:pt x="494" y="1442"/>
                  </a:cubicBezTo>
                  <a:cubicBezTo>
                    <a:pt x="492" y="1453"/>
                    <a:pt x="486" y="1462"/>
                    <a:pt x="485" y="1473"/>
                  </a:cubicBezTo>
                  <a:cubicBezTo>
                    <a:pt x="482" y="1490"/>
                    <a:pt x="485" y="1509"/>
                    <a:pt x="473" y="1516"/>
                  </a:cubicBezTo>
                  <a:cubicBezTo>
                    <a:pt x="477" y="1549"/>
                    <a:pt x="516" y="1552"/>
                    <a:pt x="509" y="1592"/>
                  </a:cubicBezTo>
                  <a:cubicBezTo>
                    <a:pt x="483" y="1606"/>
                    <a:pt x="422" y="1608"/>
                    <a:pt x="417" y="1575"/>
                  </a:cubicBezTo>
                  <a:cubicBezTo>
                    <a:pt x="383" y="1580"/>
                    <a:pt x="386" y="1549"/>
                    <a:pt x="386" y="1521"/>
                  </a:cubicBezTo>
                  <a:cubicBezTo>
                    <a:pt x="387" y="1516"/>
                    <a:pt x="377" y="1520"/>
                    <a:pt x="376" y="1516"/>
                  </a:cubicBezTo>
                  <a:cubicBezTo>
                    <a:pt x="352" y="1460"/>
                    <a:pt x="350" y="1375"/>
                    <a:pt x="349" y="1293"/>
                  </a:cubicBezTo>
                  <a:cubicBezTo>
                    <a:pt x="349" y="1248"/>
                    <a:pt x="349" y="1201"/>
                    <a:pt x="351" y="1156"/>
                  </a:cubicBezTo>
                  <a:cubicBezTo>
                    <a:pt x="352" y="1142"/>
                    <a:pt x="355" y="1126"/>
                    <a:pt x="354" y="1113"/>
                  </a:cubicBezTo>
                  <a:cubicBezTo>
                    <a:pt x="353" y="1107"/>
                    <a:pt x="349" y="1097"/>
                    <a:pt x="346" y="1089"/>
                  </a:cubicBezTo>
                  <a:cubicBezTo>
                    <a:pt x="331" y="1049"/>
                    <a:pt x="316" y="1011"/>
                    <a:pt x="301" y="973"/>
                  </a:cubicBezTo>
                  <a:cubicBezTo>
                    <a:pt x="295" y="958"/>
                    <a:pt x="292" y="940"/>
                    <a:pt x="278" y="932"/>
                  </a:cubicBezTo>
                  <a:cubicBezTo>
                    <a:pt x="281" y="1000"/>
                    <a:pt x="279" y="1072"/>
                    <a:pt x="279" y="1144"/>
                  </a:cubicBezTo>
                  <a:cubicBezTo>
                    <a:pt x="279" y="1179"/>
                    <a:pt x="275" y="1213"/>
                    <a:pt x="277" y="1247"/>
                  </a:cubicBezTo>
                  <a:cubicBezTo>
                    <a:pt x="279" y="1282"/>
                    <a:pt x="278" y="1317"/>
                    <a:pt x="283" y="1349"/>
                  </a:cubicBezTo>
                  <a:cubicBezTo>
                    <a:pt x="287" y="1370"/>
                    <a:pt x="293" y="1391"/>
                    <a:pt x="298" y="1412"/>
                  </a:cubicBezTo>
                  <a:cubicBezTo>
                    <a:pt x="305" y="1442"/>
                    <a:pt x="312" y="1467"/>
                    <a:pt x="308" y="1501"/>
                  </a:cubicBezTo>
                  <a:cubicBezTo>
                    <a:pt x="307" y="1508"/>
                    <a:pt x="306" y="1518"/>
                    <a:pt x="304" y="1523"/>
                  </a:cubicBezTo>
                  <a:cubicBezTo>
                    <a:pt x="301" y="1530"/>
                    <a:pt x="292" y="1533"/>
                    <a:pt x="290" y="1540"/>
                  </a:cubicBezTo>
                  <a:cubicBezTo>
                    <a:pt x="287" y="1550"/>
                    <a:pt x="292" y="1563"/>
                    <a:pt x="287" y="1572"/>
                  </a:cubicBezTo>
                  <a:cubicBezTo>
                    <a:pt x="283" y="1577"/>
                    <a:pt x="277" y="1577"/>
                    <a:pt x="270" y="1579"/>
                  </a:cubicBezTo>
                  <a:cubicBezTo>
                    <a:pt x="256" y="1586"/>
                    <a:pt x="238" y="1602"/>
                    <a:pt x="224" y="1605"/>
                  </a:cubicBezTo>
                  <a:cubicBezTo>
                    <a:pt x="216" y="1606"/>
                    <a:pt x="206" y="1603"/>
                    <a:pt x="196" y="1603"/>
                  </a:cubicBezTo>
                  <a:cubicBezTo>
                    <a:pt x="178" y="1601"/>
                    <a:pt x="164" y="1602"/>
                    <a:pt x="166" y="1580"/>
                  </a:cubicBezTo>
                  <a:cubicBezTo>
                    <a:pt x="167" y="1564"/>
                    <a:pt x="186" y="1552"/>
                    <a:pt x="192" y="1541"/>
                  </a:cubicBezTo>
                  <a:cubicBezTo>
                    <a:pt x="201" y="1522"/>
                    <a:pt x="199" y="1480"/>
                    <a:pt x="191" y="1458"/>
                  </a:cubicBezTo>
                  <a:cubicBezTo>
                    <a:pt x="187" y="1449"/>
                    <a:pt x="178" y="1442"/>
                    <a:pt x="176" y="1433"/>
                  </a:cubicBezTo>
                  <a:cubicBezTo>
                    <a:pt x="171" y="1415"/>
                    <a:pt x="172" y="1388"/>
                    <a:pt x="173" y="1366"/>
                  </a:cubicBezTo>
                  <a:cubicBezTo>
                    <a:pt x="174" y="1344"/>
                    <a:pt x="173" y="1323"/>
                    <a:pt x="171" y="1303"/>
                  </a:cubicBezTo>
                  <a:cubicBezTo>
                    <a:pt x="167" y="1261"/>
                    <a:pt x="165" y="1218"/>
                    <a:pt x="161" y="1176"/>
                  </a:cubicBezTo>
                  <a:cubicBezTo>
                    <a:pt x="158" y="1143"/>
                    <a:pt x="145" y="1112"/>
                    <a:pt x="138" y="1082"/>
                  </a:cubicBezTo>
                  <a:cubicBezTo>
                    <a:pt x="134" y="1067"/>
                    <a:pt x="130" y="1050"/>
                    <a:pt x="127" y="1035"/>
                  </a:cubicBezTo>
                  <a:cubicBezTo>
                    <a:pt x="120" y="1006"/>
                    <a:pt x="112" y="977"/>
                    <a:pt x="115" y="941"/>
                  </a:cubicBezTo>
                  <a:cubicBezTo>
                    <a:pt x="89" y="937"/>
                    <a:pt x="66" y="941"/>
                    <a:pt x="51" y="927"/>
                  </a:cubicBezTo>
                  <a:cubicBezTo>
                    <a:pt x="39" y="918"/>
                    <a:pt x="26" y="891"/>
                    <a:pt x="24" y="874"/>
                  </a:cubicBezTo>
                  <a:cubicBezTo>
                    <a:pt x="23" y="866"/>
                    <a:pt x="23" y="859"/>
                    <a:pt x="25" y="852"/>
                  </a:cubicBezTo>
                  <a:cubicBezTo>
                    <a:pt x="25" y="847"/>
                    <a:pt x="15" y="852"/>
                    <a:pt x="14" y="848"/>
                  </a:cubicBezTo>
                  <a:cubicBezTo>
                    <a:pt x="10" y="782"/>
                    <a:pt x="0" y="717"/>
                    <a:pt x="0" y="647"/>
                  </a:cubicBezTo>
                  <a:cubicBezTo>
                    <a:pt x="1" y="592"/>
                    <a:pt x="9" y="536"/>
                    <a:pt x="11" y="479"/>
                  </a:cubicBezTo>
                  <a:cubicBezTo>
                    <a:pt x="12" y="422"/>
                    <a:pt x="15" y="364"/>
                    <a:pt x="24" y="310"/>
                  </a:cubicBezTo>
                  <a:cubicBezTo>
                    <a:pt x="50" y="295"/>
                    <a:pt x="77" y="277"/>
                    <a:pt x="108" y="264"/>
                  </a:cubicBezTo>
                  <a:cubicBezTo>
                    <a:pt x="120" y="259"/>
                    <a:pt x="135" y="256"/>
                    <a:pt x="144" y="249"/>
                  </a:cubicBezTo>
                  <a:cubicBezTo>
                    <a:pt x="154" y="242"/>
                    <a:pt x="174" y="227"/>
                    <a:pt x="176" y="217"/>
                  </a:cubicBezTo>
                  <a:cubicBezTo>
                    <a:pt x="179" y="199"/>
                    <a:pt x="171" y="184"/>
                    <a:pt x="167" y="172"/>
                  </a:cubicBezTo>
                  <a:cubicBezTo>
                    <a:pt x="164" y="166"/>
                    <a:pt x="162" y="159"/>
                    <a:pt x="159" y="156"/>
                  </a:cubicBezTo>
                  <a:cubicBezTo>
                    <a:pt x="154" y="149"/>
                    <a:pt x="146" y="148"/>
                    <a:pt x="142" y="142"/>
                  </a:cubicBezTo>
                  <a:cubicBezTo>
                    <a:pt x="135" y="129"/>
                    <a:pt x="132" y="97"/>
                    <a:pt x="146" y="92"/>
                  </a:cubicBezTo>
                  <a:cubicBezTo>
                    <a:pt x="148" y="42"/>
                    <a:pt x="164" y="7"/>
                    <a:pt x="213" y="3"/>
                  </a:cubicBezTo>
                  <a:cubicBezTo>
                    <a:pt x="269" y="0"/>
                    <a:pt x="302" y="30"/>
                    <a:pt x="295" y="92"/>
                  </a:cubicBezTo>
                  <a:cubicBezTo>
                    <a:pt x="297" y="99"/>
                    <a:pt x="302" y="98"/>
                    <a:pt x="304" y="105"/>
                  </a:cubicBezTo>
                  <a:cubicBezTo>
                    <a:pt x="307" y="119"/>
                    <a:pt x="300" y="137"/>
                    <a:pt x="293" y="144"/>
                  </a:cubicBezTo>
                  <a:cubicBezTo>
                    <a:pt x="290" y="147"/>
                    <a:pt x="287" y="148"/>
                    <a:pt x="285" y="152"/>
                  </a:cubicBezTo>
                  <a:cubicBezTo>
                    <a:pt x="284" y="156"/>
                    <a:pt x="285" y="165"/>
                    <a:pt x="283" y="172"/>
                  </a:cubicBezTo>
                  <a:cubicBezTo>
                    <a:pt x="282" y="181"/>
                    <a:pt x="277" y="197"/>
                    <a:pt x="281" y="210"/>
                  </a:cubicBezTo>
                  <a:cubicBezTo>
                    <a:pt x="282" y="216"/>
                    <a:pt x="296" y="227"/>
                    <a:pt x="304" y="231"/>
                  </a:cubicBezTo>
                  <a:cubicBezTo>
                    <a:pt x="314" y="235"/>
                    <a:pt x="328" y="236"/>
                    <a:pt x="340" y="240"/>
                  </a:cubicBezTo>
                  <a:cubicBezTo>
                    <a:pt x="363" y="247"/>
                    <a:pt x="384" y="253"/>
                    <a:pt x="409" y="260"/>
                  </a:cubicBezTo>
                  <a:cubicBezTo>
                    <a:pt x="423" y="265"/>
                    <a:pt x="437" y="267"/>
                    <a:pt x="444" y="275"/>
                  </a:cubicBezTo>
                  <a:cubicBezTo>
                    <a:pt x="449" y="281"/>
                    <a:pt x="453" y="295"/>
                    <a:pt x="457" y="306"/>
                  </a:cubicBezTo>
                  <a:cubicBezTo>
                    <a:pt x="461" y="317"/>
                    <a:pt x="465" y="329"/>
                    <a:pt x="467" y="338"/>
                  </a:cubicBezTo>
                  <a:cubicBezTo>
                    <a:pt x="470" y="355"/>
                    <a:pt x="469" y="372"/>
                    <a:pt x="472" y="389"/>
                  </a:cubicBezTo>
                  <a:cubicBezTo>
                    <a:pt x="477" y="421"/>
                    <a:pt x="482" y="452"/>
                    <a:pt x="487" y="485"/>
                  </a:cubicBezTo>
                  <a:cubicBezTo>
                    <a:pt x="489" y="501"/>
                    <a:pt x="490" y="518"/>
                    <a:pt x="494" y="532"/>
                  </a:cubicBezTo>
                  <a:cubicBezTo>
                    <a:pt x="497" y="542"/>
                    <a:pt x="507" y="551"/>
                    <a:pt x="507" y="563"/>
                  </a:cubicBezTo>
                  <a:cubicBezTo>
                    <a:pt x="507" y="570"/>
                    <a:pt x="501" y="576"/>
                    <a:pt x="500" y="582"/>
                  </a:cubicBezTo>
                  <a:cubicBezTo>
                    <a:pt x="500" y="588"/>
                    <a:pt x="505" y="593"/>
                    <a:pt x="505" y="599"/>
                  </a:cubicBezTo>
                  <a:cubicBezTo>
                    <a:pt x="506" y="613"/>
                    <a:pt x="500" y="624"/>
                    <a:pt x="498" y="634"/>
                  </a:cubicBezTo>
                  <a:cubicBezTo>
                    <a:pt x="495" y="646"/>
                    <a:pt x="495" y="660"/>
                    <a:pt x="493" y="673"/>
                  </a:cubicBezTo>
                  <a:cubicBezTo>
                    <a:pt x="488" y="708"/>
                    <a:pt x="480" y="750"/>
                    <a:pt x="475" y="785"/>
                  </a:cubicBezTo>
                  <a:close/>
                  <a:moveTo>
                    <a:pt x="177" y="222"/>
                  </a:moveTo>
                  <a:cubicBezTo>
                    <a:pt x="171" y="267"/>
                    <a:pt x="183" y="313"/>
                    <a:pt x="193" y="359"/>
                  </a:cubicBezTo>
                  <a:cubicBezTo>
                    <a:pt x="213" y="461"/>
                    <a:pt x="204" y="581"/>
                    <a:pt x="208" y="694"/>
                  </a:cubicBezTo>
                  <a:cubicBezTo>
                    <a:pt x="266" y="693"/>
                    <a:pt x="327" y="693"/>
                    <a:pt x="383" y="694"/>
                  </a:cubicBezTo>
                  <a:cubicBezTo>
                    <a:pt x="378" y="677"/>
                    <a:pt x="370" y="659"/>
                    <a:pt x="362" y="642"/>
                  </a:cubicBezTo>
                  <a:cubicBezTo>
                    <a:pt x="347" y="606"/>
                    <a:pt x="336" y="567"/>
                    <a:pt x="324" y="529"/>
                  </a:cubicBezTo>
                  <a:cubicBezTo>
                    <a:pt x="318" y="511"/>
                    <a:pt x="310" y="492"/>
                    <a:pt x="306" y="473"/>
                  </a:cubicBezTo>
                  <a:cubicBezTo>
                    <a:pt x="302" y="458"/>
                    <a:pt x="301" y="440"/>
                    <a:pt x="299" y="423"/>
                  </a:cubicBezTo>
                  <a:cubicBezTo>
                    <a:pt x="293" y="371"/>
                    <a:pt x="288" y="317"/>
                    <a:pt x="285" y="267"/>
                  </a:cubicBezTo>
                  <a:cubicBezTo>
                    <a:pt x="284" y="252"/>
                    <a:pt x="288" y="234"/>
                    <a:pt x="281" y="220"/>
                  </a:cubicBezTo>
                  <a:cubicBezTo>
                    <a:pt x="270" y="239"/>
                    <a:pt x="263" y="261"/>
                    <a:pt x="251" y="279"/>
                  </a:cubicBezTo>
                  <a:cubicBezTo>
                    <a:pt x="251" y="290"/>
                    <a:pt x="252" y="301"/>
                    <a:pt x="244" y="305"/>
                  </a:cubicBezTo>
                  <a:cubicBezTo>
                    <a:pt x="242" y="304"/>
                    <a:pt x="245" y="297"/>
                    <a:pt x="243" y="296"/>
                  </a:cubicBezTo>
                  <a:cubicBezTo>
                    <a:pt x="225" y="286"/>
                    <a:pt x="215" y="272"/>
                    <a:pt x="201" y="258"/>
                  </a:cubicBezTo>
                  <a:cubicBezTo>
                    <a:pt x="194" y="250"/>
                    <a:pt x="185" y="241"/>
                    <a:pt x="182" y="232"/>
                  </a:cubicBezTo>
                  <a:cubicBezTo>
                    <a:pt x="181" y="228"/>
                    <a:pt x="183" y="223"/>
                    <a:pt x="179" y="220"/>
                  </a:cubicBezTo>
                  <a:cubicBezTo>
                    <a:pt x="177" y="220"/>
                    <a:pt x="177" y="221"/>
                    <a:pt x="177" y="22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</p:grpSp>
      <p:sp>
        <p:nvSpPr>
          <p:cNvPr id="157" name="Rektangel 318"/>
          <p:cNvSpPr/>
          <p:nvPr/>
        </p:nvSpPr>
        <p:spPr bwMode="auto">
          <a:xfrm>
            <a:off x="2282117" y="5472647"/>
            <a:ext cx="1949828" cy="307777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a-DK" sz="1400" b="1" kern="0" noProof="1">
                <a:solidFill>
                  <a:schemeClr val="bg1"/>
                </a:solidFill>
                <a:latin typeface="Calibri" pitchFamily="34" charset="0"/>
              </a:rPr>
              <a:t>Enablers 50% </a:t>
            </a:r>
          </a:p>
        </p:txBody>
      </p:sp>
      <p:sp>
        <p:nvSpPr>
          <p:cNvPr id="158" name="Rektangel 319"/>
          <p:cNvSpPr/>
          <p:nvPr/>
        </p:nvSpPr>
        <p:spPr bwMode="auto">
          <a:xfrm>
            <a:off x="5490033" y="5483671"/>
            <a:ext cx="1949828" cy="307777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a-DK" sz="1400" b="1" kern="0" noProof="1">
                <a:solidFill>
                  <a:schemeClr val="bg1"/>
                </a:solidFill>
                <a:latin typeface="Calibri" pitchFamily="34" charset="0"/>
              </a:rPr>
              <a:t>Results 50% </a:t>
            </a:r>
          </a:p>
        </p:txBody>
      </p:sp>
      <p:pic>
        <p:nvPicPr>
          <p:cNvPr id="159" name="Billede 38" descr="e1.png"/>
          <p:cNvPicPr>
            <a:picLocks noChangeAspect="1"/>
          </p:cNvPicPr>
          <p:nvPr/>
        </p:nvPicPr>
        <p:blipFill>
          <a:blip r:embed="rId6">
            <a:duotone>
              <a:schemeClr val="bg2">
                <a:shade val="45000"/>
                <a:satMod val="135000"/>
              </a:schemeClr>
              <a:prstClr val="white"/>
            </a:duotone>
          </a:blip>
          <a:srcRect l="13483" t="5675" r="20357" b="12283"/>
          <a:stretch>
            <a:fillRect/>
          </a:stretch>
        </p:blipFill>
        <p:spPr bwMode="auto">
          <a:xfrm>
            <a:off x="5494167" y="4741916"/>
            <a:ext cx="655914" cy="6504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160" name="Gruppe 235"/>
          <p:cNvGrpSpPr/>
          <p:nvPr/>
        </p:nvGrpSpPr>
        <p:grpSpPr>
          <a:xfrm>
            <a:off x="2827794" y="4582070"/>
            <a:ext cx="680717" cy="890171"/>
            <a:chOff x="2573338" y="4711698"/>
            <a:chExt cx="784224" cy="1025527"/>
          </a:xfrm>
          <a:solidFill>
            <a:schemeClr val="bg1">
              <a:lumMod val="85000"/>
            </a:schemeClr>
          </a:solidFill>
        </p:grpSpPr>
        <p:grpSp>
          <p:nvGrpSpPr>
            <p:cNvPr id="161" name="Gruppe 314"/>
            <p:cNvGrpSpPr>
              <a:grpSpLocks/>
            </p:cNvGrpSpPr>
            <p:nvPr/>
          </p:nvGrpSpPr>
          <p:grpSpPr bwMode="auto">
            <a:xfrm>
              <a:off x="2573338" y="4711698"/>
              <a:ext cx="784224" cy="932996"/>
              <a:chOff x="2763312" y="5003357"/>
              <a:chExt cx="691084" cy="821710"/>
            </a:xfrm>
            <a:grpFill/>
          </p:grpSpPr>
          <p:grpSp>
            <p:nvGrpSpPr>
              <p:cNvPr id="163" name="Gruppe 55"/>
              <p:cNvGrpSpPr>
                <a:grpSpLocks/>
              </p:cNvGrpSpPr>
              <p:nvPr/>
            </p:nvGrpSpPr>
            <p:grpSpPr bwMode="auto">
              <a:xfrm flipH="1">
                <a:off x="2763312" y="5003357"/>
                <a:ext cx="512073" cy="566204"/>
                <a:chOff x="4645980" y="1941195"/>
                <a:chExt cx="3147696" cy="3481706"/>
              </a:xfrm>
              <a:grpFill/>
            </p:grpSpPr>
            <p:grpSp>
              <p:nvGrpSpPr>
                <p:cNvPr id="168" name="Gruppe 73"/>
                <p:cNvGrpSpPr>
                  <a:grpSpLocks/>
                </p:cNvGrpSpPr>
                <p:nvPr/>
              </p:nvGrpSpPr>
              <p:grpSpPr bwMode="auto">
                <a:xfrm>
                  <a:off x="5375910" y="1941195"/>
                  <a:ext cx="1749425" cy="590550"/>
                  <a:chOff x="5269230" y="584835"/>
                  <a:chExt cx="1749425" cy="590550"/>
                </a:xfrm>
                <a:grpFill/>
              </p:grpSpPr>
              <p:sp>
                <p:nvSpPr>
                  <p:cNvPr id="186" name="Freeform 29"/>
                  <p:cNvSpPr>
                    <a:spLocks/>
                  </p:cNvSpPr>
                  <p:nvPr/>
                </p:nvSpPr>
                <p:spPr bwMode="auto">
                  <a:xfrm>
                    <a:off x="6294755" y="619760"/>
                    <a:ext cx="723900" cy="323850"/>
                  </a:xfrm>
                  <a:custGeom>
                    <a:avLst/>
                    <a:gdLst/>
                    <a:ahLst/>
                    <a:cxnLst>
                      <a:cxn ang="0">
                        <a:pos x="78" y="196"/>
                      </a:cxn>
                      <a:cxn ang="0">
                        <a:pos x="42" y="194"/>
                      </a:cxn>
                      <a:cxn ang="0">
                        <a:pos x="18" y="188"/>
                      </a:cxn>
                      <a:cxn ang="0">
                        <a:pos x="6" y="178"/>
                      </a:cxn>
                      <a:cxn ang="0">
                        <a:pos x="6" y="174"/>
                      </a:cxn>
                      <a:cxn ang="0">
                        <a:pos x="0" y="134"/>
                      </a:cxn>
                      <a:cxn ang="0">
                        <a:pos x="2" y="112"/>
                      </a:cxn>
                      <a:cxn ang="0">
                        <a:pos x="8" y="100"/>
                      </a:cxn>
                      <a:cxn ang="0">
                        <a:pos x="22" y="90"/>
                      </a:cxn>
                      <a:cxn ang="0">
                        <a:pos x="44" y="84"/>
                      </a:cxn>
                      <a:cxn ang="0">
                        <a:pos x="58" y="82"/>
                      </a:cxn>
                      <a:cxn ang="0">
                        <a:pos x="168" y="80"/>
                      </a:cxn>
                      <a:cxn ang="0">
                        <a:pos x="206" y="74"/>
                      </a:cxn>
                      <a:cxn ang="0">
                        <a:pos x="224" y="64"/>
                      </a:cxn>
                      <a:cxn ang="0">
                        <a:pos x="228" y="60"/>
                      </a:cxn>
                      <a:cxn ang="0">
                        <a:pos x="246" y="42"/>
                      </a:cxn>
                      <a:cxn ang="0">
                        <a:pos x="272" y="24"/>
                      </a:cxn>
                      <a:cxn ang="0">
                        <a:pos x="312" y="6"/>
                      </a:cxn>
                      <a:cxn ang="0">
                        <a:pos x="324" y="2"/>
                      </a:cxn>
                      <a:cxn ang="0">
                        <a:pos x="362" y="0"/>
                      </a:cxn>
                      <a:cxn ang="0">
                        <a:pos x="394" y="4"/>
                      </a:cxn>
                      <a:cxn ang="0">
                        <a:pos x="416" y="12"/>
                      </a:cxn>
                      <a:cxn ang="0">
                        <a:pos x="434" y="26"/>
                      </a:cxn>
                      <a:cxn ang="0">
                        <a:pos x="446" y="48"/>
                      </a:cxn>
                      <a:cxn ang="0">
                        <a:pos x="454" y="80"/>
                      </a:cxn>
                      <a:cxn ang="0">
                        <a:pos x="456" y="100"/>
                      </a:cxn>
                      <a:cxn ang="0">
                        <a:pos x="448" y="136"/>
                      </a:cxn>
                      <a:cxn ang="0">
                        <a:pos x="432" y="164"/>
                      </a:cxn>
                      <a:cxn ang="0">
                        <a:pos x="408" y="184"/>
                      </a:cxn>
                      <a:cxn ang="0">
                        <a:pos x="380" y="196"/>
                      </a:cxn>
                      <a:cxn ang="0">
                        <a:pos x="348" y="202"/>
                      </a:cxn>
                      <a:cxn ang="0">
                        <a:pos x="296" y="202"/>
                      </a:cxn>
                      <a:cxn ang="0">
                        <a:pos x="280" y="198"/>
                      </a:cxn>
                      <a:cxn ang="0">
                        <a:pos x="246" y="192"/>
                      </a:cxn>
                      <a:cxn ang="0">
                        <a:pos x="198" y="190"/>
                      </a:cxn>
                      <a:cxn ang="0">
                        <a:pos x="78" y="196"/>
                      </a:cxn>
                    </a:cxnLst>
                    <a:rect l="0" t="0" r="r" b="b"/>
                    <a:pathLst>
                      <a:path w="456" h="204">
                        <a:moveTo>
                          <a:pt x="78" y="196"/>
                        </a:moveTo>
                        <a:lnTo>
                          <a:pt x="78" y="196"/>
                        </a:lnTo>
                        <a:lnTo>
                          <a:pt x="68" y="196"/>
                        </a:lnTo>
                        <a:lnTo>
                          <a:pt x="42" y="194"/>
                        </a:lnTo>
                        <a:lnTo>
                          <a:pt x="30" y="192"/>
                        </a:lnTo>
                        <a:lnTo>
                          <a:pt x="18" y="188"/>
                        </a:lnTo>
                        <a:lnTo>
                          <a:pt x="10" y="182"/>
                        </a:lnTo>
                        <a:lnTo>
                          <a:pt x="6" y="178"/>
                        </a:lnTo>
                        <a:lnTo>
                          <a:pt x="6" y="174"/>
                        </a:lnTo>
                        <a:lnTo>
                          <a:pt x="6" y="174"/>
                        </a:lnTo>
                        <a:lnTo>
                          <a:pt x="2" y="150"/>
                        </a:lnTo>
                        <a:lnTo>
                          <a:pt x="0" y="134"/>
                        </a:lnTo>
                        <a:lnTo>
                          <a:pt x="0" y="120"/>
                        </a:lnTo>
                        <a:lnTo>
                          <a:pt x="2" y="112"/>
                        </a:lnTo>
                        <a:lnTo>
                          <a:pt x="4" y="106"/>
                        </a:lnTo>
                        <a:lnTo>
                          <a:pt x="8" y="100"/>
                        </a:lnTo>
                        <a:lnTo>
                          <a:pt x="14" y="94"/>
                        </a:lnTo>
                        <a:lnTo>
                          <a:pt x="22" y="90"/>
                        </a:lnTo>
                        <a:lnTo>
                          <a:pt x="32" y="86"/>
                        </a:lnTo>
                        <a:lnTo>
                          <a:pt x="44" y="84"/>
                        </a:lnTo>
                        <a:lnTo>
                          <a:pt x="58" y="82"/>
                        </a:lnTo>
                        <a:lnTo>
                          <a:pt x="58" y="82"/>
                        </a:lnTo>
                        <a:lnTo>
                          <a:pt x="116" y="82"/>
                        </a:lnTo>
                        <a:lnTo>
                          <a:pt x="168" y="80"/>
                        </a:lnTo>
                        <a:lnTo>
                          <a:pt x="188" y="78"/>
                        </a:lnTo>
                        <a:lnTo>
                          <a:pt x="206" y="74"/>
                        </a:lnTo>
                        <a:lnTo>
                          <a:pt x="220" y="68"/>
                        </a:lnTo>
                        <a:lnTo>
                          <a:pt x="224" y="64"/>
                        </a:lnTo>
                        <a:lnTo>
                          <a:pt x="228" y="60"/>
                        </a:lnTo>
                        <a:lnTo>
                          <a:pt x="228" y="60"/>
                        </a:lnTo>
                        <a:lnTo>
                          <a:pt x="236" y="52"/>
                        </a:lnTo>
                        <a:lnTo>
                          <a:pt x="246" y="42"/>
                        </a:lnTo>
                        <a:lnTo>
                          <a:pt x="258" y="32"/>
                        </a:lnTo>
                        <a:lnTo>
                          <a:pt x="272" y="24"/>
                        </a:lnTo>
                        <a:lnTo>
                          <a:pt x="300" y="10"/>
                        </a:lnTo>
                        <a:lnTo>
                          <a:pt x="312" y="6"/>
                        </a:lnTo>
                        <a:lnTo>
                          <a:pt x="324" y="2"/>
                        </a:lnTo>
                        <a:lnTo>
                          <a:pt x="324" y="2"/>
                        </a:lnTo>
                        <a:lnTo>
                          <a:pt x="342" y="2"/>
                        </a:lnTo>
                        <a:lnTo>
                          <a:pt x="362" y="0"/>
                        </a:lnTo>
                        <a:lnTo>
                          <a:pt x="384" y="2"/>
                        </a:lnTo>
                        <a:lnTo>
                          <a:pt x="394" y="4"/>
                        </a:lnTo>
                        <a:lnTo>
                          <a:pt x="406" y="8"/>
                        </a:lnTo>
                        <a:lnTo>
                          <a:pt x="416" y="12"/>
                        </a:lnTo>
                        <a:lnTo>
                          <a:pt x="424" y="18"/>
                        </a:lnTo>
                        <a:lnTo>
                          <a:pt x="434" y="26"/>
                        </a:lnTo>
                        <a:lnTo>
                          <a:pt x="440" y="36"/>
                        </a:lnTo>
                        <a:lnTo>
                          <a:pt x="446" y="48"/>
                        </a:lnTo>
                        <a:lnTo>
                          <a:pt x="452" y="62"/>
                        </a:lnTo>
                        <a:lnTo>
                          <a:pt x="454" y="80"/>
                        </a:lnTo>
                        <a:lnTo>
                          <a:pt x="456" y="100"/>
                        </a:lnTo>
                        <a:lnTo>
                          <a:pt x="456" y="100"/>
                        </a:lnTo>
                        <a:lnTo>
                          <a:pt x="454" y="120"/>
                        </a:lnTo>
                        <a:lnTo>
                          <a:pt x="448" y="136"/>
                        </a:lnTo>
                        <a:lnTo>
                          <a:pt x="442" y="152"/>
                        </a:lnTo>
                        <a:lnTo>
                          <a:pt x="432" y="164"/>
                        </a:lnTo>
                        <a:lnTo>
                          <a:pt x="420" y="174"/>
                        </a:lnTo>
                        <a:lnTo>
                          <a:pt x="408" y="184"/>
                        </a:lnTo>
                        <a:lnTo>
                          <a:pt x="394" y="190"/>
                        </a:lnTo>
                        <a:lnTo>
                          <a:pt x="380" y="196"/>
                        </a:lnTo>
                        <a:lnTo>
                          <a:pt x="364" y="200"/>
                        </a:lnTo>
                        <a:lnTo>
                          <a:pt x="348" y="202"/>
                        </a:lnTo>
                        <a:lnTo>
                          <a:pt x="320" y="204"/>
                        </a:lnTo>
                        <a:lnTo>
                          <a:pt x="296" y="202"/>
                        </a:lnTo>
                        <a:lnTo>
                          <a:pt x="280" y="198"/>
                        </a:lnTo>
                        <a:lnTo>
                          <a:pt x="280" y="198"/>
                        </a:lnTo>
                        <a:lnTo>
                          <a:pt x="266" y="194"/>
                        </a:lnTo>
                        <a:lnTo>
                          <a:pt x="246" y="192"/>
                        </a:lnTo>
                        <a:lnTo>
                          <a:pt x="224" y="190"/>
                        </a:lnTo>
                        <a:lnTo>
                          <a:pt x="198" y="190"/>
                        </a:lnTo>
                        <a:lnTo>
                          <a:pt x="140" y="192"/>
                        </a:lnTo>
                        <a:lnTo>
                          <a:pt x="78" y="196"/>
                        </a:lnTo>
                        <a:lnTo>
                          <a:pt x="78" y="196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da-DK" kern="0">
                      <a:solidFill>
                        <a:sysClr val="windowText" lastClr="000000"/>
                      </a:solidFill>
                      <a:latin typeface="+mn-lt"/>
                      <a:cs typeface="+mn-cs"/>
                    </a:endParaRPr>
                  </a:p>
                </p:txBody>
              </p:sp>
              <p:sp>
                <p:nvSpPr>
                  <p:cNvPr id="187" name="Freeform 34"/>
                  <p:cNvSpPr>
                    <a:spLocks/>
                  </p:cNvSpPr>
                  <p:nvPr/>
                </p:nvSpPr>
                <p:spPr bwMode="auto">
                  <a:xfrm>
                    <a:off x="5882005" y="584835"/>
                    <a:ext cx="641350" cy="590550"/>
                  </a:xfrm>
                  <a:custGeom>
                    <a:avLst/>
                    <a:gdLst/>
                    <a:ahLst/>
                    <a:cxnLst>
                      <a:cxn ang="0">
                        <a:pos x="372" y="360"/>
                      </a:cxn>
                      <a:cxn ang="0">
                        <a:pos x="372" y="360"/>
                      </a:cxn>
                      <a:cxn ang="0">
                        <a:pos x="364" y="356"/>
                      </a:cxn>
                      <a:cxn ang="0">
                        <a:pos x="344" y="346"/>
                      </a:cxn>
                      <a:cxn ang="0">
                        <a:pos x="312" y="334"/>
                      </a:cxn>
                      <a:cxn ang="0">
                        <a:pos x="292" y="330"/>
                      </a:cxn>
                      <a:cxn ang="0">
                        <a:pos x="272" y="326"/>
                      </a:cxn>
                      <a:cxn ang="0">
                        <a:pos x="248" y="322"/>
                      </a:cxn>
                      <a:cxn ang="0">
                        <a:pos x="224" y="320"/>
                      </a:cxn>
                      <a:cxn ang="0">
                        <a:pos x="198" y="322"/>
                      </a:cxn>
                      <a:cxn ang="0">
                        <a:pos x="170" y="324"/>
                      </a:cxn>
                      <a:cxn ang="0">
                        <a:pos x="142" y="332"/>
                      </a:cxn>
                      <a:cxn ang="0">
                        <a:pos x="114" y="340"/>
                      </a:cxn>
                      <a:cxn ang="0">
                        <a:pos x="84" y="354"/>
                      </a:cxn>
                      <a:cxn ang="0">
                        <a:pos x="56" y="372"/>
                      </a:cxn>
                      <a:cxn ang="0">
                        <a:pos x="56" y="372"/>
                      </a:cxn>
                      <a:cxn ang="0">
                        <a:pos x="48" y="358"/>
                      </a:cxn>
                      <a:cxn ang="0">
                        <a:pos x="32" y="318"/>
                      </a:cxn>
                      <a:cxn ang="0">
                        <a:pos x="22" y="292"/>
                      </a:cxn>
                      <a:cxn ang="0">
                        <a:pos x="14" y="262"/>
                      </a:cxn>
                      <a:cxn ang="0">
                        <a:pos x="6" y="230"/>
                      </a:cxn>
                      <a:cxn ang="0">
                        <a:pos x="2" y="198"/>
                      </a:cxn>
                      <a:cxn ang="0">
                        <a:pos x="0" y="164"/>
                      </a:cxn>
                      <a:cxn ang="0">
                        <a:pos x="2" y="148"/>
                      </a:cxn>
                      <a:cxn ang="0">
                        <a:pos x="4" y="132"/>
                      </a:cxn>
                      <a:cxn ang="0">
                        <a:pos x="8" y="116"/>
                      </a:cxn>
                      <a:cxn ang="0">
                        <a:pos x="14" y="100"/>
                      </a:cxn>
                      <a:cxn ang="0">
                        <a:pos x="20" y="86"/>
                      </a:cxn>
                      <a:cxn ang="0">
                        <a:pos x="30" y="72"/>
                      </a:cxn>
                      <a:cxn ang="0">
                        <a:pos x="40" y="58"/>
                      </a:cxn>
                      <a:cxn ang="0">
                        <a:pos x="52" y="46"/>
                      </a:cxn>
                      <a:cxn ang="0">
                        <a:pos x="68" y="36"/>
                      </a:cxn>
                      <a:cxn ang="0">
                        <a:pos x="84" y="26"/>
                      </a:cxn>
                      <a:cxn ang="0">
                        <a:pos x="104" y="18"/>
                      </a:cxn>
                      <a:cxn ang="0">
                        <a:pos x="126" y="10"/>
                      </a:cxn>
                      <a:cxn ang="0">
                        <a:pos x="150" y="6"/>
                      </a:cxn>
                      <a:cxn ang="0">
                        <a:pos x="178" y="2"/>
                      </a:cxn>
                      <a:cxn ang="0">
                        <a:pos x="178" y="2"/>
                      </a:cxn>
                      <a:cxn ang="0">
                        <a:pos x="206" y="0"/>
                      </a:cxn>
                      <a:cxn ang="0">
                        <a:pos x="230" y="0"/>
                      </a:cxn>
                      <a:cxn ang="0">
                        <a:pos x="254" y="2"/>
                      </a:cxn>
                      <a:cxn ang="0">
                        <a:pos x="276" y="6"/>
                      </a:cxn>
                      <a:cxn ang="0">
                        <a:pos x="294" y="10"/>
                      </a:cxn>
                      <a:cxn ang="0">
                        <a:pos x="312" y="16"/>
                      </a:cxn>
                      <a:cxn ang="0">
                        <a:pos x="328" y="24"/>
                      </a:cxn>
                      <a:cxn ang="0">
                        <a:pos x="342" y="32"/>
                      </a:cxn>
                      <a:cxn ang="0">
                        <a:pos x="354" y="42"/>
                      </a:cxn>
                      <a:cxn ang="0">
                        <a:pos x="364" y="52"/>
                      </a:cxn>
                      <a:cxn ang="0">
                        <a:pos x="374" y="64"/>
                      </a:cxn>
                      <a:cxn ang="0">
                        <a:pos x="382" y="76"/>
                      </a:cxn>
                      <a:cxn ang="0">
                        <a:pos x="388" y="88"/>
                      </a:cxn>
                      <a:cxn ang="0">
                        <a:pos x="392" y="102"/>
                      </a:cxn>
                      <a:cxn ang="0">
                        <a:pos x="400" y="132"/>
                      </a:cxn>
                      <a:cxn ang="0">
                        <a:pos x="404" y="162"/>
                      </a:cxn>
                      <a:cxn ang="0">
                        <a:pos x="404" y="194"/>
                      </a:cxn>
                      <a:cxn ang="0">
                        <a:pos x="400" y="224"/>
                      </a:cxn>
                      <a:cxn ang="0">
                        <a:pos x="396" y="256"/>
                      </a:cxn>
                      <a:cxn ang="0">
                        <a:pos x="384" y="312"/>
                      </a:cxn>
                      <a:cxn ang="0">
                        <a:pos x="372" y="360"/>
                      </a:cxn>
                      <a:cxn ang="0">
                        <a:pos x="372" y="360"/>
                      </a:cxn>
                    </a:cxnLst>
                    <a:rect l="0" t="0" r="r" b="b"/>
                    <a:pathLst>
                      <a:path w="404" h="372">
                        <a:moveTo>
                          <a:pt x="372" y="360"/>
                        </a:moveTo>
                        <a:lnTo>
                          <a:pt x="372" y="360"/>
                        </a:lnTo>
                        <a:lnTo>
                          <a:pt x="364" y="356"/>
                        </a:lnTo>
                        <a:lnTo>
                          <a:pt x="344" y="346"/>
                        </a:lnTo>
                        <a:lnTo>
                          <a:pt x="312" y="334"/>
                        </a:lnTo>
                        <a:lnTo>
                          <a:pt x="292" y="330"/>
                        </a:lnTo>
                        <a:lnTo>
                          <a:pt x="272" y="326"/>
                        </a:lnTo>
                        <a:lnTo>
                          <a:pt x="248" y="322"/>
                        </a:lnTo>
                        <a:lnTo>
                          <a:pt x="224" y="320"/>
                        </a:lnTo>
                        <a:lnTo>
                          <a:pt x="198" y="322"/>
                        </a:lnTo>
                        <a:lnTo>
                          <a:pt x="170" y="324"/>
                        </a:lnTo>
                        <a:lnTo>
                          <a:pt x="142" y="332"/>
                        </a:lnTo>
                        <a:lnTo>
                          <a:pt x="114" y="340"/>
                        </a:lnTo>
                        <a:lnTo>
                          <a:pt x="84" y="354"/>
                        </a:lnTo>
                        <a:lnTo>
                          <a:pt x="56" y="372"/>
                        </a:lnTo>
                        <a:lnTo>
                          <a:pt x="56" y="372"/>
                        </a:lnTo>
                        <a:lnTo>
                          <a:pt x="48" y="358"/>
                        </a:lnTo>
                        <a:lnTo>
                          <a:pt x="32" y="318"/>
                        </a:lnTo>
                        <a:lnTo>
                          <a:pt x="22" y="292"/>
                        </a:lnTo>
                        <a:lnTo>
                          <a:pt x="14" y="262"/>
                        </a:lnTo>
                        <a:lnTo>
                          <a:pt x="6" y="230"/>
                        </a:lnTo>
                        <a:lnTo>
                          <a:pt x="2" y="198"/>
                        </a:lnTo>
                        <a:lnTo>
                          <a:pt x="0" y="164"/>
                        </a:lnTo>
                        <a:lnTo>
                          <a:pt x="2" y="148"/>
                        </a:lnTo>
                        <a:lnTo>
                          <a:pt x="4" y="132"/>
                        </a:lnTo>
                        <a:lnTo>
                          <a:pt x="8" y="116"/>
                        </a:lnTo>
                        <a:lnTo>
                          <a:pt x="14" y="100"/>
                        </a:lnTo>
                        <a:lnTo>
                          <a:pt x="20" y="86"/>
                        </a:lnTo>
                        <a:lnTo>
                          <a:pt x="30" y="72"/>
                        </a:lnTo>
                        <a:lnTo>
                          <a:pt x="40" y="58"/>
                        </a:lnTo>
                        <a:lnTo>
                          <a:pt x="52" y="46"/>
                        </a:lnTo>
                        <a:lnTo>
                          <a:pt x="68" y="36"/>
                        </a:lnTo>
                        <a:lnTo>
                          <a:pt x="84" y="26"/>
                        </a:lnTo>
                        <a:lnTo>
                          <a:pt x="104" y="18"/>
                        </a:lnTo>
                        <a:lnTo>
                          <a:pt x="126" y="10"/>
                        </a:lnTo>
                        <a:lnTo>
                          <a:pt x="150" y="6"/>
                        </a:lnTo>
                        <a:lnTo>
                          <a:pt x="178" y="2"/>
                        </a:lnTo>
                        <a:lnTo>
                          <a:pt x="178" y="2"/>
                        </a:lnTo>
                        <a:lnTo>
                          <a:pt x="206" y="0"/>
                        </a:lnTo>
                        <a:lnTo>
                          <a:pt x="230" y="0"/>
                        </a:lnTo>
                        <a:lnTo>
                          <a:pt x="254" y="2"/>
                        </a:lnTo>
                        <a:lnTo>
                          <a:pt x="276" y="6"/>
                        </a:lnTo>
                        <a:lnTo>
                          <a:pt x="294" y="10"/>
                        </a:lnTo>
                        <a:lnTo>
                          <a:pt x="312" y="16"/>
                        </a:lnTo>
                        <a:lnTo>
                          <a:pt x="328" y="24"/>
                        </a:lnTo>
                        <a:lnTo>
                          <a:pt x="342" y="32"/>
                        </a:lnTo>
                        <a:lnTo>
                          <a:pt x="354" y="42"/>
                        </a:lnTo>
                        <a:lnTo>
                          <a:pt x="364" y="52"/>
                        </a:lnTo>
                        <a:lnTo>
                          <a:pt x="374" y="64"/>
                        </a:lnTo>
                        <a:lnTo>
                          <a:pt x="382" y="76"/>
                        </a:lnTo>
                        <a:lnTo>
                          <a:pt x="388" y="88"/>
                        </a:lnTo>
                        <a:lnTo>
                          <a:pt x="392" y="102"/>
                        </a:lnTo>
                        <a:lnTo>
                          <a:pt x="400" y="132"/>
                        </a:lnTo>
                        <a:lnTo>
                          <a:pt x="404" y="162"/>
                        </a:lnTo>
                        <a:lnTo>
                          <a:pt x="404" y="194"/>
                        </a:lnTo>
                        <a:lnTo>
                          <a:pt x="400" y="224"/>
                        </a:lnTo>
                        <a:lnTo>
                          <a:pt x="396" y="256"/>
                        </a:lnTo>
                        <a:lnTo>
                          <a:pt x="384" y="312"/>
                        </a:lnTo>
                        <a:lnTo>
                          <a:pt x="372" y="360"/>
                        </a:lnTo>
                        <a:lnTo>
                          <a:pt x="372" y="360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da-DK" kern="0">
                      <a:solidFill>
                        <a:sysClr val="windowText" lastClr="000000"/>
                      </a:solidFill>
                      <a:latin typeface="+mn-lt"/>
                      <a:cs typeface="+mn-cs"/>
                    </a:endParaRPr>
                  </a:p>
                </p:txBody>
              </p:sp>
              <p:sp>
                <p:nvSpPr>
                  <p:cNvPr id="188" name="Freeform 41"/>
                  <p:cNvSpPr>
                    <a:spLocks/>
                  </p:cNvSpPr>
                  <p:nvPr/>
                </p:nvSpPr>
                <p:spPr bwMode="auto">
                  <a:xfrm>
                    <a:off x="5269230" y="746760"/>
                    <a:ext cx="771525" cy="387350"/>
                  </a:xfrm>
                  <a:custGeom>
                    <a:avLst/>
                    <a:gdLst/>
                    <a:ahLst/>
                    <a:cxnLst>
                      <a:cxn ang="0">
                        <a:pos x="418" y="174"/>
                      </a:cxn>
                      <a:cxn ang="0">
                        <a:pos x="454" y="164"/>
                      </a:cxn>
                      <a:cxn ang="0">
                        <a:pos x="478" y="150"/>
                      </a:cxn>
                      <a:cxn ang="0">
                        <a:pos x="484" y="142"/>
                      </a:cxn>
                      <a:cxn ang="0">
                        <a:pos x="486" y="130"/>
                      </a:cxn>
                      <a:cxn ang="0">
                        <a:pos x="482" y="100"/>
                      </a:cxn>
                      <a:cxn ang="0">
                        <a:pos x="474" y="64"/>
                      </a:cxn>
                      <a:cxn ang="0">
                        <a:pos x="466" y="48"/>
                      </a:cxn>
                      <a:cxn ang="0">
                        <a:pos x="452" y="38"/>
                      </a:cxn>
                      <a:cxn ang="0">
                        <a:pos x="432" y="32"/>
                      </a:cxn>
                      <a:cxn ang="0">
                        <a:pos x="406" y="34"/>
                      </a:cxn>
                      <a:cxn ang="0">
                        <a:pos x="346" y="46"/>
                      </a:cxn>
                      <a:cxn ang="0">
                        <a:pos x="270" y="58"/>
                      </a:cxn>
                      <a:cxn ang="0">
                        <a:pos x="236" y="54"/>
                      </a:cxn>
                      <a:cxn ang="0">
                        <a:pos x="226" y="48"/>
                      </a:cxn>
                      <a:cxn ang="0">
                        <a:pos x="216" y="38"/>
                      </a:cxn>
                      <a:cxn ang="0">
                        <a:pos x="186" y="20"/>
                      </a:cxn>
                      <a:cxn ang="0">
                        <a:pos x="154" y="8"/>
                      </a:cxn>
                      <a:cxn ang="0">
                        <a:pos x="124" y="0"/>
                      </a:cxn>
                      <a:cxn ang="0">
                        <a:pos x="112" y="0"/>
                      </a:cxn>
                      <a:cxn ang="0">
                        <a:pos x="72" y="6"/>
                      </a:cxn>
                      <a:cxn ang="0">
                        <a:pos x="40" y="18"/>
                      </a:cxn>
                      <a:cxn ang="0">
                        <a:pos x="22" y="32"/>
                      </a:cxn>
                      <a:cxn ang="0">
                        <a:pos x="8" y="54"/>
                      </a:cxn>
                      <a:cxn ang="0">
                        <a:pos x="0" y="82"/>
                      </a:cxn>
                      <a:cxn ang="0">
                        <a:pos x="2" y="122"/>
                      </a:cxn>
                      <a:cxn ang="0">
                        <a:pos x="8" y="146"/>
                      </a:cxn>
                      <a:cxn ang="0">
                        <a:pos x="24" y="188"/>
                      </a:cxn>
                      <a:cxn ang="0">
                        <a:pos x="50" y="218"/>
                      </a:cxn>
                      <a:cxn ang="0">
                        <a:pos x="80" y="236"/>
                      </a:cxn>
                      <a:cxn ang="0">
                        <a:pos x="114" y="244"/>
                      </a:cxn>
                      <a:cxn ang="0">
                        <a:pos x="146" y="244"/>
                      </a:cxn>
                      <a:cxn ang="0">
                        <a:pos x="176" y="240"/>
                      </a:cxn>
                      <a:cxn ang="0">
                        <a:pos x="214" y="222"/>
                      </a:cxn>
                      <a:cxn ang="0">
                        <a:pos x="228" y="214"/>
                      </a:cxn>
                      <a:cxn ang="0">
                        <a:pos x="268" y="200"/>
                      </a:cxn>
                      <a:cxn ang="0">
                        <a:pos x="354" y="182"/>
                      </a:cxn>
                      <a:cxn ang="0">
                        <a:pos x="418" y="174"/>
                      </a:cxn>
                    </a:cxnLst>
                    <a:rect l="0" t="0" r="r" b="b"/>
                    <a:pathLst>
                      <a:path w="486" h="244">
                        <a:moveTo>
                          <a:pt x="418" y="174"/>
                        </a:moveTo>
                        <a:lnTo>
                          <a:pt x="418" y="174"/>
                        </a:lnTo>
                        <a:lnTo>
                          <a:pt x="430" y="172"/>
                        </a:lnTo>
                        <a:lnTo>
                          <a:pt x="454" y="164"/>
                        </a:lnTo>
                        <a:lnTo>
                          <a:pt x="466" y="158"/>
                        </a:lnTo>
                        <a:lnTo>
                          <a:pt x="478" y="150"/>
                        </a:lnTo>
                        <a:lnTo>
                          <a:pt x="482" y="146"/>
                        </a:lnTo>
                        <a:lnTo>
                          <a:pt x="484" y="142"/>
                        </a:lnTo>
                        <a:lnTo>
                          <a:pt x="486" y="136"/>
                        </a:lnTo>
                        <a:lnTo>
                          <a:pt x="486" y="130"/>
                        </a:lnTo>
                        <a:lnTo>
                          <a:pt x="486" y="130"/>
                        </a:lnTo>
                        <a:lnTo>
                          <a:pt x="482" y="100"/>
                        </a:lnTo>
                        <a:lnTo>
                          <a:pt x="480" y="82"/>
                        </a:lnTo>
                        <a:lnTo>
                          <a:pt x="474" y="64"/>
                        </a:lnTo>
                        <a:lnTo>
                          <a:pt x="470" y="56"/>
                        </a:lnTo>
                        <a:lnTo>
                          <a:pt x="466" y="48"/>
                        </a:lnTo>
                        <a:lnTo>
                          <a:pt x="460" y="42"/>
                        </a:lnTo>
                        <a:lnTo>
                          <a:pt x="452" y="38"/>
                        </a:lnTo>
                        <a:lnTo>
                          <a:pt x="444" y="34"/>
                        </a:lnTo>
                        <a:lnTo>
                          <a:pt x="432" y="32"/>
                        </a:lnTo>
                        <a:lnTo>
                          <a:pt x="420" y="32"/>
                        </a:lnTo>
                        <a:lnTo>
                          <a:pt x="406" y="34"/>
                        </a:lnTo>
                        <a:lnTo>
                          <a:pt x="406" y="34"/>
                        </a:lnTo>
                        <a:lnTo>
                          <a:pt x="346" y="46"/>
                        </a:lnTo>
                        <a:lnTo>
                          <a:pt x="294" y="56"/>
                        </a:lnTo>
                        <a:lnTo>
                          <a:pt x="270" y="58"/>
                        </a:lnTo>
                        <a:lnTo>
                          <a:pt x="252" y="58"/>
                        </a:lnTo>
                        <a:lnTo>
                          <a:pt x="236" y="54"/>
                        </a:lnTo>
                        <a:lnTo>
                          <a:pt x="230" y="52"/>
                        </a:lnTo>
                        <a:lnTo>
                          <a:pt x="226" y="48"/>
                        </a:lnTo>
                        <a:lnTo>
                          <a:pt x="226" y="48"/>
                        </a:lnTo>
                        <a:lnTo>
                          <a:pt x="216" y="38"/>
                        </a:lnTo>
                        <a:lnTo>
                          <a:pt x="202" y="30"/>
                        </a:lnTo>
                        <a:lnTo>
                          <a:pt x="186" y="20"/>
                        </a:lnTo>
                        <a:lnTo>
                          <a:pt x="170" y="14"/>
                        </a:lnTo>
                        <a:lnTo>
                          <a:pt x="154" y="8"/>
                        </a:lnTo>
                        <a:lnTo>
                          <a:pt x="138" y="4"/>
                        </a:lnTo>
                        <a:lnTo>
                          <a:pt x="124" y="0"/>
                        </a:lnTo>
                        <a:lnTo>
                          <a:pt x="112" y="0"/>
                        </a:lnTo>
                        <a:lnTo>
                          <a:pt x="112" y="0"/>
                        </a:lnTo>
                        <a:lnTo>
                          <a:pt x="94" y="2"/>
                        </a:lnTo>
                        <a:lnTo>
                          <a:pt x="72" y="6"/>
                        </a:lnTo>
                        <a:lnTo>
                          <a:pt x="50" y="14"/>
                        </a:lnTo>
                        <a:lnTo>
                          <a:pt x="40" y="18"/>
                        </a:lnTo>
                        <a:lnTo>
                          <a:pt x="30" y="24"/>
                        </a:lnTo>
                        <a:lnTo>
                          <a:pt x="22" y="32"/>
                        </a:lnTo>
                        <a:lnTo>
                          <a:pt x="14" y="42"/>
                        </a:lnTo>
                        <a:lnTo>
                          <a:pt x="8" y="54"/>
                        </a:lnTo>
                        <a:lnTo>
                          <a:pt x="4" y="68"/>
                        </a:lnTo>
                        <a:lnTo>
                          <a:pt x="0" y="82"/>
                        </a:lnTo>
                        <a:lnTo>
                          <a:pt x="0" y="102"/>
                        </a:lnTo>
                        <a:lnTo>
                          <a:pt x="2" y="122"/>
                        </a:lnTo>
                        <a:lnTo>
                          <a:pt x="8" y="146"/>
                        </a:lnTo>
                        <a:lnTo>
                          <a:pt x="8" y="146"/>
                        </a:lnTo>
                        <a:lnTo>
                          <a:pt x="14" y="170"/>
                        </a:lnTo>
                        <a:lnTo>
                          <a:pt x="24" y="188"/>
                        </a:lnTo>
                        <a:lnTo>
                          <a:pt x="36" y="204"/>
                        </a:lnTo>
                        <a:lnTo>
                          <a:pt x="50" y="218"/>
                        </a:lnTo>
                        <a:lnTo>
                          <a:pt x="64" y="228"/>
                        </a:lnTo>
                        <a:lnTo>
                          <a:pt x="80" y="236"/>
                        </a:lnTo>
                        <a:lnTo>
                          <a:pt x="96" y="240"/>
                        </a:lnTo>
                        <a:lnTo>
                          <a:pt x="114" y="244"/>
                        </a:lnTo>
                        <a:lnTo>
                          <a:pt x="130" y="244"/>
                        </a:lnTo>
                        <a:lnTo>
                          <a:pt x="146" y="244"/>
                        </a:lnTo>
                        <a:lnTo>
                          <a:pt x="162" y="242"/>
                        </a:lnTo>
                        <a:lnTo>
                          <a:pt x="176" y="240"/>
                        </a:lnTo>
                        <a:lnTo>
                          <a:pt x="200" y="232"/>
                        </a:lnTo>
                        <a:lnTo>
                          <a:pt x="214" y="222"/>
                        </a:lnTo>
                        <a:lnTo>
                          <a:pt x="214" y="222"/>
                        </a:lnTo>
                        <a:lnTo>
                          <a:pt x="228" y="214"/>
                        </a:lnTo>
                        <a:lnTo>
                          <a:pt x="246" y="208"/>
                        </a:lnTo>
                        <a:lnTo>
                          <a:pt x="268" y="200"/>
                        </a:lnTo>
                        <a:lnTo>
                          <a:pt x="294" y="194"/>
                        </a:lnTo>
                        <a:lnTo>
                          <a:pt x="354" y="182"/>
                        </a:lnTo>
                        <a:lnTo>
                          <a:pt x="418" y="174"/>
                        </a:lnTo>
                        <a:lnTo>
                          <a:pt x="418" y="174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da-DK" kern="0">
                      <a:solidFill>
                        <a:sysClr val="windowText" lastClr="000000"/>
                      </a:solidFill>
                      <a:latin typeface="+mn-lt"/>
                      <a:cs typeface="+mn-cs"/>
                    </a:endParaRPr>
                  </a:p>
                </p:txBody>
              </p:sp>
            </p:grpSp>
            <p:sp>
              <p:nvSpPr>
                <p:cNvPr id="169" name="Freeform 10"/>
                <p:cNvSpPr>
                  <a:spLocks/>
                </p:cNvSpPr>
                <p:nvPr/>
              </p:nvSpPr>
              <p:spPr bwMode="auto">
                <a:xfrm>
                  <a:off x="6761755" y="3953009"/>
                  <a:ext cx="1031921" cy="1220844"/>
                </a:xfrm>
                <a:custGeom>
                  <a:avLst/>
                  <a:gdLst/>
                  <a:ahLst/>
                  <a:cxnLst>
                    <a:cxn ang="0">
                      <a:pos x="648" y="384"/>
                    </a:cxn>
                    <a:cxn ang="0">
                      <a:pos x="642" y="462"/>
                    </a:cxn>
                    <a:cxn ang="0">
                      <a:pos x="624" y="532"/>
                    </a:cxn>
                    <a:cxn ang="0">
                      <a:pos x="594" y="598"/>
                    </a:cxn>
                    <a:cxn ang="0">
                      <a:pos x="554" y="654"/>
                    </a:cxn>
                    <a:cxn ang="0">
                      <a:pos x="506" y="702"/>
                    </a:cxn>
                    <a:cxn ang="0">
                      <a:pos x="450" y="736"/>
                    </a:cxn>
                    <a:cxn ang="0">
                      <a:pos x="390" y="760"/>
                    </a:cxn>
                    <a:cxn ang="0">
                      <a:pos x="324" y="766"/>
                    </a:cxn>
                    <a:cxn ang="0">
                      <a:pos x="290" y="764"/>
                    </a:cxn>
                    <a:cxn ang="0">
                      <a:pos x="228" y="750"/>
                    </a:cxn>
                    <a:cxn ang="0">
                      <a:pos x="170" y="720"/>
                    </a:cxn>
                    <a:cxn ang="0">
                      <a:pos x="118" y="680"/>
                    </a:cxn>
                    <a:cxn ang="0">
                      <a:pos x="74" y="628"/>
                    </a:cxn>
                    <a:cxn ang="0">
                      <a:pos x="38" y="566"/>
                    </a:cxn>
                    <a:cxn ang="0">
                      <a:pos x="14" y="498"/>
                    </a:cxn>
                    <a:cxn ang="0">
                      <a:pos x="0" y="424"/>
                    </a:cxn>
                    <a:cxn ang="0">
                      <a:pos x="0" y="384"/>
                    </a:cxn>
                    <a:cxn ang="0">
                      <a:pos x="6" y="306"/>
                    </a:cxn>
                    <a:cxn ang="0">
                      <a:pos x="24" y="234"/>
                    </a:cxn>
                    <a:cxn ang="0">
                      <a:pos x="54" y="170"/>
                    </a:cxn>
                    <a:cxn ang="0">
                      <a:pos x="94" y="114"/>
                    </a:cxn>
                    <a:cxn ang="0">
                      <a:pos x="142" y="66"/>
                    </a:cxn>
                    <a:cxn ang="0">
                      <a:pos x="198" y="32"/>
                    </a:cxn>
                    <a:cxn ang="0">
                      <a:pos x="258" y="8"/>
                    </a:cxn>
                    <a:cxn ang="0">
                      <a:pos x="324" y="0"/>
                    </a:cxn>
                    <a:cxn ang="0">
                      <a:pos x="358" y="2"/>
                    </a:cxn>
                    <a:cxn ang="0">
                      <a:pos x="420" y="18"/>
                    </a:cxn>
                    <a:cxn ang="0">
                      <a:pos x="478" y="48"/>
                    </a:cxn>
                    <a:cxn ang="0">
                      <a:pos x="530" y="88"/>
                    </a:cxn>
                    <a:cxn ang="0">
                      <a:pos x="574" y="140"/>
                    </a:cxn>
                    <a:cxn ang="0">
                      <a:pos x="610" y="202"/>
                    </a:cxn>
                    <a:cxn ang="0">
                      <a:pos x="634" y="270"/>
                    </a:cxn>
                    <a:cxn ang="0">
                      <a:pos x="646" y="344"/>
                    </a:cxn>
                    <a:cxn ang="0">
                      <a:pos x="648" y="384"/>
                    </a:cxn>
                  </a:cxnLst>
                  <a:rect l="0" t="0" r="r" b="b"/>
                  <a:pathLst>
                    <a:path w="648" h="766">
                      <a:moveTo>
                        <a:pt x="648" y="384"/>
                      </a:moveTo>
                      <a:lnTo>
                        <a:pt x="648" y="384"/>
                      </a:lnTo>
                      <a:lnTo>
                        <a:pt x="646" y="424"/>
                      </a:lnTo>
                      <a:lnTo>
                        <a:pt x="642" y="462"/>
                      </a:lnTo>
                      <a:lnTo>
                        <a:pt x="634" y="498"/>
                      </a:lnTo>
                      <a:lnTo>
                        <a:pt x="624" y="532"/>
                      </a:lnTo>
                      <a:lnTo>
                        <a:pt x="610" y="566"/>
                      </a:lnTo>
                      <a:lnTo>
                        <a:pt x="594" y="598"/>
                      </a:lnTo>
                      <a:lnTo>
                        <a:pt x="574" y="628"/>
                      </a:lnTo>
                      <a:lnTo>
                        <a:pt x="554" y="654"/>
                      </a:lnTo>
                      <a:lnTo>
                        <a:pt x="530" y="680"/>
                      </a:lnTo>
                      <a:lnTo>
                        <a:pt x="506" y="702"/>
                      </a:lnTo>
                      <a:lnTo>
                        <a:pt x="478" y="720"/>
                      </a:lnTo>
                      <a:lnTo>
                        <a:pt x="450" y="736"/>
                      </a:lnTo>
                      <a:lnTo>
                        <a:pt x="420" y="750"/>
                      </a:lnTo>
                      <a:lnTo>
                        <a:pt x="390" y="760"/>
                      </a:lnTo>
                      <a:lnTo>
                        <a:pt x="358" y="764"/>
                      </a:lnTo>
                      <a:lnTo>
                        <a:pt x="324" y="766"/>
                      </a:lnTo>
                      <a:lnTo>
                        <a:pt x="324" y="766"/>
                      </a:lnTo>
                      <a:lnTo>
                        <a:pt x="290" y="764"/>
                      </a:lnTo>
                      <a:lnTo>
                        <a:pt x="258" y="760"/>
                      </a:lnTo>
                      <a:lnTo>
                        <a:pt x="228" y="750"/>
                      </a:lnTo>
                      <a:lnTo>
                        <a:pt x="198" y="736"/>
                      </a:lnTo>
                      <a:lnTo>
                        <a:pt x="170" y="720"/>
                      </a:lnTo>
                      <a:lnTo>
                        <a:pt x="142" y="702"/>
                      </a:lnTo>
                      <a:lnTo>
                        <a:pt x="118" y="680"/>
                      </a:lnTo>
                      <a:lnTo>
                        <a:pt x="94" y="654"/>
                      </a:lnTo>
                      <a:lnTo>
                        <a:pt x="74" y="628"/>
                      </a:lnTo>
                      <a:lnTo>
                        <a:pt x="54" y="598"/>
                      </a:lnTo>
                      <a:lnTo>
                        <a:pt x="38" y="566"/>
                      </a:lnTo>
                      <a:lnTo>
                        <a:pt x="24" y="532"/>
                      </a:lnTo>
                      <a:lnTo>
                        <a:pt x="14" y="498"/>
                      </a:lnTo>
                      <a:lnTo>
                        <a:pt x="6" y="462"/>
                      </a:lnTo>
                      <a:lnTo>
                        <a:pt x="0" y="424"/>
                      </a:lnTo>
                      <a:lnTo>
                        <a:pt x="0" y="384"/>
                      </a:lnTo>
                      <a:lnTo>
                        <a:pt x="0" y="384"/>
                      </a:lnTo>
                      <a:lnTo>
                        <a:pt x="0" y="344"/>
                      </a:lnTo>
                      <a:lnTo>
                        <a:pt x="6" y="306"/>
                      </a:lnTo>
                      <a:lnTo>
                        <a:pt x="14" y="270"/>
                      </a:lnTo>
                      <a:lnTo>
                        <a:pt x="24" y="234"/>
                      </a:lnTo>
                      <a:lnTo>
                        <a:pt x="38" y="202"/>
                      </a:lnTo>
                      <a:lnTo>
                        <a:pt x="54" y="170"/>
                      </a:lnTo>
                      <a:lnTo>
                        <a:pt x="74" y="140"/>
                      </a:lnTo>
                      <a:lnTo>
                        <a:pt x="94" y="114"/>
                      </a:lnTo>
                      <a:lnTo>
                        <a:pt x="118" y="88"/>
                      </a:lnTo>
                      <a:lnTo>
                        <a:pt x="142" y="66"/>
                      </a:lnTo>
                      <a:lnTo>
                        <a:pt x="170" y="48"/>
                      </a:lnTo>
                      <a:lnTo>
                        <a:pt x="198" y="32"/>
                      </a:lnTo>
                      <a:lnTo>
                        <a:pt x="228" y="18"/>
                      </a:lnTo>
                      <a:lnTo>
                        <a:pt x="258" y="8"/>
                      </a:lnTo>
                      <a:lnTo>
                        <a:pt x="290" y="2"/>
                      </a:lnTo>
                      <a:lnTo>
                        <a:pt x="324" y="0"/>
                      </a:lnTo>
                      <a:lnTo>
                        <a:pt x="324" y="0"/>
                      </a:lnTo>
                      <a:lnTo>
                        <a:pt x="358" y="2"/>
                      </a:lnTo>
                      <a:lnTo>
                        <a:pt x="390" y="8"/>
                      </a:lnTo>
                      <a:lnTo>
                        <a:pt x="420" y="18"/>
                      </a:lnTo>
                      <a:lnTo>
                        <a:pt x="450" y="32"/>
                      </a:lnTo>
                      <a:lnTo>
                        <a:pt x="478" y="48"/>
                      </a:lnTo>
                      <a:lnTo>
                        <a:pt x="506" y="66"/>
                      </a:lnTo>
                      <a:lnTo>
                        <a:pt x="530" y="88"/>
                      </a:lnTo>
                      <a:lnTo>
                        <a:pt x="554" y="114"/>
                      </a:lnTo>
                      <a:lnTo>
                        <a:pt x="574" y="140"/>
                      </a:lnTo>
                      <a:lnTo>
                        <a:pt x="594" y="170"/>
                      </a:lnTo>
                      <a:lnTo>
                        <a:pt x="610" y="202"/>
                      </a:lnTo>
                      <a:lnTo>
                        <a:pt x="624" y="234"/>
                      </a:lnTo>
                      <a:lnTo>
                        <a:pt x="634" y="270"/>
                      </a:lnTo>
                      <a:lnTo>
                        <a:pt x="642" y="306"/>
                      </a:lnTo>
                      <a:lnTo>
                        <a:pt x="646" y="344"/>
                      </a:lnTo>
                      <a:lnTo>
                        <a:pt x="648" y="384"/>
                      </a:lnTo>
                      <a:lnTo>
                        <a:pt x="648" y="384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Text" lastClr="000000"/>
                    </a:solidFill>
                    <a:latin typeface="+mn-lt"/>
                    <a:cs typeface="+mn-cs"/>
                  </a:endParaRPr>
                </a:p>
              </p:txBody>
            </p:sp>
            <p:sp>
              <p:nvSpPr>
                <p:cNvPr id="170" name="Freeform 11"/>
                <p:cNvSpPr>
                  <a:spLocks/>
                </p:cNvSpPr>
                <p:nvPr/>
              </p:nvSpPr>
              <p:spPr bwMode="auto">
                <a:xfrm>
                  <a:off x="6761755" y="4021788"/>
                  <a:ext cx="928729" cy="1091884"/>
                </a:xfrm>
                <a:custGeom>
                  <a:avLst/>
                  <a:gdLst/>
                  <a:ahLst/>
                  <a:cxnLst>
                    <a:cxn ang="0">
                      <a:pos x="586" y="344"/>
                    </a:cxn>
                    <a:cxn ang="0">
                      <a:pos x="580" y="412"/>
                    </a:cxn>
                    <a:cxn ang="0">
                      <a:pos x="564" y="478"/>
                    </a:cxn>
                    <a:cxn ang="0">
                      <a:pos x="536" y="536"/>
                    </a:cxn>
                    <a:cxn ang="0">
                      <a:pos x="500" y="586"/>
                    </a:cxn>
                    <a:cxn ang="0">
                      <a:pos x="456" y="628"/>
                    </a:cxn>
                    <a:cxn ang="0">
                      <a:pos x="408" y="660"/>
                    </a:cxn>
                    <a:cxn ang="0">
                      <a:pos x="352" y="680"/>
                    </a:cxn>
                    <a:cxn ang="0">
                      <a:pos x="292" y="686"/>
                    </a:cxn>
                    <a:cxn ang="0">
                      <a:pos x="262" y="684"/>
                    </a:cxn>
                    <a:cxn ang="0">
                      <a:pos x="206" y="672"/>
                    </a:cxn>
                    <a:cxn ang="0">
                      <a:pos x="152" y="646"/>
                    </a:cxn>
                    <a:cxn ang="0">
                      <a:pos x="106" y="608"/>
                    </a:cxn>
                    <a:cxn ang="0">
                      <a:pos x="66" y="562"/>
                    </a:cxn>
                    <a:cxn ang="0">
                      <a:pos x="34" y="508"/>
                    </a:cxn>
                    <a:cxn ang="0">
                      <a:pos x="12" y="446"/>
                    </a:cxn>
                    <a:cxn ang="0">
                      <a:pos x="0" y="378"/>
                    </a:cxn>
                    <a:cxn ang="0">
                      <a:pos x="0" y="344"/>
                    </a:cxn>
                    <a:cxn ang="0">
                      <a:pos x="6" y="274"/>
                    </a:cxn>
                    <a:cxn ang="0">
                      <a:pos x="22" y="210"/>
                    </a:cxn>
                    <a:cxn ang="0">
                      <a:pos x="50" y="152"/>
                    </a:cxn>
                    <a:cxn ang="0">
                      <a:pos x="86" y="100"/>
                    </a:cxn>
                    <a:cxn ang="0">
                      <a:pos x="128" y="58"/>
                    </a:cxn>
                    <a:cxn ang="0">
                      <a:pos x="178" y="28"/>
                    </a:cxn>
                    <a:cxn ang="0">
                      <a:pos x="234" y="8"/>
                    </a:cxn>
                    <a:cxn ang="0">
                      <a:pos x="292" y="0"/>
                    </a:cxn>
                    <a:cxn ang="0">
                      <a:pos x="322" y="2"/>
                    </a:cxn>
                    <a:cxn ang="0">
                      <a:pos x="380" y="16"/>
                    </a:cxn>
                    <a:cxn ang="0">
                      <a:pos x="432" y="42"/>
                    </a:cxn>
                    <a:cxn ang="0">
                      <a:pos x="480" y="78"/>
                    </a:cxn>
                    <a:cxn ang="0">
                      <a:pos x="520" y="126"/>
                    </a:cxn>
                    <a:cxn ang="0">
                      <a:pos x="550" y="180"/>
                    </a:cxn>
                    <a:cxn ang="0">
                      <a:pos x="574" y="242"/>
                    </a:cxn>
                    <a:cxn ang="0">
                      <a:pos x="584" y="308"/>
                    </a:cxn>
                    <a:cxn ang="0">
                      <a:pos x="586" y="344"/>
                    </a:cxn>
                  </a:cxnLst>
                  <a:rect l="0" t="0" r="r" b="b"/>
                  <a:pathLst>
                    <a:path w="586" h="686">
                      <a:moveTo>
                        <a:pt x="586" y="344"/>
                      </a:moveTo>
                      <a:lnTo>
                        <a:pt x="586" y="344"/>
                      </a:lnTo>
                      <a:lnTo>
                        <a:pt x="584" y="378"/>
                      </a:lnTo>
                      <a:lnTo>
                        <a:pt x="580" y="412"/>
                      </a:lnTo>
                      <a:lnTo>
                        <a:pt x="574" y="446"/>
                      </a:lnTo>
                      <a:lnTo>
                        <a:pt x="564" y="478"/>
                      </a:lnTo>
                      <a:lnTo>
                        <a:pt x="550" y="508"/>
                      </a:lnTo>
                      <a:lnTo>
                        <a:pt x="536" y="536"/>
                      </a:lnTo>
                      <a:lnTo>
                        <a:pt x="520" y="562"/>
                      </a:lnTo>
                      <a:lnTo>
                        <a:pt x="500" y="586"/>
                      </a:lnTo>
                      <a:lnTo>
                        <a:pt x="480" y="608"/>
                      </a:lnTo>
                      <a:lnTo>
                        <a:pt x="456" y="628"/>
                      </a:lnTo>
                      <a:lnTo>
                        <a:pt x="432" y="646"/>
                      </a:lnTo>
                      <a:lnTo>
                        <a:pt x="408" y="660"/>
                      </a:lnTo>
                      <a:lnTo>
                        <a:pt x="380" y="672"/>
                      </a:lnTo>
                      <a:lnTo>
                        <a:pt x="352" y="680"/>
                      </a:lnTo>
                      <a:lnTo>
                        <a:pt x="322" y="684"/>
                      </a:lnTo>
                      <a:lnTo>
                        <a:pt x="292" y="686"/>
                      </a:lnTo>
                      <a:lnTo>
                        <a:pt x="292" y="686"/>
                      </a:lnTo>
                      <a:lnTo>
                        <a:pt x="262" y="684"/>
                      </a:lnTo>
                      <a:lnTo>
                        <a:pt x="234" y="680"/>
                      </a:lnTo>
                      <a:lnTo>
                        <a:pt x="206" y="672"/>
                      </a:lnTo>
                      <a:lnTo>
                        <a:pt x="178" y="660"/>
                      </a:lnTo>
                      <a:lnTo>
                        <a:pt x="152" y="646"/>
                      </a:lnTo>
                      <a:lnTo>
                        <a:pt x="128" y="628"/>
                      </a:lnTo>
                      <a:lnTo>
                        <a:pt x="106" y="608"/>
                      </a:lnTo>
                      <a:lnTo>
                        <a:pt x="86" y="586"/>
                      </a:lnTo>
                      <a:lnTo>
                        <a:pt x="66" y="562"/>
                      </a:lnTo>
                      <a:lnTo>
                        <a:pt x="50" y="536"/>
                      </a:lnTo>
                      <a:lnTo>
                        <a:pt x="34" y="508"/>
                      </a:lnTo>
                      <a:lnTo>
                        <a:pt x="22" y="478"/>
                      </a:lnTo>
                      <a:lnTo>
                        <a:pt x="12" y="446"/>
                      </a:lnTo>
                      <a:lnTo>
                        <a:pt x="6" y="412"/>
                      </a:lnTo>
                      <a:lnTo>
                        <a:pt x="0" y="378"/>
                      </a:lnTo>
                      <a:lnTo>
                        <a:pt x="0" y="344"/>
                      </a:lnTo>
                      <a:lnTo>
                        <a:pt x="0" y="344"/>
                      </a:lnTo>
                      <a:lnTo>
                        <a:pt x="0" y="308"/>
                      </a:lnTo>
                      <a:lnTo>
                        <a:pt x="6" y="274"/>
                      </a:lnTo>
                      <a:lnTo>
                        <a:pt x="12" y="242"/>
                      </a:lnTo>
                      <a:lnTo>
                        <a:pt x="22" y="210"/>
                      </a:lnTo>
                      <a:lnTo>
                        <a:pt x="34" y="180"/>
                      </a:lnTo>
                      <a:lnTo>
                        <a:pt x="50" y="152"/>
                      </a:lnTo>
                      <a:lnTo>
                        <a:pt x="66" y="126"/>
                      </a:lnTo>
                      <a:lnTo>
                        <a:pt x="86" y="100"/>
                      </a:lnTo>
                      <a:lnTo>
                        <a:pt x="106" y="78"/>
                      </a:lnTo>
                      <a:lnTo>
                        <a:pt x="128" y="58"/>
                      </a:lnTo>
                      <a:lnTo>
                        <a:pt x="152" y="42"/>
                      </a:lnTo>
                      <a:lnTo>
                        <a:pt x="178" y="28"/>
                      </a:lnTo>
                      <a:lnTo>
                        <a:pt x="206" y="16"/>
                      </a:lnTo>
                      <a:lnTo>
                        <a:pt x="234" y="8"/>
                      </a:lnTo>
                      <a:lnTo>
                        <a:pt x="262" y="2"/>
                      </a:lnTo>
                      <a:lnTo>
                        <a:pt x="292" y="0"/>
                      </a:lnTo>
                      <a:lnTo>
                        <a:pt x="292" y="0"/>
                      </a:lnTo>
                      <a:lnTo>
                        <a:pt x="322" y="2"/>
                      </a:lnTo>
                      <a:lnTo>
                        <a:pt x="352" y="8"/>
                      </a:lnTo>
                      <a:lnTo>
                        <a:pt x="380" y="16"/>
                      </a:lnTo>
                      <a:lnTo>
                        <a:pt x="408" y="28"/>
                      </a:lnTo>
                      <a:lnTo>
                        <a:pt x="432" y="42"/>
                      </a:lnTo>
                      <a:lnTo>
                        <a:pt x="456" y="58"/>
                      </a:lnTo>
                      <a:lnTo>
                        <a:pt x="480" y="78"/>
                      </a:lnTo>
                      <a:lnTo>
                        <a:pt x="500" y="100"/>
                      </a:lnTo>
                      <a:lnTo>
                        <a:pt x="520" y="126"/>
                      </a:lnTo>
                      <a:lnTo>
                        <a:pt x="536" y="152"/>
                      </a:lnTo>
                      <a:lnTo>
                        <a:pt x="550" y="180"/>
                      </a:lnTo>
                      <a:lnTo>
                        <a:pt x="564" y="210"/>
                      </a:lnTo>
                      <a:lnTo>
                        <a:pt x="574" y="242"/>
                      </a:lnTo>
                      <a:lnTo>
                        <a:pt x="580" y="274"/>
                      </a:lnTo>
                      <a:lnTo>
                        <a:pt x="584" y="308"/>
                      </a:lnTo>
                      <a:lnTo>
                        <a:pt x="586" y="344"/>
                      </a:lnTo>
                      <a:lnTo>
                        <a:pt x="586" y="344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Text" lastClr="000000"/>
                    </a:solidFill>
                    <a:latin typeface="+mn-lt"/>
                    <a:cs typeface="+mn-cs"/>
                  </a:endParaRPr>
                </a:p>
              </p:txBody>
            </p:sp>
            <p:sp>
              <p:nvSpPr>
                <p:cNvPr id="171" name="Freeform 13"/>
                <p:cNvSpPr>
                  <a:spLocks/>
                </p:cNvSpPr>
                <p:nvPr/>
              </p:nvSpPr>
              <p:spPr bwMode="auto">
                <a:xfrm>
                  <a:off x="5721237" y="2671985"/>
                  <a:ext cx="1238306" cy="352495"/>
                </a:xfrm>
                <a:custGeom>
                  <a:avLst/>
                  <a:gdLst/>
                  <a:ahLst/>
                  <a:cxnLst>
                    <a:cxn ang="0">
                      <a:pos x="776" y="224"/>
                    </a:cxn>
                    <a:cxn ang="0">
                      <a:pos x="776" y="224"/>
                    </a:cxn>
                    <a:cxn ang="0">
                      <a:pos x="736" y="202"/>
                    </a:cxn>
                    <a:cxn ang="0">
                      <a:pos x="694" y="176"/>
                    </a:cxn>
                    <a:cxn ang="0">
                      <a:pos x="648" y="146"/>
                    </a:cxn>
                    <a:cxn ang="0">
                      <a:pos x="600" y="112"/>
                    </a:cxn>
                    <a:cxn ang="0">
                      <a:pos x="580" y="94"/>
                    </a:cxn>
                    <a:cxn ang="0">
                      <a:pos x="560" y="76"/>
                    </a:cxn>
                    <a:cxn ang="0">
                      <a:pos x="544" y="58"/>
                    </a:cxn>
                    <a:cxn ang="0">
                      <a:pos x="532" y="42"/>
                    </a:cxn>
                    <a:cxn ang="0">
                      <a:pos x="524" y="26"/>
                    </a:cxn>
                    <a:cxn ang="0">
                      <a:pos x="522" y="20"/>
                    </a:cxn>
                    <a:cxn ang="0">
                      <a:pos x="522" y="12"/>
                    </a:cxn>
                    <a:cxn ang="0">
                      <a:pos x="522" y="12"/>
                    </a:cxn>
                    <a:cxn ang="0">
                      <a:pos x="486" y="8"/>
                    </a:cxn>
                    <a:cxn ang="0">
                      <a:pos x="448" y="4"/>
                    </a:cxn>
                    <a:cxn ang="0">
                      <a:pos x="400" y="2"/>
                    </a:cxn>
                    <a:cxn ang="0">
                      <a:pos x="350" y="0"/>
                    </a:cxn>
                    <a:cxn ang="0">
                      <a:pos x="302" y="2"/>
                    </a:cxn>
                    <a:cxn ang="0">
                      <a:pos x="278" y="4"/>
                    </a:cxn>
                    <a:cxn ang="0">
                      <a:pos x="258" y="6"/>
                    </a:cxn>
                    <a:cxn ang="0">
                      <a:pos x="240" y="10"/>
                    </a:cxn>
                    <a:cxn ang="0">
                      <a:pos x="224" y="16"/>
                    </a:cxn>
                    <a:cxn ang="0">
                      <a:pos x="224" y="16"/>
                    </a:cxn>
                    <a:cxn ang="0">
                      <a:pos x="202" y="42"/>
                    </a:cxn>
                    <a:cxn ang="0">
                      <a:pos x="176" y="70"/>
                    </a:cxn>
                    <a:cxn ang="0">
                      <a:pos x="144" y="102"/>
                    </a:cxn>
                    <a:cxn ang="0">
                      <a:pos x="110" y="134"/>
                    </a:cxn>
                    <a:cxn ang="0">
                      <a:pos x="74" y="164"/>
                    </a:cxn>
                    <a:cxn ang="0">
                      <a:pos x="56" y="176"/>
                    </a:cxn>
                    <a:cxn ang="0">
                      <a:pos x="38" y="188"/>
                    </a:cxn>
                    <a:cxn ang="0">
                      <a:pos x="22" y="196"/>
                    </a:cxn>
                    <a:cxn ang="0">
                      <a:pos x="8" y="202"/>
                    </a:cxn>
                    <a:cxn ang="0">
                      <a:pos x="8" y="202"/>
                    </a:cxn>
                    <a:cxn ang="0">
                      <a:pos x="0" y="204"/>
                    </a:cxn>
                    <a:cxn ang="0">
                      <a:pos x="28" y="196"/>
                    </a:cxn>
                    <a:cxn ang="0">
                      <a:pos x="92" y="184"/>
                    </a:cxn>
                    <a:cxn ang="0">
                      <a:pos x="134" y="178"/>
                    </a:cxn>
                    <a:cxn ang="0">
                      <a:pos x="184" y="172"/>
                    </a:cxn>
                    <a:cxn ang="0">
                      <a:pos x="242" y="168"/>
                    </a:cxn>
                    <a:cxn ang="0">
                      <a:pos x="304" y="166"/>
                    </a:cxn>
                    <a:cxn ang="0">
                      <a:pos x="372" y="166"/>
                    </a:cxn>
                    <a:cxn ang="0">
                      <a:pos x="444" y="170"/>
                    </a:cxn>
                    <a:cxn ang="0">
                      <a:pos x="522" y="176"/>
                    </a:cxn>
                    <a:cxn ang="0">
                      <a:pos x="602" y="188"/>
                    </a:cxn>
                    <a:cxn ang="0">
                      <a:pos x="688" y="204"/>
                    </a:cxn>
                    <a:cxn ang="0">
                      <a:pos x="732" y="214"/>
                    </a:cxn>
                    <a:cxn ang="0">
                      <a:pos x="776" y="224"/>
                    </a:cxn>
                    <a:cxn ang="0">
                      <a:pos x="776" y="224"/>
                    </a:cxn>
                  </a:cxnLst>
                  <a:rect l="0" t="0" r="r" b="b"/>
                  <a:pathLst>
                    <a:path w="776" h="224">
                      <a:moveTo>
                        <a:pt x="776" y="224"/>
                      </a:moveTo>
                      <a:lnTo>
                        <a:pt x="776" y="224"/>
                      </a:lnTo>
                      <a:lnTo>
                        <a:pt x="736" y="202"/>
                      </a:lnTo>
                      <a:lnTo>
                        <a:pt x="694" y="176"/>
                      </a:lnTo>
                      <a:lnTo>
                        <a:pt x="648" y="146"/>
                      </a:lnTo>
                      <a:lnTo>
                        <a:pt x="600" y="112"/>
                      </a:lnTo>
                      <a:lnTo>
                        <a:pt x="580" y="94"/>
                      </a:lnTo>
                      <a:lnTo>
                        <a:pt x="560" y="76"/>
                      </a:lnTo>
                      <a:lnTo>
                        <a:pt x="544" y="58"/>
                      </a:lnTo>
                      <a:lnTo>
                        <a:pt x="532" y="42"/>
                      </a:lnTo>
                      <a:lnTo>
                        <a:pt x="524" y="26"/>
                      </a:lnTo>
                      <a:lnTo>
                        <a:pt x="522" y="20"/>
                      </a:lnTo>
                      <a:lnTo>
                        <a:pt x="522" y="12"/>
                      </a:lnTo>
                      <a:lnTo>
                        <a:pt x="522" y="12"/>
                      </a:lnTo>
                      <a:lnTo>
                        <a:pt x="486" y="8"/>
                      </a:lnTo>
                      <a:lnTo>
                        <a:pt x="448" y="4"/>
                      </a:lnTo>
                      <a:lnTo>
                        <a:pt x="400" y="2"/>
                      </a:lnTo>
                      <a:lnTo>
                        <a:pt x="350" y="0"/>
                      </a:lnTo>
                      <a:lnTo>
                        <a:pt x="302" y="2"/>
                      </a:lnTo>
                      <a:lnTo>
                        <a:pt x="278" y="4"/>
                      </a:lnTo>
                      <a:lnTo>
                        <a:pt x="258" y="6"/>
                      </a:lnTo>
                      <a:lnTo>
                        <a:pt x="240" y="10"/>
                      </a:lnTo>
                      <a:lnTo>
                        <a:pt x="224" y="16"/>
                      </a:lnTo>
                      <a:lnTo>
                        <a:pt x="224" y="16"/>
                      </a:lnTo>
                      <a:lnTo>
                        <a:pt x="202" y="42"/>
                      </a:lnTo>
                      <a:lnTo>
                        <a:pt x="176" y="70"/>
                      </a:lnTo>
                      <a:lnTo>
                        <a:pt x="144" y="102"/>
                      </a:lnTo>
                      <a:lnTo>
                        <a:pt x="110" y="134"/>
                      </a:lnTo>
                      <a:lnTo>
                        <a:pt x="74" y="164"/>
                      </a:lnTo>
                      <a:lnTo>
                        <a:pt x="56" y="176"/>
                      </a:lnTo>
                      <a:lnTo>
                        <a:pt x="38" y="188"/>
                      </a:lnTo>
                      <a:lnTo>
                        <a:pt x="22" y="196"/>
                      </a:lnTo>
                      <a:lnTo>
                        <a:pt x="8" y="202"/>
                      </a:lnTo>
                      <a:lnTo>
                        <a:pt x="8" y="202"/>
                      </a:lnTo>
                      <a:lnTo>
                        <a:pt x="0" y="204"/>
                      </a:lnTo>
                      <a:lnTo>
                        <a:pt x="28" y="196"/>
                      </a:lnTo>
                      <a:lnTo>
                        <a:pt x="92" y="184"/>
                      </a:lnTo>
                      <a:lnTo>
                        <a:pt x="134" y="178"/>
                      </a:lnTo>
                      <a:lnTo>
                        <a:pt x="184" y="172"/>
                      </a:lnTo>
                      <a:lnTo>
                        <a:pt x="242" y="168"/>
                      </a:lnTo>
                      <a:lnTo>
                        <a:pt x="304" y="166"/>
                      </a:lnTo>
                      <a:lnTo>
                        <a:pt x="372" y="166"/>
                      </a:lnTo>
                      <a:lnTo>
                        <a:pt x="444" y="170"/>
                      </a:lnTo>
                      <a:lnTo>
                        <a:pt x="522" y="176"/>
                      </a:lnTo>
                      <a:lnTo>
                        <a:pt x="602" y="188"/>
                      </a:lnTo>
                      <a:lnTo>
                        <a:pt x="688" y="204"/>
                      </a:lnTo>
                      <a:lnTo>
                        <a:pt x="732" y="214"/>
                      </a:lnTo>
                      <a:lnTo>
                        <a:pt x="776" y="224"/>
                      </a:lnTo>
                      <a:lnTo>
                        <a:pt x="776" y="224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Text" lastClr="000000"/>
                    </a:solidFill>
                    <a:latin typeface="+mn-lt"/>
                    <a:cs typeface="+mn-cs"/>
                  </a:endParaRPr>
                </a:p>
              </p:txBody>
            </p:sp>
            <p:sp>
              <p:nvSpPr>
                <p:cNvPr id="172" name="Freeform 14"/>
                <p:cNvSpPr>
                  <a:spLocks/>
                </p:cNvSpPr>
                <p:nvPr/>
              </p:nvSpPr>
              <p:spPr bwMode="auto">
                <a:xfrm>
                  <a:off x="5723572" y="3168650"/>
                  <a:ext cx="1206500" cy="250825"/>
                </a:xfrm>
                <a:custGeom>
                  <a:avLst/>
                  <a:gdLst/>
                  <a:ahLst/>
                  <a:cxnLst>
                    <a:cxn ang="0">
                      <a:pos x="760" y="80"/>
                    </a:cxn>
                    <a:cxn ang="0">
                      <a:pos x="760" y="80"/>
                    </a:cxn>
                    <a:cxn ang="0">
                      <a:pos x="758" y="88"/>
                    </a:cxn>
                    <a:cxn ang="0">
                      <a:pos x="752" y="96"/>
                    </a:cxn>
                    <a:cxn ang="0">
                      <a:pos x="742" y="104"/>
                    </a:cxn>
                    <a:cxn ang="0">
                      <a:pos x="730" y="110"/>
                    </a:cxn>
                    <a:cxn ang="0">
                      <a:pos x="714" y="118"/>
                    </a:cxn>
                    <a:cxn ang="0">
                      <a:pos x="694" y="124"/>
                    </a:cxn>
                    <a:cxn ang="0">
                      <a:pos x="648" y="136"/>
                    </a:cxn>
                    <a:cxn ang="0">
                      <a:pos x="592" y="146"/>
                    </a:cxn>
                    <a:cxn ang="0">
                      <a:pos x="528" y="152"/>
                    </a:cxn>
                    <a:cxn ang="0">
                      <a:pos x="456" y="158"/>
                    </a:cxn>
                    <a:cxn ang="0">
                      <a:pos x="380" y="158"/>
                    </a:cxn>
                    <a:cxn ang="0">
                      <a:pos x="380" y="158"/>
                    </a:cxn>
                    <a:cxn ang="0">
                      <a:pos x="304" y="158"/>
                    </a:cxn>
                    <a:cxn ang="0">
                      <a:pos x="232" y="152"/>
                    </a:cxn>
                    <a:cxn ang="0">
                      <a:pos x="168" y="146"/>
                    </a:cxn>
                    <a:cxn ang="0">
                      <a:pos x="112" y="136"/>
                    </a:cxn>
                    <a:cxn ang="0">
                      <a:pos x="66" y="124"/>
                    </a:cxn>
                    <a:cxn ang="0">
                      <a:pos x="46" y="118"/>
                    </a:cxn>
                    <a:cxn ang="0">
                      <a:pos x="30" y="110"/>
                    </a:cxn>
                    <a:cxn ang="0">
                      <a:pos x="18" y="104"/>
                    </a:cxn>
                    <a:cxn ang="0">
                      <a:pos x="8" y="96"/>
                    </a:cxn>
                    <a:cxn ang="0">
                      <a:pos x="2" y="88"/>
                    </a:cxn>
                    <a:cxn ang="0">
                      <a:pos x="0" y="80"/>
                    </a:cxn>
                    <a:cxn ang="0">
                      <a:pos x="0" y="80"/>
                    </a:cxn>
                    <a:cxn ang="0">
                      <a:pos x="2" y="72"/>
                    </a:cxn>
                    <a:cxn ang="0">
                      <a:pos x="8" y="64"/>
                    </a:cxn>
                    <a:cxn ang="0">
                      <a:pos x="18" y="56"/>
                    </a:cxn>
                    <a:cxn ang="0">
                      <a:pos x="30" y="50"/>
                    </a:cxn>
                    <a:cxn ang="0">
                      <a:pos x="46" y="42"/>
                    </a:cxn>
                    <a:cxn ang="0">
                      <a:pos x="66" y="36"/>
                    </a:cxn>
                    <a:cxn ang="0">
                      <a:pos x="112" y="24"/>
                    </a:cxn>
                    <a:cxn ang="0">
                      <a:pos x="168" y="14"/>
                    </a:cxn>
                    <a:cxn ang="0">
                      <a:pos x="232" y="8"/>
                    </a:cxn>
                    <a:cxn ang="0">
                      <a:pos x="304" y="2"/>
                    </a:cxn>
                    <a:cxn ang="0">
                      <a:pos x="380" y="0"/>
                    </a:cxn>
                    <a:cxn ang="0">
                      <a:pos x="380" y="0"/>
                    </a:cxn>
                    <a:cxn ang="0">
                      <a:pos x="456" y="2"/>
                    </a:cxn>
                    <a:cxn ang="0">
                      <a:pos x="528" y="8"/>
                    </a:cxn>
                    <a:cxn ang="0">
                      <a:pos x="592" y="14"/>
                    </a:cxn>
                    <a:cxn ang="0">
                      <a:pos x="648" y="24"/>
                    </a:cxn>
                    <a:cxn ang="0">
                      <a:pos x="694" y="36"/>
                    </a:cxn>
                    <a:cxn ang="0">
                      <a:pos x="714" y="42"/>
                    </a:cxn>
                    <a:cxn ang="0">
                      <a:pos x="730" y="50"/>
                    </a:cxn>
                    <a:cxn ang="0">
                      <a:pos x="742" y="56"/>
                    </a:cxn>
                    <a:cxn ang="0">
                      <a:pos x="752" y="64"/>
                    </a:cxn>
                    <a:cxn ang="0">
                      <a:pos x="758" y="72"/>
                    </a:cxn>
                    <a:cxn ang="0">
                      <a:pos x="760" y="80"/>
                    </a:cxn>
                    <a:cxn ang="0">
                      <a:pos x="760" y="80"/>
                    </a:cxn>
                  </a:cxnLst>
                  <a:rect l="0" t="0" r="r" b="b"/>
                  <a:pathLst>
                    <a:path w="760" h="158">
                      <a:moveTo>
                        <a:pt x="760" y="80"/>
                      </a:moveTo>
                      <a:lnTo>
                        <a:pt x="760" y="80"/>
                      </a:lnTo>
                      <a:lnTo>
                        <a:pt x="758" y="88"/>
                      </a:lnTo>
                      <a:lnTo>
                        <a:pt x="752" y="96"/>
                      </a:lnTo>
                      <a:lnTo>
                        <a:pt x="742" y="104"/>
                      </a:lnTo>
                      <a:lnTo>
                        <a:pt x="730" y="110"/>
                      </a:lnTo>
                      <a:lnTo>
                        <a:pt x="714" y="118"/>
                      </a:lnTo>
                      <a:lnTo>
                        <a:pt x="694" y="124"/>
                      </a:lnTo>
                      <a:lnTo>
                        <a:pt x="648" y="136"/>
                      </a:lnTo>
                      <a:lnTo>
                        <a:pt x="592" y="146"/>
                      </a:lnTo>
                      <a:lnTo>
                        <a:pt x="528" y="152"/>
                      </a:lnTo>
                      <a:lnTo>
                        <a:pt x="456" y="158"/>
                      </a:lnTo>
                      <a:lnTo>
                        <a:pt x="380" y="158"/>
                      </a:lnTo>
                      <a:lnTo>
                        <a:pt x="380" y="158"/>
                      </a:lnTo>
                      <a:lnTo>
                        <a:pt x="304" y="158"/>
                      </a:lnTo>
                      <a:lnTo>
                        <a:pt x="232" y="152"/>
                      </a:lnTo>
                      <a:lnTo>
                        <a:pt x="168" y="146"/>
                      </a:lnTo>
                      <a:lnTo>
                        <a:pt x="112" y="136"/>
                      </a:lnTo>
                      <a:lnTo>
                        <a:pt x="66" y="124"/>
                      </a:lnTo>
                      <a:lnTo>
                        <a:pt x="46" y="118"/>
                      </a:lnTo>
                      <a:lnTo>
                        <a:pt x="30" y="110"/>
                      </a:lnTo>
                      <a:lnTo>
                        <a:pt x="18" y="104"/>
                      </a:lnTo>
                      <a:lnTo>
                        <a:pt x="8" y="96"/>
                      </a:lnTo>
                      <a:lnTo>
                        <a:pt x="2" y="88"/>
                      </a:lnTo>
                      <a:lnTo>
                        <a:pt x="0" y="80"/>
                      </a:lnTo>
                      <a:lnTo>
                        <a:pt x="0" y="80"/>
                      </a:lnTo>
                      <a:lnTo>
                        <a:pt x="2" y="72"/>
                      </a:lnTo>
                      <a:lnTo>
                        <a:pt x="8" y="64"/>
                      </a:lnTo>
                      <a:lnTo>
                        <a:pt x="18" y="56"/>
                      </a:lnTo>
                      <a:lnTo>
                        <a:pt x="30" y="50"/>
                      </a:lnTo>
                      <a:lnTo>
                        <a:pt x="46" y="42"/>
                      </a:lnTo>
                      <a:lnTo>
                        <a:pt x="66" y="36"/>
                      </a:lnTo>
                      <a:lnTo>
                        <a:pt x="112" y="24"/>
                      </a:lnTo>
                      <a:lnTo>
                        <a:pt x="168" y="14"/>
                      </a:lnTo>
                      <a:lnTo>
                        <a:pt x="232" y="8"/>
                      </a:lnTo>
                      <a:lnTo>
                        <a:pt x="304" y="2"/>
                      </a:lnTo>
                      <a:lnTo>
                        <a:pt x="380" y="0"/>
                      </a:lnTo>
                      <a:lnTo>
                        <a:pt x="380" y="0"/>
                      </a:lnTo>
                      <a:lnTo>
                        <a:pt x="456" y="2"/>
                      </a:lnTo>
                      <a:lnTo>
                        <a:pt x="528" y="8"/>
                      </a:lnTo>
                      <a:lnTo>
                        <a:pt x="592" y="14"/>
                      </a:lnTo>
                      <a:lnTo>
                        <a:pt x="648" y="24"/>
                      </a:lnTo>
                      <a:lnTo>
                        <a:pt x="694" y="36"/>
                      </a:lnTo>
                      <a:lnTo>
                        <a:pt x="714" y="42"/>
                      </a:lnTo>
                      <a:lnTo>
                        <a:pt x="730" y="50"/>
                      </a:lnTo>
                      <a:lnTo>
                        <a:pt x="742" y="56"/>
                      </a:lnTo>
                      <a:lnTo>
                        <a:pt x="752" y="64"/>
                      </a:lnTo>
                      <a:lnTo>
                        <a:pt x="758" y="72"/>
                      </a:lnTo>
                      <a:lnTo>
                        <a:pt x="760" y="80"/>
                      </a:lnTo>
                      <a:lnTo>
                        <a:pt x="760" y="8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Text" lastClr="000000"/>
                    </a:solidFill>
                    <a:latin typeface="+mn-lt"/>
                    <a:cs typeface="+mn-cs"/>
                  </a:endParaRPr>
                </a:p>
              </p:txBody>
            </p:sp>
            <p:sp>
              <p:nvSpPr>
                <p:cNvPr id="173" name="Freeform 15"/>
                <p:cNvSpPr>
                  <a:spLocks/>
                </p:cNvSpPr>
                <p:nvPr/>
              </p:nvSpPr>
              <p:spPr bwMode="auto">
                <a:xfrm>
                  <a:off x="6073807" y="2448450"/>
                  <a:ext cx="507364" cy="249325"/>
                </a:xfrm>
                <a:custGeom>
                  <a:avLst/>
                  <a:gdLst/>
                  <a:ahLst/>
                  <a:cxnLst>
                    <a:cxn ang="0">
                      <a:pos x="4" y="158"/>
                    </a:cxn>
                    <a:cxn ang="0">
                      <a:pos x="0" y="50"/>
                    </a:cxn>
                    <a:cxn ang="0">
                      <a:pos x="0" y="50"/>
                    </a:cxn>
                    <a:cxn ang="0">
                      <a:pos x="2" y="46"/>
                    </a:cxn>
                    <a:cxn ang="0">
                      <a:pos x="12" y="36"/>
                    </a:cxn>
                    <a:cxn ang="0">
                      <a:pos x="18" y="30"/>
                    </a:cxn>
                    <a:cxn ang="0">
                      <a:pos x="28" y="22"/>
                    </a:cxn>
                    <a:cxn ang="0">
                      <a:pos x="40" y="16"/>
                    </a:cxn>
                    <a:cxn ang="0">
                      <a:pos x="56" y="10"/>
                    </a:cxn>
                    <a:cxn ang="0">
                      <a:pos x="74" y="6"/>
                    </a:cxn>
                    <a:cxn ang="0">
                      <a:pos x="96" y="2"/>
                    </a:cxn>
                    <a:cxn ang="0">
                      <a:pos x="122" y="0"/>
                    </a:cxn>
                    <a:cxn ang="0">
                      <a:pos x="152" y="2"/>
                    </a:cxn>
                    <a:cxn ang="0">
                      <a:pos x="186" y="4"/>
                    </a:cxn>
                    <a:cxn ang="0">
                      <a:pos x="224" y="12"/>
                    </a:cxn>
                    <a:cxn ang="0">
                      <a:pos x="268" y="22"/>
                    </a:cxn>
                    <a:cxn ang="0">
                      <a:pos x="316" y="38"/>
                    </a:cxn>
                    <a:cxn ang="0">
                      <a:pos x="302" y="154"/>
                    </a:cxn>
                    <a:cxn ang="0">
                      <a:pos x="302" y="154"/>
                    </a:cxn>
                    <a:cxn ang="0">
                      <a:pos x="268" y="150"/>
                    </a:cxn>
                    <a:cxn ang="0">
                      <a:pos x="232" y="148"/>
                    </a:cxn>
                    <a:cxn ang="0">
                      <a:pos x="188" y="144"/>
                    </a:cxn>
                    <a:cxn ang="0">
                      <a:pos x="138" y="144"/>
                    </a:cxn>
                    <a:cxn ang="0">
                      <a:pos x="88" y="144"/>
                    </a:cxn>
                    <a:cxn ang="0">
                      <a:pos x="44" y="150"/>
                    </a:cxn>
                    <a:cxn ang="0">
                      <a:pos x="22" y="154"/>
                    </a:cxn>
                    <a:cxn ang="0">
                      <a:pos x="4" y="158"/>
                    </a:cxn>
                    <a:cxn ang="0">
                      <a:pos x="4" y="158"/>
                    </a:cxn>
                  </a:cxnLst>
                  <a:rect l="0" t="0" r="r" b="b"/>
                  <a:pathLst>
                    <a:path w="316" h="158">
                      <a:moveTo>
                        <a:pt x="4" y="158"/>
                      </a:moveTo>
                      <a:lnTo>
                        <a:pt x="0" y="50"/>
                      </a:lnTo>
                      <a:lnTo>
                        <a:pt x="0" y="50"/>
                      </a:lnTo>
                      <a:lnTo>
                        <a:pt x="2" y="46"/>
                      </a:lnTo>
                      <a:lnTo>
                        <a:pt x="12" y="36"/>
                      </a:lnTo>
                      <a:lnTo>
                        <a:pt x="18" y="30"/>
                      </a:lnTo>
                      <a:lnTo>
                        <a:pt x="28" y="22"/>
                      </a:lnTo>
                      <a:lnTo>
                        <a:pt x="40" y="16"/>
                      </a:lnTo>
                      <a:lnTo>
                        <a:pt x="56" y="10"/>
                      </a:lnTo>
                      <a:lnTo>
                        <a:pt x="74" y="6"/>
                      </a:lnTo>
                      <a:lnTo>
                        <a:pt x="96" y="2"/>
                      </a:lnTo>
                      <a:lnTo>
                        <a:pt x="122" y="0"/>
                      </a:lnTo>
                      <a:lnTo>
                        <a:pt x="152" y="2"/>
                      </a:lnTo>
                      <a:lnTo>
                        <a:pt x="186" y="4"/>
                      </a:lnTo>
                      <a:lnTo>
                        <a:pt x="224" y="12"/>
                      </a:lnTo>
                      <a:lnTo>
                        <a:pt x="268" y="22"/>
                      </a:lnTo>
                      <a:lnTo>
                        <a:pt x="316" y="38"/>
                      </a:lnTo>
                      <a:lnTo>
                        <a:pt x="302" y="154"/>
                      </a:lnTo>
                      <a:lnTo>
                        <a:pt x="302" y="154"/>
                      </a:lnTo>
                      <a:lnTo>
                        <a:pt x="268" y="150"/>
                      </a:lnTo>
                      <a:lnTo>
                        <a:pt x="232" y="148"/>
                      </a:lnTo>
                      <a:lnTo>
                        <a:pt x="188" y="144"/>
                      </a:lnTo>
                      <a:lnTo>
                        <a:pt x="138" y="144"/>
                      </a:lnTo>
                      <a:lnTo>
                        <a:pt x="88" y="144"/>
                      </a:lnTo>
                      <a:lnTo>
                        <a:pt x="44" y="150"/>
                      </a:lnTo>
                      <a:lnTo>
                        <a:pt x="22" y="154"/>
                      </a:lnTo>
                      <a:lnTo>
                        <a:pt x="4" y="158"/>
                      </a:lnTo>
                      <a:lnTo>
                        <a:pt x="4" y="158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Text" lastClr="000000"/>
                    </a:solidFill>
                    <a:latin typeface="+mn-lt"/>
                    <a:cs typeface="+mn-cs"/>
                  </a:endParaRPr>
                </a:p>
              </p:txBody>
            </p:sp>
            <p:sp>
              <p:nvSpPr>
                <p:cNvPr id="174" name="Freeform 16"/>
                <p:cNvSpPr>
                  <a:spLocks/>
                </p:cNvSpPr>
                <p:nvPr/>
              </p:nvSpPr>
              <p:spPr bwMode="auto">
                <a:xfrm>
                  <a:off x="5721237" y="2912714"/>
                  <a:ext cx="1238306" cy="386885"/>
                </a:xfrm>
                <a:custGeom>
                  <a:avLst/>
                  <a:gdLst/>
                  <a:ahLst/>
                  <a:cxnLst>
                    <a:cxn ang="0">
                      <a:pos x="0" y="238"/>
                    </a:cxn>
                    <a:cxn ang="0">
                      <a:pos x="10" y="46"/>
                    </a:cxn>
                    <a:cxn ang="0">
                      <a:pos x="10" y="46"/>
                    </a:cxn>
                    <a:cxn ang="0">
                      <a:pos x="28" y="42"/>
                    </a:cxn>
                    <a:cxn ang="0">
                      <a:pos x="82" y="30"/>
                    </a:cxn>
                    <a:cxn ang="0">
                      <a:pos x="162" y="16"/>
                    </a:cxn>
                    <a:cxn ang="0">
                      <a:pos x="210" y="10"/>
                    </a:cxn>
                    <a:cxn ang="0">
                      <a:pos x="264" y="4"/>
                    </a:cxn>
                    <a:cxn ang="0">
                      <a:pos x="322" y="2"/>
                    </a:cxn>
                    <a:cxn ang="0">
                      <a:pos x="384" y="0"/>
                    </a:cxn>
                    <a:cxn ang="0">
                      <a:pos x="448" y="2"/>
                    </a:cxn>
                    <a:cxn ang="0">
                      <a:pos x="512" y="6"/>
                    </a:cxn>
                    <a:cxn ang="0">
                      <a:pos x="578" y="14"/>
                    </a:cxn>
                    <a:cxn ang="0">
                      <a:pos x="646" y="28"/>
                    </a:cxn>
                    <a:cxn ang="0">
                      <a:pos x="678" y="36"/>
                    </a:cxn>
                    <a:cxn ang="0">
                      <a:pos x="712" y="46"/>
                    </a:cxn>
                    <a:cxn ang="0">
                      <a:pos x="744" y="56"/>
                    </a:cxn>
                    <a:cxn ang="0">
                      <a:pos x="778" y="68"/>
                    </a:cxn>
                    <a:cxn ang="0">
                      <a:pos x="760" y="238"/>
                    </a:cxn>
                    <a:cxn ang="0">
                      <a:pos x="760" y="238"/>
                    </a:cxn>
                    <a:cxn ang="0">
                      <a:pos x="746" y="230"/>
                    </a:cxn>
                    <a:cxn ang="0">
                      <a:pos x="706" y="212"/>
                    </a:cxn>
                    <a:cxn ang="0">
                      <a:pos x="676" y="202"/>
                    </a:cxn>
                    <a:cxn ang="0">
                      <a:pos x="640" y="190"/>
                    </a:cxn>
                    <a:cxn ang="0">
                      <a:pos x="600" y="180"/>
                    </a:cxn>
                    <a:cxn ang="0">
                      <a:pos x="552" y="172"/>
                    </a:cxn>
                    <a:cxn ang="0">
                      <a:pos x="500" y="164"/>
                    </a:cxn>
                    <a:cxn ang="0">
                      <a:pos x="442" y="160"/>
                    </a:cxn>
                    <a:cxn ang="0">
                      <a:pos x="380" y="158"/>
                    </a:cxn>
                    <a:cxn ang="0">
                      <a:pos x="314" y="162"/>
                    </a:cxn>
                    <a:cxn ang="0">
                      <a:pos x="278" y="166"/>
                    </a:cxn>
                    <a:cxn ang="0">
                      <a:pos x="242" y="172"/>
                    </a:cxn>
                    <a:cxn ang="0">
                      <a:pos x="204" y="178"/>
                    </a:cxn>
                    <a:cxn ang="0">
                      <a:pos x="166" y="186"/>
                    </a:cxn>
                    <a:cxn ang="0">
                      <a:pos x="126" y="196"/>
                    </a:cxn>
                    <a:cxn ang="0">
                      <a:pos x="84" y="208"/>
                    </a:cxn>
                    <a:cxn ang="0">
                      <a:pos x="44" y="222"/>
                    </a:cxn>
                    <a:cxn ang="0">
                      <a:pos x="0" y="238"/>
                    </a:cxn>
                    <a:cxn ang="0">
                      <a:pos x="0" y="238"/>
                    </a:cxn>
                  </a:cxnLst>
                  <a:rect l="0" t="0" r="r" b="b"/>
                  <a:pathLst>
                    <a:path w="778" h="238">
                      <a:moveTo>
                        <a:pt x="0" y="238"/>
                      </a:moveTo>
                      <a:lnTo>
                        <a:pt x="10" y="46"/>
                      </a:lnTo>
                      <a:lnTo>
                        <a:pt x="10" y="46"/>
                      </a:lnTo>
                      <a:lnTo>
                        <a:pt x="28" y="42"/>
                      </a:lnTo>
                      <a:lnTo>
                        <a:pt x="82" y="30"/>
                      </a:lnTo>
                      <a:lnTo>
                        <a:pt x="162" y="16"/>
                      </a:lnTo>
                      <a:lnTo>
                        <a:pt x="210" y="10"/>
                      </a:lnTo>
                      <a:lnTo>
                        <a:pt x="264" y="4"/>
                      </a:lnTo>
                      <a:lnTo>
                        <a:pt x="322" y="2"/>
                      </a:lnTo>
                      <a:lnTo>
                        <a:pt x="384" y="0"/>
                      </a:lnTo>
                      <a:lnTo>
                        <a:pt x="448" y="2"/>
                      </a:lnTo>
                      <a:lnTo>
                        <a:pt x="512" y="6"/>
                      </a:lnTo>
                      <a:lnTo>
                        <a:pt x="578" y="14"/>
                      </a:lnTo>
                      <a:lnTo>
                        <a:pt x="646" y="28"/>
                      </a:lnTo>
                      <a:lnTo>
                        <a:pt x="678" y="36"/>
                      </a:lnTo>
                      <a:lnTo>
                        <a:pt x="712" y="46"/>
                      </a:lnTo>
                      <a:lnTo>
                        <a:pt x="744" y="56"/>
                      </a:lnTo>
                      <a:lnTo>
                        <a:pt x="778" y="68"/>
                      </a:lnTo>
                      <a:lnTo>
                        <a:pt x="760" y="238"/>
                      </a:lnTo>
                      <a:lnTo>
                        <a:pt x="760" y="238"/>
                      </a:lnTo>
                      <a:lnTo>
                        <a:pt x="746" y="230"/>
                      </a:lnTo>
                      <a:lnTo>
                        <a:pt x="706" y="212"/>
                      </a:lnTo>
                      <a:lnTo>
                        <a:pt x="676" y="202"/>
                      </a:lnTo>
                      <a:lnTo>
                        <a:pt x="640" y="190"/>
                      </a:lnTo>
                      <a:lnTo>
                        <a:pt x="600" y="180"/>
                      </a:lnTo>
                      <a:lnTo>
                        <a:pt x="552" y="172"/>
                      </a:lnTo>
                      <a:lnTo>
                        <a:pt x="500" y="164"/>
                      </a:lnTo>
                      <a:lnTo>
                        <a:pt x="442" y="160"/>
                      </a:lnTo>
                      <a:lnTo>
                        <a:pt x="380" y="158"/>
                      </a:lnTo>
                      <a:lnTo>
                        <a:pt x="314" y="162"/>
                      </a:lnTo>
                      <a:lnTo>
                        <a:pt x="278" y="166"/>
                      </a:lnTo>
                      <a:lnTo>
                        <a:pt x="242" y="172"/>
                      </a:lnTo>
                      <a:lnTo>
                        <a:pt x="204" y="178"/>
                      </a:lnTo>
                      <a:lnTo>
                        <a:pt x="166" y="186"/>
                      </a:lnTo>
                      <a:lnTo>
                        <a:pt x="126" y="196"/>
                      </a:lnTo>
                      <a:lnTo>
                        <a:pt x="84" y="208"/>
                      </a:lnTo>
                      <a:lnTo>
                        <a:pt x="44" y="222"/>
                      </a:lnTo>
                      <a:lnTo>
                        <a:pt x="0" y="238"/>
                      </a:lnTo>
                      <a:lnTo>
                        <a:pt x="0" y="238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Text" lastClr="000000"/>
                    </a:solidFill>
                    <a:latin typeface="+mn-lt"/>
                    <a:cs typeface="+mn-cs"/>
                  </a:endParaRPr>
                </a:p>
              </p:txBody>
            </p:sp>
            <p:sp>
              <p:nvSpPr>
                <p:cNvPr id="175" name="Freeform 20"/>
                <p:cNvSpPr>
                  <a:spLocks/>
                </p:cNvSpPr>
                <p:nvPr/>
              </p:nvSpPr>
              <p:spPr bwMode="auto">
                <a:xfrm>
                  <a:off x="4672647" y="3238500"/>
                  <a:ext cx="2581275" cy="2105025"/>
                </a:xfrm>
                <a:custGeom>
                  <a:avLst/>
                  <a:gdLst/>
                  <a:ahLst/>
                  <a:cxnLst>
                    <a:cxn ang="0">
                      <a:pos x="1328" y="92"/>
                    </a:cxn>
                    <a:cxn ang="0">
                      <a:pos x="1242" y="42"/>
                    </a:cxn>
                    <a:cxn ang="0">
                      <a:pos x="1130" y="8"/>
                    </a:cxn>
                    <a:cxn ang="0">
                      <a:pos x="1036" y="0"/>
                    </a:cxn>
                    <a:cxn ang="0">
                      <a:pos x="956" y="8"/>
                    </a:cxn>
                    <a:cxn ang="0">
                      <a:pos x="870" y="32"/>
                    </a:cxn>
                    <a:cxn ang="0">
                      <a:pos x="776" y="74"/>
                    </a:cxn>
                    <a:cxn ang="0">
                      <a:pos x="748" y="286"/>
                    </a:cxn>
                    <a:cxn ang="0">
                      <a:pos x="746" y="312"/>
                    </a:cxn>
                    <a:cxn ang="0">
                      <a:pos x="740" y="318"/>
                    </a:cxn>
                    <a:cxn ang="0">
                      <a:pos x="606" y="330"/>
                    </a:cxn>
                    <a:cxn ang="0">
                      <a:pos x="512" y="352"/>
                    </a:cxn>
                    <a:cxn ang="0">
                      <a:pos x="406" y="390"/>
                    </a:cxn>
                    <a:cxn ang="0">
                      <a:pos x="296" y="454"/>
                    </a:cxn>
                    <a:cxn ang="0">
                      <a:pos x="194" y="544"/>
                    </a:cxn>
                    <a:cxn ang="0">
                      <a:pos x="106" y="668"/>
                    </a:cxn>
                    <a:cxn ang="0">
                      <a:pos x="38" y="834"/>
                    </a:cxn>
                    <a:cxn ang="0">
                      <a:pos x="12" y="968"/>
                    </a:cxn>
                    <a:cxn ang="0">
                      <a:pos x="2" y="1082"/>
                    </a:cxn>
                    <a:cxn ang="0">
                      <a:pos x="2" y="1210"/>
                    </a:cxn>
                    <a:cxn ang="0">
                      <a:pos x="68" y="1298"/>
                    </a:cxn>
                    <a:cxn ang="0">
                      <a:pos x="318" y="1292"/>
                    </a:cxn>
                    <a:cxn ang="0">
                      <a:pos x="470" y="1302"/>
                    </a:cxn>
                    <a:cxn ang="0">
                      <a:pos x="618" y="1326"/>
                    </a:cxn>
                    <a:cxn ang="0">
                      <a:pos x="616" y="1182"/>
                    </a:cxn>
                    <a:cxn ang="0">
                      <a:pos x="624" y="976"/>
                    </a:cxn>
                    <a:cxn ang="0">
                      <a:pos x="638" y="890"/>
                    </a:cxn>
                    <a:cxn ang="0">
                      <a:pos x="650" y="870"/>
                    </a:cxn>
                    <a:cxn ang="0">
                      <a:pos x="658" y="870"/>
                    </a:cxn>
                    <a:cxn ang="0">
                      <a:pos x="732" y="918"/>
                    </a:cxn>
                    <a:cxn ang="0">
                      <a:pos x="848" y="984"/>
                    </a:cxn>
                    <a:cxn ang="0">
                      <a:pos x="928" y="1014"/>
                    </a:cxn>
                    <a:cxn ang="0">
                      <a:pos x="1022" y="1034"/>
                    </a:cxn>
                    <a:cxn ang="0">
                      <a:pos x="1132" y="1038"/>
                    </a:cxn>
                    <a:cxn ang="0">
                      <a:pos x="1256" y="1024"/>
                    </a:cxn>
                    <a:cxn ang="0">
                      <a:pos x="1398" y="984"/>
                    </a:cxn>
                    <a:cxn ang="0">
                      <a:pos x="1556" y="914"/>
                    </a:cxn>
                    <a:cxn ang="0">
                      <a:pos x="1578" y="900"/>
                    </a:cxn>
                    <a:cxn ang="0">
                      <a:pos x="1616" y="844"/>
                    </a:cxn>
                    <a:cxn ang="0">
                      <a:pos x="1626" y="772"/>
                    </a:cxn>
                    <a:cxn ang="0">
                      <a:pos x="1610" y="696"/>
                    </a:cxn>
                    <a:cxn ang="0">
                      <a:pos x="1570" y="626"/>
                    </a:cxn>
                    <a:cxn ang="0">
                      <a:pos x="1512" y="576"/>
                    </a:cxn>
                    <a:cxn ang="0">
                      <a:pos x="1476" y="544"/>
                    </a:cxn>
                    <a:cxn ang="0">
                      <a:pos x="1422" y="482"/>
                    </a:cxn>
                    <a:cxn ang="0">
                      <a:pos x="1368" y="386"/>
                    </a:cxn>
                    <a:cxn ang="0">
                      <a:pos x="1334" y="260"/>
                    </a:cxn>
                    <a:cxn ang="0">
                      <a:pos x="1330" y="184"/>
                    </a:cxn>
                    <a:cxn ang="0">
                      <a:pos x="1340" y="102"/>
                    </a:cxn>
                  </a:cxnLst>
                  <a:rect l="0" t="0" r="r" b="b"/>
                  <a:pathLst>
                    <a:path w="1626" h="1326">
                      <a:moveTo>
                        <a:pt x="1340" y="102"/>
                      </a:moveTo>
                      <a:lnTo>
                        <a:pt x="1340" y="102"/>
                      </a:lnTo>
                      <a:lnTo>
                        <a:pt x="1328" y="92"/>
                      </a:lnTo>
                      <a:lnTo>
                        <a:pt x="1296" y="70"/>
                      </a:lnTo>
                      <a:lnTo>
                        <a:pt x="1272" y="56"/>
                      </a:lnTo>
                      <a:lnTo>
                        <a:pt x="1242" y="42"/>
                      </a:lnTo>
                      <a:lnTo>
                        <a:pt x="1210" y="30"/>
                      </a:lnTo>
                      <a:lnTo>
                        <a:pt x="1172" y="18"/>
                      </a:lnTo>
                      <a:lnTo>
                        <a:pt x="1130" y="8"/>
                      </a:lnTo>
                      <a:lnTo>
                        <a:pt x="1086" y="2"/>
                      </a:lnTo>
                      <a:lnTo>
                        <a:pt x="1062" y="0"/>
                      </a:lnTo>
                      <a:lnTo>
                        <a:pt x="1036" y="0"/>
                      </a:lnTo>
                      <a:lnTo>
                        <a:pt x="1010" y="2"/>
                      </a:lnTo>
                      <a:lnTo>
                        <a:pt x="984" y="4"/>
                      </a:lnTo>
                      <a:lnTo>
                        <a:pt x="956" y="8"/>
                      </a:lnTo>
                      <a:lnTo>
                        <a:pt x="928" y="14"/>
                      </a:lnTo>
                      <a:lnTo>
                        <a:pt x="898" y="22"/>
                      </a:lnTo>
                      <a:lnTo>
                        <a:pt x="870" y="32"/>
                      </a:lnTo>
                      <a:lnTo>
                        <a:pt x="838" y="44"/>
                      </a:lnTo>
                      <a:lnTo>
                        <a:pt x="808" y="58"/>
                      </a:lnTo>
                      <a:lnTo>
                        <a:pt x="776" y="74"/>
                      </a:lnTo>
                      <a:lnTo>
                        <a:pt x="744" y="92"/>
                      </a:lnTo>
                      <a:lnTo>
                        <a:pt x="748" y="286"/>
                      </a:lnTo>
                      <a:lnTo>
                        <a:pt x="748" y="286"/>
                      </a:lnTo>
                      <a:lnTo>
                        <a:pt x="748" y="290"/>
                      </a:lnTo>
                      <a:lnTo>
                        <a:pt x="748" y="300"/>
                      </a:lnTo>
                      <a:lnTo>
                        <a:pt x="746" y="312"/>
                      </a:lnTo>
                      <a:lnTo>
                        <a:pt x="744" y="316"/>
                      </a:lnTo>
                      <a:lnTo>
                        <a:pt x="740" y="318"/>
                      </a:lnTo>
                      <a:lnTo>
                        <a:pt x="740" y="318"/>
                      </a:lnTo>
                      <a:lnTo>
                        <a:pt x="700" y="320"/>
                      </a:lnTo>
                      <a:lnTo>
                        <a:pt x="658" y="324"/>
                      </a:lnTo>
                      <a:lnTo>
                        <a:pt x="606" y="330"/>
                      </a:lnTo>
                      <a:lnTo>
                        <a:pt x="576" y="336"/>
                      </a:lnTo>
                      <a:lnTo>
                        <a:pt x="544" y="344"/>
                      </a:lnTo>
                      <a:lnTo>
                        <a:pt x="512" y="352"/>
                      </a:lnTo>
                      <a:lnTo>
                        <a:pt x="476" y="362"/>
                      </a:lnTo>
                      <a:lnTo>
                        <a:pt x="442" y="376"/>
                      </a:lnTo>
                      <a:lnTo>
                        <a:pt x="406" y="390"/>
                      </a:lnTo>
                      <a:lnTo>
                        <a:pt x="370" y="408"/>
                      </a:lnTo>
                      <a:lnTo>
                        <a:pt x="332" y="430"/>
                      </a:lnTo>
                      <a:lnTo>
                        <a:pt x="296" y="454"/>
                      </a:lnTo>
                      <a:lnTo>
                        <a:pt x="262" y="480"/>
                      </a:lnTo>
                      <a:lnTo>
                        <a:pt x="228" y="510"/>
                      </a:lnTo>
                      <a:lnTo>
                        <a:pt x="194" y="544"/>
                      </a:lnTo>
                      <a:lnTo>
                        <a:pt x="162" y="582"/>
                      </a:lnTo>
                      <a:lnTo>
                        <a:pt x="132" y="624"/>
                      </a:lnTo>
                      <a:lnTo>
                        <a:pt x="106" y="668"/>
                      </a:lnTo>
                      <a:lnTo>
                        <a:pt x="80" y="718"/>
                      </a:lnTo>
                      <a:lnTo>
                        <a:pt x="58" y="774"/>
                      </a:lnTo>
                      <a:lnTo>
                        <a:pt x="38" y="834"/>
                      </a:lnTo>
                      <a:lnTo>
                        <a:pt x="24" y="898"/>
                      </a:lnTo>
                      <a:lnTo>
                        <a:pt x="16" y="932"/>
                      </a:lnTo>
                      <a:lnTo>
                        <a:pt x="12" y="968"/>
                      </a:lnTo>
                      <a:lnTo>
                        <a:pt x="6" y="1004"/>
                      </a:lnTo>
                      <a:lnTo>
                        <a:pt x="4" y="1042"/>
                      </a:lnTo>
                      <a:lnTo>
                        <a:pt x="2" y="1082"/>
                      </a:lnTo>
                      <a:lnTo>
                        <a:pt x="0" y="1124"/>
                      </a:lnTo>
                      <a:lnTo>
                        <a:pt x="0" y="1166"/>
                      </a:lnTo>
                      <a:lnTo>
                        <a:pt x="2" y="1210"/>
                      </a:lnTo>
                      <a:lnTo>
                        <a:pt x="8" y="1302"/>
                      </a:lnTo>
                      <a:lnTo>
                        <a:pt x="8" y="1302"/>
                      </a:lnTo>
                      <a:lnTo>
                        <a:pt x="68" y="1298"/>
                      </a:lnTo>
                      <a:lnTo>
                        <a:pt x="136" y="1294"/>
                      </a:lnTo>
                      <a:lnTo>
                        <a:pt x="222" y="1292"/>
                      </a:lnTo>
                      <a:lnTo>
                        <a:pt x="318" y="1292"/>
                      </a:lnTo>
                      <a:lnTo>
                        <a:pt x="368" y="1294"/>
                      </a:lnTo>
                      <a:lnTo>
                        <a:pt x="420" y="1296"/>
                      </a:lnTo>
                      <a:lnTo>
                        <a:pt x="470" y="1302"/>
                      </a:lnTo>
                      <a:lnTo>
                        <a:pt x="522" y="1308"/>
                      </a:lnTo>
                      <a:lnTo>
                        <a:pt x="570" y="1316"/>
                      </a:lnTo>
                      <a:lnTo>
                        <a:pt x="618" y="1326"/>
                      </a:lnTo>
                      <a:lnTo>
                        <a:pt x="618" y="1326"/>
                      </a:lnTo>
                      <a:lnTo>
                        <a:pt x="616" y="1254"/>
                      </a:lnTo>
                      <a:lnTo>
                        <a:pt x="616" y="1182"/>
                      </a:lnTo>
                      <a:lnTo>
                        <a:pt x="616" y="1098"/>
                      </a:lnTo>
                      <a:lnTo>
                        <a:pt x="620" y="1016"/>
                      </a:lnTo>
                      <a:lnTo>
                        <a:pt x="624" y="976"/>
                      </a:lnTo>
                      <a:lnTo>
                        <a:pt x="626" y="942"/>
                      </a:lnTo>
                      <a:lnTo>
                        <a:pt x="632" y="912"/>
                      </a:lnTo>
                      <a:lnTo>
                        <a:pt x="638" y="890"/>
                      </a:lnTo>
                      <a:lnTo>
                        <a:pt x="642" y="882"/>
                      </a:lnTo>
                      <a:lnTo>
                        <a:pt x="644" y="874"/>
                      </a:lnTo>
                      <a:lnTo>
                        <a:pt x="650" y="870"/>
                      </a:lnTo>
                      <a:lnTo>
                        <a:pt x="654" y="870"/>
                      </a:lnTo>
                      <a:lnTo>
                        <a:pt x="654" y="870"/>
                      </a:lnTo>
                      <a:lnTo>
                        <a:pt x="658" y="870"/>
                      </a:lnTo>
                      <a:lnTo>
                        <a:pt x="666" y="872"/>
                      </a:lnTo>
                      <a:lnTo>
                        <a:pt x="682" y="882"/>
                      </a:lnTo>
                      <a:lnTo>
                        <a:pt x="732" y="918"/>
                      </a:lnTo>
                      <a:lnTo>
                        <a:pt x="764" y="940"/>
                      </a:lnTo>
                      <a:lnTo>
                        <a:pt x="804" y="962"/>
                      </a:lnTo>
                      <a:lnTo>
                        <a:pt x="848" y="984"/>
                      </a:lnTo>
                      <a:lnTo>
                        <a:pt x="874" y="996"/>
                      </a:lnTo>
                      <a:lnTo>
                        <a:pt x="900" y="1006"/>
                      </a:lnTo>
                      <a:lnTo>
                        <a:pt x="928" y="1014"/>
                      </a:lnTo>
                      <a:lnTo>
                        <a:pt x="958" y="1022"/>
                      </a:lnTo>
                      <a:lnTo>
                        <a:pt x="990" y="1028"/>
                      </a:lnTo>
                      <a:lnTo>
                        <a:pt x="1022" y="1034"/>
                      </a:lnTo>
                      <a:lnTo>
                        <a:pt x="1056" y="1038"/>
                      </a:lnTo>
                      <a:lnTo>
                        <a:pt x="1094" y="1038"/>
                      </a:lnTo>
                      <a:lnTo>
                        <a:pt x="1132" y="1038"/>
                      </a:lnTo>
                      <a:lnTo>
                        <a:pt x="1172" y="1036"/>
                      </a:lnTo>
                      <a:lnTo>
                        <a:pt x="1212" y="1032"/>
                      </a:lnTo>
                      <a:lnTo>
                        <a:pt x="1256" y="1024"/>
                      </a:lnTo>
                      <a:lnTo>
                        <a:pt x="1302" y="1014"/>
                      </a:lnTo>
                      <a:lnTo>
                        <a:pt x="1348" y="1000"/>
                      </a:lnTo>
                      <a:lnTo>
                        <a:pt x="1398" y="984"/>
                      </a:lnTo>
                      <a:lnTo>
                        <a:pt x="1448" y="964"/>
                      </a:lnTo>
                      <a:lnTo>
                        <a:pt x="1502" y="942"/>
                      </a:lnTo>
                      <a:lnTo>
                        <a:pt x="1556" y="914"/>
                      </a:lnTo>
                      <a:lnTo>
                        <a:pt x="1556" y="914"/>
                      </a:lnTo>
                      <a:lnTo>
                        <a:pt x="1568" y="908"/>
                      </a:lnTo>
                      <a:lnTo>
                        <a:pt x="1578" y="900"/>
                      </a:lnTo>
                      <a:lnTo>
                        <a:pt x="1594" y="884"/>
                      </a:lnTo>
                      <a:lnTo>
                        <a:pt x="1608" y="866"/>
                      </a:lnTo>
                      <a:lnTo>
                        <a:pt x="1616" y="844"/>
                      </a:lnTo>
                      <a:lnTo>
                        <a:pt x="1624" y="822"/>
                      </a:lnTo>
                      <a:lnTo>
                        <a:pt x="1626" y="798"/>
                      </a:lnTo>
                      <a:lnTo>
                        <a:pt x="1626" y="772"/>
                      </a:lnTo>
                      <a:lnTo>
                        <a:pt x="1624" y="748"/>
                      </a:lnTo>
                      <a:lnTo>
                        <a:pt x="1618" y="722"/>
                      </a:lnTo>
                      <a:lnTo>
                        <a:pt x="1610" y="696"/>
                      </a:lnTo>
                      <a:lnTo>
                        <a:pt x="1598" y="672"/>
                      </a:lnTo>
                      <a:lnTo>
                        <a:pt x="1586" y="648"/>
                      </a:lnTo>
                      <a:lnTo>
                        <a:pt x="1570" y="626"/>
                      </a:lnTo>
                      <a:lnTo>
                        <a:pt x="1552" y="608"/>
                      </a:lnTo>
                      <a:lnTo>
                        <a:pt x="1532" y="590"/>
                      </a:lnTo>
                      <a:lnTo>
                        <a:pt x="1512" y="576"/>
                      </a:lnTo>
                      <a:lnTo>
                        <a:pt x="1512" y="576"/>
                      </a:lnTo>
                      <a:lnTo>
                        <a:pt x="1502" y="568"/>
                      </a:lnTo>
                      <a:lnTo>
                        <a:pt x="1476" y="544"/>
                      </a:lnTo>
                      <a:lnTo>
                        <a:pt x="1460" y="528"/>
                      </a:lnTo>
                      <a:lnTo>
                        <a:pt x="1442" y="506"/>
                      </a:lnTo>
                      <a:lnTo>
                        <a:pt x="1422" y="482"/>
                      </a:lnTo>
                      <a:lnTo>
                        <a:pt x="1404" y="454"/>
                      </a:lnTo>
                      <a:lnTo>
                        <a:pt x="1386" y="422"/>
                      </a:lnTo>
                      <a:lnTo>
                        <a:pt x="1368" y="386"/>
                      </a:lnTo>
                      <a:lnTo>
                        <a:pt x="1354" y="348"/>
                      </a:lnTo>
                      <a:lnTo>
                        <a:pt x="1342" y="306"/>
                      </a:lnTo>
                      <a:lnTo>
                        <a:pt x="1334" y="260"/>
                      </a:lnTo>
                      <a:lnTo>
                        <a:pt x="1332" y="236"/>
                      </a:lnTo>
                      <a:lnTo>
                        <a:pt x="1330" y="210"/>
                      </a:lnTo>
                      <a:lnTo>
                        <a:pt x="1330" y="184"/>
                      </a:lnTo>
                      <a:lnTo>
                        <a:pt x="1332" y="158"/>
                      </a:lnTo>
                      <a:lnTo>
                        <a:pt x="1336" y="130"/>
                      </a:lnTo>
                      <a:lnTo>
                        <a:pt x="1340" y="102"/>
                      </a:lnTo>
                      <a:lnTo>
                        <a:pt x="1340" y="102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Text" lastClr="000000"/>
                    </a:solidFill>
                    <a:latin typeface="+mn-lt"/>
                    <a:cs typeface="+mn-cs"/>
                  </a:endParaRPr>
                </a:p>
              </p:txBody>
            </p:sp>
            <p:sp>
              <p:nvSpPr>
                <p:cNvPr id="176" name="Freeform 21"/>
                <p:cNvSpPr>
                  <a:spLocks/>
                </p:cNvSpPr>
                <p:nvPr/>
              </p:nvSpPr>
              <p:spPr bwMode="auto">
                <a:xfrm>
                  <a:off x="4645980" y="3873495"/>
                  <a:ext cx="689518" cy="1414974"/>
                </a:xfrm>
                <a:custGeom>
                  <a:avLst/>
                  <a:gdLst/>
                  <a:ahLst/>
                  <a:cxnLst>
                    <a:cxn ang="0">
                      <a:pos x="402" y="0"/>
                    </a:cxn>
                    <a:cxn ang="0">
                      <a:pos x="402" y="0"/>
                    </a:cxn>
                    <a:cxn ang="0">
                      <a:pos x="384" y="6"/>
                    </a:cxn>
                    <a:cxn ang="0">
                      <a:pos x="364" y="14"/>
                    </a:cxn>
                    <a:cxn ang="0">
                      <a:pos x="338" y="28"/>
                    </a:cxn>
                    <a:cxn ang="0">
                      <a:pos x="306" y="48"/>
                    </a:cxn>
                    <a:cxn ang="0">
                      <a:pos x="270" y="74"/>
                    </a:cxn>
                    <a:cxn ang="0">
                      <a:pos x="252" y="90"/>
                    </a:cxn>
                    <a:cxn ang="0">
                      <a:pos x="234" y="108"/>
                    </a:cxn>
                    <a:cxn ang="0">
                      <a:pos x="214" y="130"/>
                    </a:cxn>
                    <a:cxn ang="0">
                      <a:pos x="194" y="152"/>
                    </a:cxn>
                    <a:cxn ang="0">
                      <a:pos x="176" y="176"/>
                    </a:cxn>
                    <a:cxn ang="0">
                      <a:pos x="156" y="202"/>
                    </a:cxn>
                    <a:cxn ang="0">
                      <a:pos x="138" y="232"/>
                    </a:cxn>
                    <a:cxn ang="0">
                      <a:pos x="120" y="264"/>
                    </a:cxn>
                    <a:cxn ang="0">
                      <a:pos x="102" y="300"/>
                    </a:cxn>
                    <a:cxn ang="0">
                      <a:pos x="86" y="336"/>
                    </a:cxn>
                    <a:cxn ang="0">
                      <a:pos x="70" y="378"/>
                    </a:cxn>
                    <a:cxn ang="0">
                      <a:pos x="56" y="420"/>
                    </a:cxn>
                    <a:cxn ang="0">
                      <a:pos x="42" y="468"/>
                    </a:cxn>
                    <a:cxn ang="0">
                      <a:pos x="32" y="516"/>
                    </a:cxn>
                    <a:cxn ang="0">
                      <a:pos x="22" y="570"/>
                    </a:cxn>
                    <a:cxn ang="0">
                      <a:pos x="12" y="626"/>
                    </a:cxn>
                    <a:cxn ang="0">
                      <a:pos x="6" y="686"/>
                    </a:cxn>
                    <a:cxn ang="0">
                      <a:pos x="2" y="750"/>
                    </a:cxn>
                    <a:cxn ang="0">
                      <a:pos x="0" y="818"/>
                    </a:cxn>
                    <a:cxn ang="0">
                      <a:pos x="0" y="890"/>
                    </a:cxn>
                    <a:cxn ang="0">
                      <a:pos x="0" y="890"/>
                    </a:cxn>
                    <a:cxn ang="0">
                      <a:pos x="80" y="878"/>
                    </a:cxn>
                    <a:cxn ang="0">
                      <a:pos x="126" y="874"/>
                    </a:cxn>
                    <a:cxn ang="0">
                      <a:pos x="158" y="874"/>
                    </a:cxn>
                    <a:cxn ang="0">
                      <a:pos x="194" y="876"/>
                    </a:cxn>
                    <a:cxn ang="0">
                      <a:pos x="194" y="876"/>
                    </a:cxn>
                    <a:cxn ang="0">
                      <a:pos x="196" y="842"/>
                    </a:cxn>
                    <a:cxn ang="0">
                      <a:pos x="198" y="752"/>
                    </a:cxn>
                    <a:cxn ang="0">
                      <a:pos x="208" y="622"/>
                    </a:cxn>
                    <a:cxn ang="0">
                      <a:pos x="214" y="548"/>
                    </a:cxn>
                    <a:cxn ang="0">
                      <a:pos x="222" y="472"/>
                    </a:cxn>
                    <a:cxn ang="0">
                      <a:pos x="234" y="394"/>
                    </a:cxn>
                    <a:cxn ang="0">
                      <a:pos x="248" y="316"/>
                    </a:cxn>
                    <a:cxn ang="0">
                      <a:pos x="264" y="242"/>
                    </a:cxn>
                    <a:cxn ang="0">
                      <a:pos x="274" y="208"/>
                    </a:cxn>
                    <a:cxn ang="0">
                      <a:pos x="284" y="174"/>
                    </a:cxn>
                    <a:cxn ang="0">
                      <a:pos x="296" y="144"/>
                    </a:cxn>
                    <a:cxn ang="0">
                      <a:pos x="308" y="114"/>
                    </a:cxn>
                    <a:cxn ang="0">
                      <a:pos x="322" y="88"/>
                    </a:cxn>
                    <a:cxn ang="0">
                      <a:pos x="336" y="64"/>
                    </a:cxn>
                    <a:cxn ang="0">
                      <a:pos x="350" y="42"/>
                    </a:cxn>
                    <a:cxn ang="0">
                      <a:pos x="366" y="24"/>
                    </a:cxn>
                    <a:cxn ang="0">
                      <a:pos x="384" y="10"/>
                    </a:cxn>
                    <a:cxn ang="0">
                      <a:pos x="402" y="0"/>
                    </a:cxn>
                    <a:cxn ang="0">
                      <a:pos x="402" y="0"/>
                    </a:cxn>
                  </a:cxnLst>
                  <a:rect l="0" t="0" r="r" b="b"/>
                  <a:pathLst>
                    <a:path w="402" h="890">
                      <a:moveTo>
                        <a:pt x="402" y="0"/>
                      </a:moveTo>
                      <a:lnTo>
                        <a:pt x="402" y="0"/>
                      </a:lnTo>
                      <a:lnTo>
                        <a:pt x="384" y="6"/>
                      </a:lnTo>
                      <a:lnTo>
                        <a:pt x="364" y="14"/>
                      </a:lnTo>
                      <a:lnTo>
                        <a:pt x="338" y="28"/>
                      </a:lnTo>
                      <a:lnTo>
                        <a:pt x="306" y="48"/>
                      </a:lnTo>
                      <a:lnTo>
                        <a:pt x="270" y="74"/>
                      </a:lnTo>
                      <a:lnTo>
                        <a:pt x="252" y="90"/>
                      </a:lnTo>
                      <a:lnTo>
                        <a:pt x="234" y="108"/>
                      </a:lnTo>
                      <a:lnTo>
                        <a:pt x="214" y="130"/>
                      </a:lnTo>
                      <a:lnTo>
                        <a:pt x="194" y="152"/>
                      </a:lnTo>
                      <a:lnTo>
                        <a:pt x="176" y="176"/>
                      </a:lnTo>
                      <a:lnTo>
                        <a:pt x="156" y="202"/>
                      </a:lnTo>
                      <a:lnTo>
                        <a:pt x="138" y="232"/>
                      </a:lnTo>
                      <a:lnTo>
                        <a:pt x="120" y="264"/>
                      </a:lnTo>
                      <a:lnTo>
                        <a:pt x="102" y="300"/>
                      </a:lnTo>
                      <a:lnTo>
                        <a:pt x="86" y="336"/>
                      </a:lnTo>
                      <a:lnTo>
                        <a:pt x="70" y="378"/>
                      </a:lnTo>
                      <a:lnTo>
                        <a:pt x="56" y="420"/>
                      </a:lnTo>
                      <a:lnTo>
                        <a:pt x="42" y="468"/>
                      </a:lnTo>
                      <a:lnTo>
                        <a:pt x="32" y="516"/>
                      </a:lnTo>
                      <a:lnTo>
                        <a:pt x="22" y="570"/>
                      </a:lnTo>
                      <a:lnTo>
                        <a:pt x="12" y="626"/>
                      </a:lnTo>
                      <a:lnTo>
                        <a:pt x="6" y="686"/>
                      </a:lnTo>
                      <a:lnTo>
                        <a:pt x="2" y="750"/>
                      </a:lnTo>
                      <a:lnTo>
                        <a:pt x="0" y="818"/>
                      </a:lnTo>
                      <a:lnTo>
                        <a:pt x="0" y="890"/>
                      </a:lnTo>
                      <a:lnTo>
                        <a:pt x="0" y="890"/>
                      </a:lnTo>
                      <a:lnTo>
                        <a:pt x="80" y="878"/>
                      </a:lnTo>
                      <a:lnTo>
                        <a:pt x="126" y="874"/>
                      </a:lnTo>
                      <a:lnTo>
                        <a:pt x="158" y="874"/>
                      </a:lnTo>
                      <a:lnTo>
                        <a:pt x="194" y="876"/>
                      </a:lnTo>
                      <a:lnTo>
                        <a:pt x="194" y="876"/>
                      </a:lnTo>
                      <a:lnTo>
                        <a:pt x="196" y="842"/>
                      </a:lnTo>
                      <a:lnTo>
                        <a:pt x="198" y="752"/>
                      </a:lnTo>
                      <a:lnTo>
                        <a:pt x="208" y="622"/>
                      </a:lnTo>
                      <a:lnTo>
                        <a:pt x="214" y="548"/>
                      </a:lnTo>
                      <a:lnTo>
                        <a:pt x="222" y="472"/>
                      </a:lnTo>
                      <a:lnTo>
                        <a:pt x="234" y="394"/>
                      </a:lnTo>
                      <a:lnTo>
                        <a:pt x="248" y="316"/>
                      </a:lnTo>
                      <a:lnTo>
                        <a:pt x="264" y="242"/>
                      </a:lnTo>
                      <a:lnTo>
                        <a:pt x="274" y="208"/>
                      </a:lnTo>
                      <a:lnTo>
                        <a:pt x="284" y="174"/>
                      </a:lnTo>
                      <a:lnTo>
                        <a:pt x="296" y="144"/>
                      </a:lnTo>
                      <a:lnTo>
                        <a:pt x="308" y="114"/>
                      </a:lnTo>
                      <a:lnTo>
                        <a:pt x="322" y="88"/>
                      </a:lnTo>
                      <a:lnTo>
                        <a:pt x="336" y="64"/>
                      </a:lnTo>
                      <a:lnTo>
                        <a:pt x="350" y="42"/>
                      </a:lnTo>
                      <a:lnTo>
                        <a:pt x="366" y="24"/>
                      </a:lnTo>
                      <a:lnTo>
                        <a:pt x="384" y="10"/>
                      </a:lnTo>
                      <a:lnTo>
                        <a:pt x="402" y="0"/>
                      </a:lnTo>
                      <a:lnTo>
                        <a:pt x="402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Text" lastClr="000000"/>
                    </a:solidFill>
                    <a:latin typeface="+mn-lt"/>
                    <a:cs typeface="+mn-cs"/>
                  </a:endParaRPr>
                </a:p>
              </p:txBody>
            </p:sp>
            <p:sp>
              <p:nvSpPr>
                <p:cNvPr id="177" name="Freeform 22"/>
                <p:cNvSpPr>
                  <a:spLocks/>
                </p:cNvSpPr>
                <p:nvPr/>
              </p:nvSpPr>
              <p:spPr bwMode="auto">
                <a:xfrm>
                  <a:off x="5569272" y="4079009"/>
                  <a:ext cx="318785" cy="1214184"/>
                </a:xfrm>
                <a:custGeom>
                  <a:avLst/>
                  <a:gdLst/>
                  <a:ahLst/>
                  <a:cxnLst>
                    <a:cxn ang="0">
                      <a:pos x="66" y="764"/>
                    </a:cxn>
                    <a:cxn ang="0">
                      <a:pos x="66" y="764"/>
                    </a:cxn>
                    <a:cxn ang="0">
                      <a:pos x="46" y="760"/>
                    </a:cxn>
                    <a:cxn ang="0">
                      <a:pos x="8" y="754"/>
                    </a:cxn>
                    <a:cxn ang="0">
                      <a:pos x="8" y="754"/>
                    </a:cxn>
                    <a:cxn ang="0">
                      <a:pos x="6" y="752"/>
                    </a:cxn>
                    <a:cxn ang="0">
                      <a:pos x="4" y="746"/>
                    </a:cxn>
                    <a:cxn ang="0">
                      <a:pos x="2" y="724"/>
                    </a:cxn>
                    <a:cxn ang="0">
                      <a:pos x="0" y="690"/>
                    </a:cxn>
                    <a:cxn ang="0">
                      <a:pos x="0" y="644"/>
                    </a:cxn>
                    <a:cxn ang="0">
                      <a:pos x="2" y="592"/>
                    </a:cxn>
                    <a:cxn ang="0">
                      <a:pos x="6" y="532"/>
                    </a:cxn>
                    <a:cxn ang="0">
                      <a:pos x="12" y="468"/>
                    </a:cxn>
                    <a:cxn ang="0">
                      <a:pos x="20" y="402"/>
                    </a:cxn>
                    <a:cxn ang="0">
                      <a:pos x="30" y="334"/>
                    </a:cxn>
                    <a:cxn ang="0">
                      <a:pos x="44" y="268"/>
                    </a:cxn>
                    <a:cxn ang="0">
                      <a:pos x="60" y="204"/>
                    </a:cxn>
                    <a:cxn ang="0">
                      <a:pos x="68" y="174"/>
                    </a:cxn>
                    <a:cxn ang="0">
                      <a:pos x="80" y="146"/>
                    </a:cxn>
                    <a:cxn ang="0">
                      <a:pos x="90" y="120"/>
                    </a:cxn>
                    <a:cxn ang="0">
                      <a:pos x="102" y="94"/>
                    </a:cxn>
                    <a:cxn ang="0">
                      <a:pos x="114" y="72"/>
                    </a:cxn>
                    <a:cxn ang="0">
                      <a:pos x="128" y="52"/>
                    </a:cxn>
                    <a:cxn ang="0">
                      <a:pos x="144" y="34"/>
                    </a:cxn>
                    <a:cxn ang="0">
                      <a:pos x="158" y="20"/>
                    </a:cxn>
                    <a:cxn ang="0">
                      <a:pos x="176" y="8"/>
                    </a:cxn>
                    <a:cxn ang="0">
                      <a:pos x="194" y="0"/>
                    </a:cxn>
                    <a:cxn ang="0">
                      <a:pos x="194" y="0"/>
                    </a:cxn>
                    <a:cxn ang="0">
                      <a:pos x="196" y="20"/>
                    </a:cxn>
                    <a:cxn ang="0">
                      <a:pos x="198" y="62"/>
                    </a:cxn>
                    <a:cxn ang="0">
                      <a:pos x="200" y="88"/>
                    </a:cxn>
                    <a:cxn ang="0">
                      <a:pos x="198" y="110"/>
                    </a:cxn>
                    <a:cxn ang="0">
                      <a:pos x="198" y="130"/>
                    </a:cxn>
                    <a:cxn ang="0">
                      <a:pos x="194" y="144"/>
                    </a:cxn>
                    <a:cxn ang="0">
                      <a:pos x="194" y="144"/>
                    </a:cxn>
                    <a:cxn ang="0">
                      <a:pos x="188" y="146"/>
                    </a:cxn>
                    <a:cxn ang="0">
                      <a:pos x="182" y="148"/>
                    </a:cxn>
                    <a:cxn ang="0">
                      <a:pos x="172" y="152"/>
                    </a:cxn>
                    <a:cxn ang="0">
                      <a:pos x="162" y="160"/>
                    </a:cxn>
                    <a:cxn ang="0">
                      <a:pos x="152" y="172"/>
                    </a:cxn>
                    <a:cxn ang="0">
                      <a:pos x="140" y="190"/>
                    </a:cxn>
                    <a:cxn ang="0">
                      <a:pos x="128" y="216"/>
                    </a:cxn>
                    <a:cxn ang="0">
                      <a:pos x="116" y="248"/>
                    </a:cxn>
                    <a:cxn ang="0">
                      <a:pos x="104" y="288"/>
                    </a:cxn>
                    <a:cxn ang="0">
                      <a:pos x="94" y="338"/>
                    </a:cxn>
                    <a:cxn ang="0">
                      <a:pos x="84" y="398"/>
                    </a:cxn>
                    <a:cxn ang="0">
                      <a:pos x="76" y="470"/>
                    </a:cxn>
                    <a:cxn ang="0">
                      <a:pos x="70" y="554"/>
                    </a:cxn>
                    <a:cxn ang="0">
                      <a:pos x="68" y="652"/>
                    </a:cxn>
                    <a:cxn ang="0">
                      <a:pos x="66" y="764"/>
                    </a:cxn>
                    <a:cxn ang="0">
                      <a:pos x="66" y="764"/>
                    </a:cxn>
                  </a:cxnLst>
                  <a:rect l="0" t="0" r="r" b="b"/>
                  <a:pathLst>
                    <a:path w="200" h="764">
                      <a:moveTo>
                        <a:pt x="66" y="764"/>
                      </a:moveTo>
                      <a:lnTo>
                        <a:pt x="66" y="764"/>
                      </a:lnTo>
                      <a:lnTo>
                        <a:pt x="46" y="760"/>
                      </a:lnTo>
                      <a:lnTo>
                        <a:pt x="8" y="754"/>
                      </a:lnTo>
                      <a:lnTo>
                        <a:pt x="8" y="754"/>
                      </a:lnTo>
                      <a:lnTo>
                        <a:pt x="6" y="752"/>
                      </a:lnTo>
                      <a:lnTo>
                        <a:pt x="4" y="746"/>
                      </a:lnTo>
                      <a:lnTo>
                        <a:pt x="2" y="724"/>
                      </a:lnTo>
                      <a:lnTo>
                        <a:pt x="0" y="690"/>
                      </a:lnTo>
                      <a:lnTo>
                        <a:pt x="0" y="644"/>
                      </a:lnTo>
                      <a:lnTo>
                        <a:pt x="2" y="592"/>
                      </a:lnTo>
                      <a:lnTo>
                        <a:pt x="6" y="532"/>
                      </a:lnTo>
                      <a:lnTo>
                        <a:pt x="12" y="468"/>
                      </a:lnTo>
                      <a:lnTo>
                        <a:pt x="20" y="402"/>
                      </a:lnTo>
                      <a:lnTo>
                        <a:pt x="30" y="334"/>
                      </a:lnTo>
                      <a:lnTo>
                        <a:pt x="44" y="268"/>
                      </a:lnTo>
                      <a:lnTo>
                        <a:pt x="60" y="204"/>
                      </a:lnTo>
                      <a:lnTo>
                        <a:pt x="68" y="174"/>
                      </a:lnTo>
                      <a:lnTo>
                        <a:pt x="80" y="146"/>
                      </a:lnTo>
                      <a:lnTo>
                        <a:pt x="90" y="120"/>
                      </a:lnTo>
                      <a:lnTo>
                        <a:pt x="102" y="94"/>
                      </a:lnTo>
                      <a:lnTo>
                        <a:pt x="114" y="72"/>
                      </a:lnTo>
                      <a:lnTo>
                        <a:pt x="128" y="52"/>
                      </a:lnTo>
                      <a:lnTo>
                        <a:pt x="144" y="34"/>
                      </a:lnTo>
                      <a:lnTo>
                        <a:pt x="158" y="20"/>
                      </a:lnTo>
                      <a:lnTo>
                        <a:pt x="176" y="8"/>
                      </a:lnTo>
                      <a:lnTo>
                        <a:pt x="194" y="0"/>
                      </a:lnTo>
                      <a:lnTo>
                        <a:pt x="194" y="0"/>
                      </a:lnTo>
                      <a:lnTo>
                        <a:pt x="196" y="20"/>
                      </a:lnTo>
                      <a:lnTo>
                        <a:pt x="198" y="62"/>
                      </a:lnTo>
                      <a:lnTo>
                        <a:pt x="200" y="88"/>
                      </a:lnTo>
                      <a:lnTo>
                        <a:pt x="198" y="110"/>
                      </a:lnTo>
                      <a:lnTo>
                        <a:pt x="198" y="130"/>
                      </a:lnTo>
                      <a:lnTo>
                        <a:pt x="194" y="144"/>
                      </a:lnTo>
                      <a:lnTo>
                        <a:pt x="194" y="144"/>
                      </a:lnTo>
                      <a:lnTo>
                        <a:pt x="188" y="146"/>
                      </a:lnTo>
                      <a:lnTo>
                        <a:pt x="182" y="148"/>
                      </a:lnTo>
                      <a:lnTo>
                        <a:pt x="172" y="152"/>
                      </a:lnTo>
                      <a:lnTo>
                        <a:pt x="162" y="160"/>
                      </a:lnTo>
                      <a:lnTo>
                        <a:pt x="152" y="172"/>
                      </a:lnTo>
                      <a:lnTo>
                        <a:pt x="140" y="190"/>
                      </a:lnTo>
                      <a:lnTo>
                        <a:pt x="128" y="216"/>
                      </a:lnTo>
                      <a:lnTo>
                        <a:pt x="116" y="248"/>
                      </a:lnTo>
                      <a:lnTo>
                        <a:pt x="104" y="288"/>
                      </a:lnTo>
                      <a:lnTo>
                        <a:pt x="94" y="338"/>
                      </a:lnTo>
                      <a:lnTo>
                        <a:pt x="84" y="398"/>
                      </a:lnTo>
                      <a:lnTo>
                        <a:pt x="76" y="470"/>
                      </a:lnTo>
                      <a:lnTo>
                        <a:pt x="70" y="554"/>
                      </a:lnTo>
                      <a:lnTo>
                        <a:pt x="68" y="652"/>
                      </a:lnTo>
                      <a:lnTo>
                        <a:pt x="66" y="764"/>
                      </a:lnTo>
                      <a:lnTo>
                        <a:pt x="66" y="764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Text" lastClr="000000"/>
                    </a:solidFill>
                    <a:latin typeface="+mn-lt"/>
                    <a:cs typeface="+mn-cs"/>
                  </a:endParaRPr>
                </a:p>
              </p:txBody>
            </p:sp>
            <p:sp>
              <p:nvSpPr>
                <p:cNvPr id="178" name="Freeform 23"/>
                <p:cNvSpPr>
                  <a:spLocks/>
                </p:cNvSpPr>
                <p:nvPr/>
              </p:nvSpPr>
              <p:spPr bwMode="auto">
                <a:xfrm>
                  <a:off x="5884862" y="3596640"/>
                  <a:ext cx="1287780" cy="1432560"/>
                </a:xfrm>
                <a:custGeom>
                  <a:avLst/>
                  <a:gdLst/>
                  <a:ahLst/>
                  <a:cxnLst>
                    <a:cxn ang="0">
                      <a:pos x="218" y="150"/>
                    </a:cxn>
                    <a:cxn ang="0">
                      <a:pos x="218" y="150"/>
                    </a:cxn>
                    <a:cxn ang="0">
                      <a:pos x="216" y="180"/>
                    </a:cxn>
                    <a:cxn ang="0">
                      <a:pos x="208" y="208"/>
                    </a:cxn>
                    <a:cxn ang="0">
                      <a:pos x="198" y="234"/>
                    </a:cxn>
                    <a:cxn ang="0">
                      <a:pos x="186" y="256"/>
                    </a:cxn>
                    <a:cxn ang="0">
                      <a:pos x="170" y="274"/>
                    </a:cxn>
                    <a:cxn ang="0">
                      <a:pos x="160" y="280"/>
                    </a:cxn>
                    <a:cxn ang="0">
                      <a:pos x="152" y="288"/>
                    </a:cxn>
                    <a:cxn ang="0">
                      <a:pos x="142" y="292"/>
                    </a:cxn>
                    <a:cxn ang="0">
                      <a:pos x="130" y="296"/>
                    </a:cxn>
                    <a:cxn ang="0">
                      <a:pos x="120" y="298"/>
                    </a:cxn>
                    <a:cxn ang="0">
                      <a:pos x="108" y="298"/>
                    </a:cxn>
                    <a:cxn ang="0">
                      <a:pos x="108" y="298"/>
                    </a:cxn>
                    <a:cxn ang="0">
                      <a:pos x="98" y="298"/>
                    </a:cxn>
                    <a:cxn ang="0">
                      <a:pos x="88" y="296"/>
                    </a:cxn>
                    <a:cxn ang="0">
                      <a:pos x="76" y="292"/>
                    </a:cxn>
                    <a:cxn ang="0">
                      <a:pos x="66" y="288"/>
                    </a:cxn>
                    <a:cxn ang="0">
                      <a:pos x="58" y="280"/>
                    </a:cxn>
                    <a:cxn ang="0">
                      <a:pos x="48" y="274"/>
                    </a:cxn>
                    <a:cxn ang="0">
                      <a:pos x="32" y="256"/>
                    </a:cxn>
                    <a:cxn ang="0">
                      <a:pos x="18" y="234"/>
                    </a:cxn>
                    <a:cxn ang="0">
                      <a:pos x="8" y="208"/>
                    </a:cxn>
                    <a:cxn ang="0">
                      <a:pos x="2" y="180"/>
                    </a:cxn>
                    <a:cxn ang="0">
                      <a:pos x="0" y="150"/>
                    </a:cxn>
                    <a:cxn ang="0">
                      <a:pos x="0" y="150"/>
                    </a:cxn>
                    <a:cxn ang="0">
                      <a:pos x="2" y="120"/>
                    </a:cxn>
                    <a:cxn ang="0">
                      <a:pos x="8" y="92"/>
                    </a:cxn>
                    <a:cxn ang="0">
                      <a:pos x="18" y="66"/>
                    </a:cxn>
                    <a:cxn ang="0">
                      <a:pos x="32" y="44"/>
                    </a:cxn>
                    <a:cxn ang="0">
                      <a:pos x="48" y="26"/>
                    </a:cxn>
                    <a:cxn ang="0">
                      <a:pos x="58" y="18"/>
                    </a:cxn>
                    <a:cxn ang="0">
                      <a:pos x="66" y="12"/>
                    </a:cxn>
                    <a:cxn ang="0">
                      <a:pos x="76" y="8"/>
                    </a:cxn>
                    <a:cxn ang="0">
                      <a:pos x="88" y="4"/>
                    </a:cxn>
                    <a:cxn ang="0">
                      <a:pos x="98" y="2"/>
                    </a:cxn>
                    <a:cxn ang="0">
                      <a:pos x="108" y="0"/>
                    </a:cxn>
                    <a:cxn ang="0">
                      <a:pos x="108" y="0"/>
                    </a:cxn>
                    <a:cxn ang="0">
                      <a:pos x="120" y="2"/>
                    </a:cxn>
                    <a:cxn ang="0">
                      <a:pos x="130" y="4"/>
                    </a:cxn>
                    <a:cxn ang="0">
                      <a:pos x="142" y="8"/>
                    </a:cxn>
                    <a:cxn ang="0">
                      <a:pos x="152" y="12"/>
                    </a:cxn>
                    <a:cxn ang="0">
                      <a:pos x="160" y="18"/>
                    </a:cxn>
                    <a:cxn ang="0">
                      <a:pos x="170" y="26"/>
                    </a:cxn>
                    <a:cxn ang="0">
                      <a:pos x="186" y="44"/>
                    </a:cxn>
                    <a:cxn ang="0">
                      <a:pos x="198" y="66"/>
                    </a:cxn>
                    <a:cxn ang="0">
                      <a:pos x="208" y="92"/>
                    </a:cxn>
                    <a:cxn ang="0">
                      <a:pos x="216" y="120"/>
                    </a:cxn>
                    <a:cxn ang="0">
                      <a:pos x="218" y="150"/>
                    </a:cxn>
                    <a:cxn ang="0">
                      <a:pos x="218" y="150"/>
                    </a:cxn>
                  </a:cxnLst>
                  <a:rect l="0" t="0" r="r" b="b"/>
                  <a:pathLst>
                    <a:path w="218" h="298">
                      <a:moveTo>
                        <a:pt x="218" y="150"/>
                      </a:moveTo>
                      <a:lnTo>
                        <a:pt x="218" y="150"/>
                      </a:lnTo>
                      <a:lnTo>
                        <a:pt x="216" y="180"/>
                      </a:lnTo>
                      <a:lnTo>
                        <a:pt x="208" y="208"/>
                      </a:lnTo>
                      <a:lnTo>
                        <a:pt x="198" y="234"/>
                      </a:lnTo>
                      <a:lnTo>
                        <a:pt x="186" y="256"/>
                      </a:lnTo>
                      <a:lnTo>
                        <a:pt x="170" y="274"/>
                      </a:lnTo>
                      <a:lnTo>
                        <a:pt x="160" y="280"/>
                      </a:lnTo>
                      <a:lnTo>
                        <a:pt x="152" y="288"/>
                      </a:lnTo>
                      <a:lnTo>
                        <a:pt x="142" y="292"/>
                      </a:lnTo>
                      <a:lnTo>
                        <a:pt x="130" y="296"/>
                      </a:lnTo>
                      <a:lnTo>
                        <a:pt x="120" y="298"/>
                      </a:lnTo>
                      <a:lnTo>
                        <a:pt x="108" y="298"/>
                      </a:lnTo>
                      <a:lnTo>
                        <a:pt x="108" y="298"/>
                      </a:lnTo>
                      <a:lnTo>
                        <a:pt x="98" y="298"/>
                      </a:lnTo>
                      <a:lnTo>
                        <a:pt x="88" y="296"/>
                      </a:lnTo>
                      <a:lnTo>
                        <a:pt x="76" y="292"/>
                      </a:lnTo>
                      <a:lnTo>
                        <a:pt x="66" y="288"/>
                      </a:lnTo>
                      <a:lnTo>
                        <a:pt x="58" y="280"/>
                      </a:lnTo>
                      <a:lnTo>
                        <a:pt x="48" y="274"/>
                      </a:lnTo>
                      <a:lnTo>
                        <a:pt x="32" y="256"/>
                      </a:lnTo>
                      <a:lnTo>
                        <a:pt x="18" y="234"/>
                      </a:lnTo>
                      <a:lnTo>
                        <a:pt x="8" y="208"/>
                      </a:lnTo>
                      <a:lnTo>
                        <a:pt x="2" y="180"/>
                      </a:lnTo>
                      <a:lnTo>
                        <a:pt x="0" y="150"/>
                      </a:lnTo>
                      <a:lnTo>
                        <a:pt x="0" y="150"/>
                      </a:lnTo>
                      <a:lnTo>
                        <a:pt x="2" y="120"/>
                      </a:lnTo>
                      <a:lnTo>
                        <a:pt x="8" y="92"/>
                      </a:lnTo>
                      <a:lnTo>
                        <a:pt x="18" y="66"/>
                      </a:lnTo>
                      <a:lnTo>
                        <a:pt x="32" y="44"/>
                      </a:lnTo>
                      <a:lnTo>
                        <a:pt x="48" y="26"/>
                      </a:lnTo>
                      <a:lnTo>
                        <a:pt x="58" y="18"/>
                      </a:lnTo>
                      <a:lnTo>
                        <a:pt x="66" y="12"/>
                      </a:lnTo>
                      <a:lnTo>
                        <a:pt x="76" y="8"/>
                      </a:lnTo>
                      <a:lnTo>
                        <a:pt x="88" y="4"/>
                      </a:lnTo>
                      <a:lnTo>
                        <a:pt x="98" y="2"/>
                      </a:lnTo>
                      <a:lnTo>
                        <a:pt x="108" y="0"/>
                      </a:lnTo>
                      <a:lnTo>
                        <a:pt x="108" y="0"/>
                      </a:lnTo>
                      <a:lnTo>
                        <a:pt x="120" y="2"/>
                      </a:lnTo>
                      <a:lnTo>
                        <a:pt x="130" y="4"/>
                      </a:lnTo>
                      <a:lnTo>
                        <a:pt x="142" y="8"/>
                      </a:lnTo>
                      <a:lnTo>
                        <a:pt x="152" y="12"/>
                      </a:lnTo>
                      <a:lnTo>
                        <a:pt x="160" y="18"/>
                      </a:lnTo>
                      <a:lnTo>
                        <a:pt x="170" y="26"/>
                      </a:lnTo>
                      <a:lnTo>
                        <a:pt x="186" y="44"/>
                      </a:lnTo>
                      <a:lnTo>
                        <a:pt x="198" y="66"/>
                      </a:lnTo>
                      <a:lnTo>
                        <a:pt x="208" y="92"/>
                      </a:lnTo>
                      <a:lnTo>
                        <a:pt x="216" y="120"/>
                      </a:lnTo>
                      <a:lnTo>
                        <a:pt x="218" y="150"/>
                      </a:lnTo>
                      <a:lnTo>
                        <a:pt x="218" y="15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Text" lastClr="000000"/>
                    </a:solidFill>
                    <a:latin typeface="+mn-lt"/>
                    <a:cs typeface="+mn-cs"/>
                  </a:endParaRPr>
                </a:p>
              </p:txBody>
            </p:sp>
            <p:sp>
              <p:nvSpPr>
                <p:cNvPr id="179" name="Freeform 24"/>
                <p:cNvSpPr>
                  <a:spLocks/>
                </p:cNvSpPr>
                <p:nvPr/>
              </p:nvSpPr>
              <p:spPr bwMode="auto">
                <a:xfrm rot="880063">
                  <a:off x="5847913" y="3233332"/>
                  <a:ext cx="380180" cy="496068"/>
                </a:xfrm>
                <a:custGeom>
                  <a:avLst/>
                  <a:gdLst/>
                  <a:ahLst/>
                  <a:cxnLst>
                    <a:cxn ang="0">
                      <a:pos x="4" y="40"/>
                    </a:cxn>
                    <a:cxn ang="0">
                      <a:pos x="0" y="266"/>
                    </a:cxn>
                    <a:cxn ang="0">
                      <a:pos x="0" y="266"/>
                    </a:cxn>
                    <a:cxn ang="0">
                      <a:pos x="30" y="250"/>
                    </a:cxn>
                    <a:cxn ang="0">
                      <a:pos x="100" y="214"/>
                    </a:cxn>
                    <a:cxn ang="0">
                      <a:pos x="140" y="196"/>
                    </a:cxn>
                    <a:cxn ang="0">
                      <a:pos x="176" y="178"/>
                    </a:cxn>
                    <a:cxn ang="0">
                      <a:pos x="206" y="166"/>
                    </a:cxn>
                    <a:cxn ang="0">
                      <a:pos x="218" y="164"/>
                    </a:cxn>
                    <a:cxn ang="0">
                      <a:pos x="226" y="162"/>
                    </a:cxn>
                    <a:cxn ang="0">
                      <a:pos x="226" y="162"/>
                    </a:cxn>
                    <a:cxn ang="0">
                      <a:pos x="230" y="162"/>
                    </a:cxn>
                    <a:cxn ang="0">
                      <a:pos x="234" y="158"/>
                    </a:cxn>
                    <a:cxn ang="0">
                      <a:pos x="238" y="152"/>
                    </a:cxn>
                    <a:cxn ang="0">
                      <a:pos x="240" y="146"/>
                    </a:cxn>
                    <a:cxn ang="0">
                      <a:pos x="240" y="128"/>
                    </a:cxn>
                    <a:cxn ang="0">
                      <a:pos x="240" y="108"/>
                    </a:cxn>
                    <a:cxn ang="0">
                      <a:pos x="234" y="70"/>
                    </a:cxn>
                    <a:cxn ang="0">
                      <a:pos x="230" y="54"/>
                    </a:cxn>
                    <a:cxn ang="0">
                      <a:pos x="230" y="54"/>
                    </a:cxn>
                    <a:cxn ang="0">
                      <a:pos x="228" y="50"/>
                    </a:cxn>
                    <a:cxn ang="0">
                      <a:pos x="226" y="38"/>
                    </a:cxn>
                    <a:cxn ang="0">
                      <a:pos x="222" y="30"/>
                    </a:cxn>
                    <a:cxn ang="0">
                      <a:pos x="216" y="24"/>
                    </a:cxn>
                    <a:cxn ang="0">
                      <a:pos x="210" y="16"/>
                    </a:cxn>
                    <a:cxn ang="0">
                      <a:pos x="200" y="10"/>
                    </a:cxn>
                    <a:cxn ang="0">
                      <a:pos x="188" y="4"/>
                    </a:cxn>
                    <a:cxn ang="0">
                      <a:pos x="172" y="2"/>
                    </a:cxn>
                    <a:cxn ang="0">
                      <a:pos x="154" y="0"/>
                    </a:cxn>
                    <a:cxn ang="0">
                      <a:pos x="132" y="0"/>
                    </a:cxn>
                    <a:cxn ang="0">
                      <a:pos x="106" y="4"/>
                    </a:cxn>
                    <a:cxn ang="0">
                      <a:pos x="78" y="12"/>
                    </a:cxn>
                    <a:cxn ang="0">
                      <a:pos x="42" y="24"/>
                    </a:cxn>
                    <a:cxn ang="0">
                      <a:pos x="4" y="40"/>
                    </a:cxn>
                    <a:cxn ang="0">
                      <a:pos x="4" y="40"/>
                    </a:cxn>
                  </a:cxnLst>
                  <a:rect l="0" t="0" r="r" b="b"/>
                  <a:pathLst>
                    <a:path w="240" h="266">
                      <a:moveTo>
                        <a:pt x="4" y="40"/>
                      </a:moveTo>
                      <a:lnTo>
                        <a:pt x="0" y="266"/>
                      </a:lnTo>
                      <a:lnTo>
                        <a:pt x="0" y="266"/>
                      </a:lnTo>
                      <a:lnTo>
                        <a:pt x="30" y="250"/>
                      </a:lnTo>
                      <a:lnTo>
                        <a:pt x="100" y="214"/>
                      </a:lnTo>
                      <a:lnTo>
                        <a:pt x="140" y="196"/>
                      </a:lnTo>
                      <a:lnTo>
                        <a:pt x="176" y="178"/>
                      </a:lnTo>
                      <a:lnTo>
                        <a:pt x="206" y="166"/>
                      </a:lnTo>
                      <a:lnTo>
                        <a:pt x="218" y="164"/>
                      </a:lnTo>
                      <a:lnTo>
                        <a:pt x="226" y="162"/>
                      </a:lnTo>
                      <a:lnTo>
                        <a:pt x="226" y="162"/>
                      </a:lnTo>
                      <a:lnTo>
                        <a:pt x="230" y="162"/>
                      </a:lnTo>
                      <a:lnTo>
                        <a:pt x="234" y="158"/>
                      </a:lnTo>
                      <a:lnTo>
                        <a:pt x="238" y="152"/>
                      </a:lnTo>
                      <a:lnTo>
                        <a:pt x="240" y="146"/>
                      </a:lnTo>
                      <a:lnTo>
                        <a:pt x="240" y="128"/>
                      </a:lnTo>
                      <a:lnTo>
                        <a:pt x="240" y="108"/>
                      </a:lnTo>
                      <a:lnTo>
                        <a:pt x="234" y="70"/>
                      </a:lnTo>
                      <a:lnTo>
                        <a:pt x="230" y="54"/>
                      </a:lnTo>
                      <a:lnTo>
                        <a:pt x="230" y="54"/>
                      </a:lnTo>
                      <a:lnTo>
                        <a:pt x="228" y="50"/>
                      </a:lnTo>
                      <a:lnTo>
                        <a:pt x="226" y="38"/>
                      </a:lnTo>
                      <a:lnTo>
                        <a:pt x="222" y="30"/>
                      </a:lnTo>
                      <a:lnTo>
                        <a:pt x="216" y="24"/>
                      </a:lnTo>
                      <a:lnTo>
                        <a:pt x="210" y="16"/>
                      </a:lnTo>
                      <a:lnTo>
                        <a:pt x="200" y="10"/>
                      </a:lnTo>
                      <a:lnTo>
                        <a:pt x="188" y="4"/>
                      </a:lnTo>
                      <a:lnTo>
                        <a:pt x="172" y="2"/>
                      </a:lnTo>
                      <a:lnTo>
                        <a:pt x="154" y="0"/>
                      </a:lnTo>
                      <a:lnTo>
                        <a:pt x="132" y="0"/>
                      </a:lnTo>
                      <a:lnTo>
                        <a:pt x="106" y="4"/>
                      </a:lnTo>
                      <a:lnTo>
                        <a:pt x="78" y="12"/>
                      </a:lnTo>
                      <a:lnTo>
                        <a:pt x="42" y="24"/>
                      </a:lnTo>
                      <a:lnTo>
                        <a:pt x="4" y="40"/>
                      </a:lnTo>
                      <a:lnTo>
                        <a:pt x="4" y="4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Text" lastClr="000000"/>
                    </a:solidFill>
                    <a:latin typeface="+mn-lt"/>
                    <a:cs typeface="+mn-cs"/>
                  </a:endParaRPr>
                </a:p>
              </p:txBody>
            </p:sp>
            <p:sp>
              <p:nvSpPr>
                <p:cNvPr id="180" name="Freeform 25"/>
                <p:cNvSpPr>
                  <a:spLocks/>
                </p:cNvSpPr>
                <p:nvPr/>
              </p:nvSpPr>
              <p:spPr bwMode="auto">
                <a:xfrm>
                  <a:off x="6596466" y="3271128"/>
                  <a:ext cx="224329" cy="363783"/>
                </a:xfrm>
                <a:custGeom>
                  <a:avLst/>
                  <a:gdLst/>
                  <a:ahLst/>
                  <a:cxnLst>
                    <a:cxn ang="0">
                      <a:pos x="104" y="218"/>
                    </a:cxn>
                    <a:cxn ang="0">
                      <a:pos x="104" y="218"/>
                    </a:cxn>
                    <a:cxn ang="0">
                      <a:pos x="98" y="210"/>
                    </a:cxn>
                    <a:cxn ang="0">
                      <a:pos x="90" y="202"/>
                    </a:cxn>
                    <a:cxn ang="0">
                      <a:pos x="80" y="192"/>
                    </a:cxn>
                    <a:cxn ang="0">
                      <a:pos x="68" y="184"/>
                    </a:cxn>
                    <a:cxn ang="0">
                      <a:pos x="54" y="178"/>
                    </a:cxn>
                    <a:cxn ang="0">
                      <a:pos x="40" y="174"/>
                    </a:cxn>
                    <a:cxn ang="0">
                      <a:pos x="32" y="176"/>
                    </a:cxn>
                    <a:cxn ang="0">
                      <a:pos x="24" y="176"/>
                    </a:cxn>
                    <a:cxn ang="0">
                      <a:pos x="24" y="176"/>
                    </a:cxn>
                    <a:cxn ang="0">
                      <a:pos x="16" y="178"/>
                    </a:cxn>
                    <a:cxn ang="0">
                      <a:pos x="10" y="174"/>
                    </a:cxn>
                    <a:cxn ang="0">
                      <a:pos x="6" y="166"/>
                    </a:cxn>
                    <a:cxn ang="0">
                      <a:pos x="2" y="156"/>
                    </a:cxn>
                    <a:cxn ang="0">
                      <a:pos x="0" y="142"/>
                    </a:cxn>
                    <a:cxn ang="0">
                      <a:pos x="0" y="128"/>
                    </a:cxn>
                    <a:cxn ang="0">
                      <a:pos x="2" y="94"/>
                    </a:cxn>
                    <a:cxn ang="0">
                      <a:pos x="4" y="60"/>
                    </a:cxn>
                    <a:cxn ang="0">
                      <a:pos x="10" y="30"/>
                    </a:cxn>
                    <a:cxn ang="0">
                      <a:pos x="14" y="0"/>
                    </a:cxn>
                    <a:cxn ang="0">
                      <a:pos x="118" y="60"/>
                    </a:cxn>
                    <a:cxn ang="0">
                      <a:pos x="118" y="60"/>
                    </a:cxn>
                    <a:cxn ang="0">
                      <a:pos x="112" y="82"/>
                    </a:cxn>
                    <a:cxn ang="0">
                      <a:pos x="100" y="134"/>
                    </a:cxn>
                    <a:cxn ang="0">
                      <a:pos x="96" y="162"/>
                    </a:cxn>
                    <a:cxn ang="0">
                      <a:pos x="96" y="188"/>
                    </a:cxn>
                    <a:cxn ang="0">
                      <a:pos x="96" y="198"/>
                    </a:cxn>
                    <a:cxn ang="0">
                      <a:pos x="98" y="206"/>
                    </a:cxn>
                    <a:cxn ang="0">
                      <a:pos x="100" y="214"/>
                    </a:cxn>
                    <a:cxn ang="0">
                      <a:pos x="104" y="218"/>
                    </a:cxn>
                    <a:cxn ang="0">
                      <a:pos x="104" y="218"/>
                    </a:cxn>
                  </a:cxnLst>
                  <a:rect l="0" t="0" r="r" b="b"/>
                  <a:pathLst>
                    <a:path w="118" h="218">
                      <a:moveTo>
                        <a:pt x="104" y="218"/>
                      </a:moveTo>
                      <a:lnTo>
                        <a:pt x="104" y="218"/>
                      </a:lnTo>
                      <a:lnTo>
                        <a:pt x="98" y="210"/>
                      </a:lnTo>
                      <a:lnTo>
                        <a:pt x="90" y="202"/>
                      </a:lnTo>
                      <a:lnTo>
                        <a:pt x="80" y="192"/>
                      </a:lnTo>
                      <a:lnTo>
                        <a:pt x="68" y="184"/>
                      </a:lnTo>
                      <a:lnTo>
                        <a:pt x="54" y="178"/>
                      </a:lnTo>
                      <a:lnTo>
                        <a:pt x="40" y="174"/>
                      </a:lnTo>
                      <a:lnTo>
                        <a:pt x="32" y="176"/>
                      </a:lnTo>
                      <a:lnTo>
                        <a:pt x="24" y="176"/>
                      </a:lnTo>
                      <a:lnTo>
                        <a:pt x="24" y="176"/>
                      </a:lnTo>
                      <a:lnTo>
                        <a:pt x="16" y="178"/>
                      </a:lnTo>
                      <a:lnTo>
                        <a:pt x="10" y="174"/>
                      </a:lnTo>
                      <a:lnTo>
                        <a:pt x="6" y="166"/>
                      </a:lnTo>
                      <a:lnTo>
                        <a:pt x="2" y="156"/>
                      </a:lnTo>
                      <a:lnTo>
                        <a:pt x="0" y="142"/>
                      </a:lnTo>
                      <a:lnTo>
                        <a:pt x="0" y="128"/>
                      </a:lnTo>
                      <a:lnTo>
                        <a:pt x="2" y="94"/>
                      </a:lnTo>
                      <a:lnTo>
                        <a:pt x="4" y="60"/>
                      </a:lnTo>
                      <a:lnTo>
                        <a:pt x="10" y="30"/>
                      </a:lnTo>
                      <a:lnTo>
                        <a:pt x="14" y="0"/>
                      </a:lnTo>
                      <a:lnTo>
                        <a:pt x="118" y="60"/>
                      </a:lnTo>
                      <a:lnTo>
                        <a:pt x="118" y="60"/>
                      </a:lnTo>
                      <a:lnTo>
                        <a:pt x="112" y="82"/>
                      </a:lnTo>
                      <a:lnTo>
                        <a:pt x="100" y="134"/>
                      </a:lnTo>
                      <a:lnTo>
                        <a:pt x="96" y="162"/>
                      </a:lnTo>
                      <a:lnTo>
                        <a:pt x="96" y="188"/>
                      </a:lnTo>
                      <a:lnTo>
                        <a:pt x="96" y="198"/>
                      </a:lnTo>
                      <a:lnTo>
                        <a:pt x="98" y="206"/>
                      </a:lnTo>
                      <a:lnTo>
                        <a:pt x="100" y="214"/>
                      </a:lnTo>
                      <a:lnTo>
                        <a:pt x="104" y="218"/>
                      </a:lnTo>
                      <a:lnTo>
                        <a:pt x="104" y="218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Text" lastClr="000000"/>
                    </a:solidFill>
                    <a:latin typeface="+mn-lt"/>
                    <a:cs typeface="+mn-cs"/>
                  </a:endParaRPr>
                </a:p>
              </p:txBody>
            </p:sp>
            <p:sp>
              <p:nvSpPr>
                <p:cNvPr id="181" name="Freeform 41"/>
                <p:cNvSpPr>
                  <a:spLocks/>
                </p:cNvSpPr>
                <p:nvPr/>
              </p:nvSpPr>
              <p:spPr bwMode="auto">
                <a:xfrm>
                  <a:off x="5721237" y="2972894"/>
                  <a:ext cx="515961" cy="257925"/>
                </a:xfrm>
                <a:custGeom>
                  <a:avLst/>
                  <a:gdLst/>
                  <a:ahLst/>
                  <a:cxnLst>
                    <a:cxn ang="0">
                      <a:pos x="332" y="64"/>
                    </a:cxn>
                    <a:cxn ang="0">
                      <a:pos x="332" y="64"/>
                    </a:cxn>
                    <a:cxn ang="0">
                      <a:pos x="328" y="52"/>
                    </a:cxn>
                    <a:cxn ang="0">
                      <a:pos x="326" y="40"/>
                    </a:cxn>
                    <a:cxn ang="0">
                      <a:pos x="326" y="40"/>
                    </a:cxn>
                    <a:cxn ang="0">
                      <a:pos x="328" y="38"/>
                    </a:cxn>
                    <a:cxn ang="0">
                      <a:pos x="328" y="38"/>
                    </a:cxn>
                    <a:cxn ang="0">
                      <a:pos x="322" y="32"/>
                    </a:cxn>
                    <a:cxn ang="0">
                      <a:pos x="316" y="26"/>
                    </a:cxn>
                    <a:cxn ang="0">
                      <a:pos x="300" y="16"/>
                    </a:cxn>
                    <a:cxn ang="0">
                      <a:pos x="280" y="8"/>
                    </a:cxn>
                    <a:cxn ang="0">
                      <a:pos x="256" y="4"/>
                    </a:cxn>
                    <a:cxn ang="0">
                      <a:pos x="230" y="0"/>
                    </a:cxn>
                    <a:cxn ang="0">
                      <a:pos x="200" y="0"/>
                    </a:cxn>
                    <a:cxn ang="0">
                      <a:pos x="170" y="2"/>
                    </a:cxn>
                    <a:cxn ang="0">
                      <a:pos x="136" y="6"/>
                    </a:cxn>
                    <a:cxn ang="0">
                      <a:pos x="136" y="6"/>
                    </a:cxn>
                    <a:cxn ang="0">
                      <a:pos x="96" y="16"/>
                    </a:cxn>
                    <a:cxn ang="0">
                      <a:pos x="60" y="28"/>
                    </a:cxn>
                    <a:cxn ang="0">
                      <a:pos x="30" y="42"/>
                    </a:cxn>
                    <a:cxn ang="0">
                      <a:pos x="4" y="58"/>
                    </a:cxn>
                    <a:cxn ang="0">
                      <a:pos x="0" y="152"/>
                    </a:cxn>
                    <a:cxn ang="0">
                      <a:pos x="0" y="152"/>
                    </a:cxn>
                    <a:cxn ang="0">
                      <a:pos x="12" y="156"/>
                    </a:cxn>
                    <a:cxn ang="0">
                      <a:pos x="24" y="160"/>
                    </a:cxn>
                    <a:cxn ang="0">
                      <a:pos x="56" y="166"/>
                    </a:cxn>
                    <a:cxn ang="0">
                      <a:pos x="92" y="168"/>
                    </a:cxn>
                    <a:cxn ang="0">
                      <a:pos x="132" y="166"/>
                    </a:cxn>
                    <a:cxn ang="0">
                      <a:pos x="132" y="166"/>
                    </a:cxn>
                    <a:cxn ang="0">
                      <a:pos x="178" y="154"/>
                    </a:cxn>
                    <a:cxn ang="0">
                      <a:pos x="226" y="146"/>
                    </a:cxn>
                    <a:cxn ang="0">
                      <a:pos x="226" y="146"/>
                    </a:cxn>
                    <a:cxn ang="0">
                      <a:pos x="246" y="138"/>
                    </a:cxn>
                    <a:cxn ang="0">
                      <a:pos x="266" y="128"/>
                    </a:cxn>
                    <a:cxn ang="0">
                      <a:pos x="284" y="118"/>
                    </a:cxn>
                    <a:cxn ang="0">
                      <a:pos x="298" y="108"/>
                    </a:cxn>
                    <a:cxn ang="0">
                      <a:pos x="312" y="98"/>
                    </a:cxn>
                    <a:cxn ang="0">
                      <a:pos x="322" y="86"/>
                    </a:cxn>
                    <a:cxn ang="0">
                      <a:pos x="328" y="76"/>
                    </a:cxn>
                    <a:cxn ang="0">
                      <a:pos x="332" y="64"/>
                    </a:cxn>
                    <a:cxn ang="0">
                      <a:pos x="332" y="64"/>
                    </a:cxn>
                  </a:cxnLst>
                  <a:rect l="0" t="0" r="r" b="b"/>
                  <a:pathLst>
                    <a:path w="332" h="168">
                      <a:moveTo>
                        <a:pt x="332" y="64"/>
                      </a:moveTo>
                      <a:lnTo>
                        <a:pt x="332" y="64"/>
                      </a:lnTo>
                      <a:lnTo>
                        <a:pt x="328" y="52"/>
                      </a:lnTo>
                      <a:lnTo>
                        <a:pt x="326" y="40"/>
                      </a:lnTo>
                      <a:lnTo>
                        <a:pt x="326" y="40"/>
                      </a:lnTo>
                      <a:lnTo>
                        <a:pt x="328" y="38"/>
                      </a:lnTo>
                      <a:lnTo>
                        <a:pt x="328" y="38"/>
                      </a:lnTo>
                      <a:lnTo>
                        <a:pt x="322" y="32"/>
                      </a:lnTo>
                      <a:lnTo>
                        <a:pt x="316" y="26"/>
                      </a:lnTo>
                      <a:lnTo>
                        <a:pt x="300" y="16"/>
                      </a:lnTo>
                      <a:lnTo>
                        <a:pt x="280" y="8"/>
                      </a:lnTo>
                      <a:lnTo>
                        <a:pt x="256" y="4"/>
                      </a:lnTo>
                      <a:lnTo>
                        <a:pt x="230" y="0"/>
                      </a:lnTo>
                      <a:lnTo>
                        <a:pt x="200" y="0"/>
                      </a:lnTo>
                      <a:lnTo>
                        <a:pt x="170" y="2"/>
                      </a:lnTo>
                      <a:lnTo>
                        <a:pt x="136" y="6"/>
                      </a:lnTo>
                      <a:lnTo>
                        <a:pt x="136" y="6"/>
                      </a:lnTo>
                      <a:lnTo>
                        <a:pt x="96" y="16"/>
                      </a:lnTo>
                      <a:lnTo>
                        <a:pt x="60" y="28"/>
                      </a:lnTo>
                      <a:lnTo>
                        <a:pt x="30" y="42"/>
                      </a:lnTo>
                      <a:lnTo>
                        <a:pt x="4" y="58"/>
                      </a:lnTo>
                      <a:lnTo>
                        <a:pt x="0" y="152"/>
                      </a:lnTo>
                      <a:lnTo>
                        <a:pt x="0" y="152"/>
                      </a:lnTo>
                      <a:lnTo>
                        <a:pt x="12" y="156"/>
                      </a:lnTo>
                      <a:lnTo>
                        <a:pt x="24" y="160"/>
                      </a:lnTo>
                      <a:lnTo>
                        <a:pt x="56" y="166"/>
                      </a:lnTo>
                      <a:lnTo>
                        <a:pt x="92" y="168"/>
                      </a:lnTo>
                      <a:lnTo>
                        <a:pt x="132" y="166"/>
                      </a:lnTo>
                      <a:lnTo>
                        <a:pt x="132" y="166"/>
                      </a:lnTo>
                      <a:lnTo>
                        <a:pt x="178" y="154"/>
                      </a:lnTo>
                      <a:lnTo>
                        <a:pt x="226" y="146"/>
                      </a:lnTo>
                      <a:lnTo>
                        <a:pt x="226" y="146"/>
                      </a:lnTo>
                      <a:lnTo>
                        <a:pt x="246" y="138"/>
                      </a:lnTo>
                      <a:lnTo>
                        <a:pt x="266" y="128"/>
                      </a:lnTo>
                      <a:lnTo>
                        <a:pt x="284" y="118"/>
                      </a:lnTo>
                      <a:lnTo>
                        <a:pt x="298" y="108"/>
                      </a:lnTo>
                      <a:lnTo>
                        <a:pt x="312" y="98"/>
                      </a:lnTo>
                      <a:lnTo>
                        <a:pt x="322" y="86"/>
                      </a:lnTo>
                      <a:lnTo>
                        <a:pt x="328" y="76"/>
                      </a:lnTo>
                      <a:lnTo>
                        <a:pt x="332" y="64"/>
                      </a:lnTo>
                      <a:lnTo>
                        <a:pt x="332" y="64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Text" lastClr="000000"/>
                    </a:solidFill>
                    <a:latin typeface="+mn-lt"/>
                    <a:cs typeface="+mn-cs"/>
                  </a:endParaRPr>
                </a:p>
              </p:txBody>
            </p:sp>
            <p:sp>
              <p:nvSpPr>
                <p:cNvPr id="182" name="Freeform 42"/>
                <p:cNvSpPr>
                  <a:spLocks/>
                </p:cNvSpPr>
                <p:nvPr/>
              </p:nvSpPr>
              <p:spPr bwMode="auto">
                <a:xfrm>
                  <a:off x="6245794" y="2938504"/>
                  <a:ext cx="584755" cy="249330"/>
                </a:xfrm>
                <a:custGeom>
                  <a:avLst/>
                  <a:gdLst/>
                  <a:ahLst/>
                  <a:cxnLst>
                    <a:cxn ang="0">
                      <a:pos x="366" y="100"/>
                    </a:cxn>
                    <a:cxn ang="0">
                      <a:pos x="366" y="100"/>
                    </a:cxn>
                    <a:cxn ang="0">
                      <a:pos x="366" y="92"/>
                    </a:cxn>
                    <a:cxn ang="0">
                      <a:pos x="364" y="84"/>
                    </a:cxn>
                    <a:cxn ang="0">
                      <a:pos x="362" y="76"/>
                    </a:cxn>
                    <a:cxn ang="0">
                      <a:pos x="356" y="68"/>
                    </a:cxn>
                    <a:cxn ang="0">
                      <a:pos x="348" y="60"/>
                    </a:cxn>
                    <a:cxn ang="0">
                      <a:pos x="340" y="54"/>
                    </a:cxn>
                    <a:cxn ang="0">
                      <a:pos x="318" y="38"/>
                    </a:cxn>
                    <a:cxn ang="0">
                      <a:pos x="292" y="26"/>
                    </a:cxn>
                    <a:cxn ang="0">
                      <a:pos x="262" y="16"/>
                    </a:cxn>
                    <a:cxn ang="0">
                      <a:pos x="228" y="8"/>
                    </a:cxn>
                    <a:cxn ang="0">
                      <a:pos x="192" y="2"/>
                    </a:cxn>
                    <a:cxn ang="0">
                      <a:pos x="192" y="2"/>
                    </a:cxn>
                    <a:cxn ang="0">
                      <a:pos x="154" y="0"/>
                    </a:cxn>
                    <a:cxn ang="0">
                      <a:pos x="120" y="0"/>
                    </a:cxn>
                    <a:cxn ang="0">
                      <a:pos x="88" y="4"/>
                    </a:cxn>
                    <a:cxn ang="0">
                      <a:pos x="60" y="10"/>
                    </a:cxn>
                    <a:cxn ang="0">
                      <a:pos x="38" y="18"/>
                    </a:cxn>
                    <a:cxn ang="0">
                      <a:pos x="18" y="30"/>
                    </a:cxn>
                    <a:cxn ang="0">
                      <a:pos x="12" y="36"/>
                    </a:cxn>
                    <a:cxn ang="0">
                      <a:pos x="6" y="42"/>
                    </a:cxn>
                    <a:cxn ang="0">
                      <a:pos x="2" y="50"/>
                    </a:cxn>
                    <a:cxn ang="0">
                      <a:pos x="0" y="58"/>
                    </a:cxn>
                    <a:cxn ang="0">
                      <a:pos x="0" y="58"/>
                    </a:cxn>
                    <a:cxn ang="0">
                      <a:pos x="2" y="64"/>
                    </a:cxn>
                    <a:cxn ang="0">
                      <a:pos x="4" y="70"/>
                    </a:cxn>
                    <a:cxn ang="0">
                      <a:pos x="4" y="70"/>
                    </a:cxn>
                    <a:cxn ang="0">
                      <a:pos x="6" y="78"/>
                    </a:cxn>
                    <a:cxn ang="0">
                      <a:pos x="4" y="84"/>
                    </a:cxn>
                    <a:cxn ang="0">
                      <a:pos x="4" y="84"/>
                    </a:cxn>
                    <a:cxn ang="0">
                      <a:pos x="12" y="96"/>
                    </a:cxn>
                    <a:cxn ang="0">
                      <a:pos x="24" y="106"/>
                    </a:cxn>
                    <a:cxn ang="0">
                      <a:pos x="38" y="116"/>
                    </a:cxn>
                    <a:cxn ang="0">
                      <a:pos x="54" y="126"/>
                    </a:cxn>
                    <a:cxn ang="0">
                      <a:pos x="74" y="134"/>
                    </a:cxn>
                    <a:cxn ang="0">
                      <a:pos x="94" y="142"/>
                    </a:cxn>
                    <a:cxn ang="0">
                      <a:pos x="118" y="148"/>
                    </a:cxn>
                    <a:cxn ang="0">
                      <a:pos x="142" y="154"/>
                    </a:cxn>
                    <a:cxn ang="0">
                      <a:pos x="142" y="154"/>
                    </a:cxn>
                    <a:cxn ang="0">
                      <a:pos x="174" y="156"/>
                    </a:cxn>
                    <a:cxn ang="0">
                      <a:pos x="204" y="160"/>
                    </a:cxn>
                    <a:cxn ang="0">
                      <a:pos x="204" y="160"/>
                    </a:cxn>
                    <a:cxn ang="0">
                      <a:pos x="236" y="160"/>
                    </a:cxn>
                    <a:cxn ang="0">
                      <a:pos x="266" y="158"/>
                    </a:cxn>
                    <a:cxn ang="0">
                      <a:pos x="294" y="154"/>
                    </a:cxn>
                    <a:cxn ang="0">
                      <a:pos x="318" y="146"/>
                    </a:cxn>
                    <a:cxn ang="0">
                      <a:pos x="336" y="138"/>
                    </a:cxn>
                    <a:cxn ang="0">
                      <a:pos x="352" y="126"/>
                    </a:cxn>
                    <a:cxn ang="0">
                      <a:pos x="358" y="120"/>
                    </a:cxn>
                    <a:cxn ang="0">
                      <a:pos x="362" y="114"/>
                    </a:cxn>
                    <a:cxn ang="0">
                      <a:pos x="366" y="108"/>
                    </a:cxn>
                    <a:cxn ang="0">
                      <a:pos x="366" y="100"/>
                    </a:cxn>
                    <a:cxn ang="0">
                      <a:pos x="366" y="100"/>
                    </a:cxn>
                  </a:cxnLst>
                  <a:rect l="0" t="0" r="r" b="b"/>
                  <a:pathLst>
                    <a:path w="366" h="160">
                      <a:moveTo>
                        <a:pt x="366" y="100"/>
                      </a:moveTo>
                      <a:lnTo>
                        <a:pt x="366" y="100"/>
                      </a:lnTo>
                      <a:lnTo>
                        <a:pt x="366" y="92"/>
                      </a:lnTo>
                      <a:lnTo>
                        <a:pt x="364" y="84"/>
                      </a:lnTo>
                      <a:lnTo>
                        <a:pt x="362" y="76"/>
                      </a:lnTo>
                      <a:lnTo>
                        <a:pt x="356" y="68"/>
                      </a:lnTo>
                      <a:lnTo>
                        <a:pt x="348" y="60"/>
                      </a:lnTo>
                      <a:lnTo>
                        <a:pt x="340" y="54"/>
                      </a:lnTo>
                      <a:lnTo>
                        <a:pt x="318" y="38"/>
                      </a:lnTo>
                      <a:lnTo>
                        <a:pt x="292" y="26"/>
                      </a:lnTo>
                      <a:lnTo>
                        <a:pt x="262" y="16"/>
                      </a:lnTo>
                      <a:lnTo>
                        <a:pt x="228" y="8"/>
                      </a:lnTo>
                      <a:lnTo>
                        <a:pt x="192" y="2"/>
                      </a:lnTo>
                      <a:lnTo>
                        <a:pt x="192" y="2"/>
                      </a:lnTo>
                      <a:lnTo>
                        <a:pt x="154" y="0"/>
                      </a:lnTo>
                      <a:lnTo>
                        <a:pt x="120" y="0"/>
                      </a:lnTo>
                      <a:lnTo>
                        <a:pt x="88" y="4"/>
                      </a:lnTo>
                      <a:lnTo>
                        <a:pt x="60" y="10"/>
                      </a:lnTo>
                      <a:lnTo>
                        <a:pt x="38" y="18"/>
                      </a:lnTo>
                      <a:lnTo>
                        <a:pt x="18" y="30"/>
                      </a:lnTo>
                      <a:lnTo>
                        <a:pt x="12" y="36"/>
                      </a:lnTo>
                      <a:lnTo>
                        <a:pt x="6" y="42"/>
                      </a:lnTo>
                      <a:lnTo>
                        <a:pt x="2" y="50"/>
                      </a:lnTo>
                      <a:lnTo>
                        <a:pt x="0" y="58"/>
                      </a:lnTo>
                      <a:lnTo>
                        <a:pt x="0" y="58"/>
                      </a:lnTo>
                      <a:lnTo>
                        <a:pt x="2" y="64"/>
                      </a:lnTo>
                      <a:lnTo>
                        <a:pt x="4" y="70"/>
                      </a:lnTo>
                      <a:lnTo>
                        <a:pt x="4" y="70"/>
                      </a:lnTo>
                      <a:lnTo>
                        <a:pt x="6" y="78"/>
                      </a:lnTo>
                      <a:lnTo>
                        <a:pt x="4" y="84"/>
                      </a:lnTo>
                      <a:lnTo>
                        <a:pt x="4" y="84"/>
                      </a:lnTo>
                      <a:lnTo>
                        <a:pt x="12" y="96"/>
                      </a:lnTo>
                      <a:lnTo>
                        <a:pt x="24" y="106"/>
                      </a:lnTo>
                      <a:lnTo>
                        <a:pt x="38" y="116"/>
                      </a:lnTo>
                      <a:lnTo>
                        <a:pt x="54" y="126"/>
                      </a:lnTo>
                      <a:lnTo>
                        <a:pt x="74" y="134"/>
                      </a:lnTo>
                      <a:lnTo>
                        <a:pt x="94" y="142"/>
                      </a:lnTo>
                      <a:lnTo>
                        <a:pt x="118" y="148"/>
                      </a:lnTo>
                      <a:lnTo>
                        <a:pt x="142" y="154"/>
                      </a:lnTo>
                      <a:lnTo>
                        <a:pt x="142" y="154"/>
                      </a:lnTo>
                      <a:lnTo>
                        <a:pt x="174" y="156"/>
                      </a:lnTo>
                      <a:lnTo>
                        <a:pt x="204" y="160"/>
                      </a:lnTo>
                      <a:lnTo>
                        <a:pt x="204" y="160"/>
                      </a:lnTo>
                      <a:lnTo>
                        <a:pt x="236" y="160"/>
                      </a:lnTo>
                      <a:lnTo>
                        <a:pt x="266" y="158"/>
                      </a:lnTo>
                      <a:lnTo>
                        <a:pt x="294" y="154"/>
                      </a:lnTo>
                      <a:lnTo>
                        <a:pt x="318" y="146"/>
                      </a:lnTo>
                      <a:lnTo>
                        <a:pt x="336" y="138"/>
                      </a:lnTo>
                      <a:lnTo>
                        <a:pt x="352" y="126"/>
                      </a:lnTo>
                      <a:lnTo>
                        <a:pt x="358" y="120"/>
                      </a:lnTo>
                      <a:lnTo>
                        <a:pt x="362" y="114"/>
                      </a:lnTo>
                      <a:lnTo>
                        <a:pt x="366" y="108"/>
                      </a:lnTo>
                      <a:lnTo>
                        <a:pt x="366" y="100"/>
                      </a:lnTo>
                      <a:lnTo>
                        <a:pt x="366" y="10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Text" lastClr="000000"/>
                    </a:solidFill>
                    <a:latin typeface="+mn-lt"/>
                    <a:cs typeface="+mn-cs"/>
                  </a:endParaRPr>
                </a:p>
              </p:txBody>
            </p:sp>
            <p:sp>
              <p:nvSpPr>
                <p:cNvPr id="183" name="Freeform 44"/>
                <p:cNvSpPr>
                  <a:spLocks/>
                </p:cNvSpPr>
                <p:nvPr/>
              </p:nvSpPr>
              <p:spPr bwMode="auto">
                <a:xfrm>
                  <a:off x="6821953" y="3050274"/>
                  <a:ext cx="128987" cy="197740"/>
                </a:xfrm>
                <a:custGeom>
                  <a:avLst/>
                  <a:gdLst/>
                  <a:ahLst/>
                  <a:cxnLst>
                    <a:cxn ang="0">
                      <a:pos x="2" y="38"/>
                    </a:cxn>
                    <a:cxn ang="0">
                      <a:pos x="2" y="38"/>
                    </a:cxn>
                    <a:cxn ang="0">
                      <a:pos x="0" y="50"/>
                    </a:cxn>
                    <a:cxn ang="0">
                      <a:pos x="2" y="60"/>
                    </a:cxn>
                    <a:cxn ang="0">
                      <a:pos x="6" y="72"/>
                    </a:cxn>
                    <a:cxn ang="0">
                      <a:pos x="14" y="82"/>
                    </a:cxn>
                    <a:cxn ang="0">
                      <a:pos x="24" y="94"/>
                    </a:cxn>
                    <a:cxn ang="0">
                      <a:pos x="36" y="104"/>
                    </a:cxn>
                    <a:cxn ang="0">
                      <a:pos x="50" y="116"/>
                    </a:cxn>
                    <a:cxn ang="0">
                      <a:pos x="66" y="126"/>
                    </a:cxn>
                    <a:cxn ang="0">
                      <a:pos x="80" y="0"/>
                    </a:cxn>
                    <a:cxn ang="0">
                      <a:pos x="80" y="0"/>
                    </a:cxn>
                    <a:cxn ang="0">
                      <a:pos x="52" y="4"/>
                    </a:cxn>
                    <a:cxn ang="0">
                      <a:pos x="38" y="8"/>
                    </a:cxn>
                    <a:cxn ang="0">
                      <a:pos x="28" y="12"/>
                    </a:cxn>
                    <a:cxn ang="0">
                      <a:pos x="18" y="16"/>
                    </a:cxn>
                    <a:cxn ang="0">
                      <a:pos x="12" y="24"/>
                    </a:cxn>
                    <a:cxn ang="0">
                      <a:pos x="6" y="30"/>
                    </a:cxn>
                    <a:cxn ang="0">
                      <a:pos x="2" y="38"/>
                    </a:cxn>
                    <a:cxn ang="0">
                      <a:pos x="2" y="38"/>
                    </a:cxn>
                  </a:cxnLst>
                  <a:rect l="0" t="0" r="r" b="b"/>
                  <a:pathLst>
                    <a:path w="80" h="126">
                      <a:moveTo>
                        <a:pt x="2" y="38"/>
                      </a:moveTo>
                      <a:lnTo>
                        <a:pt x="2" y="38"/>
                      </a:lnTo>
                      <a:lnTo>
                        <a:pt x="0" y="50"/>
                      </a:lnTo>
                      <a:lnTo>
                        <a:pt x="2" y="60"/>
                      </a:lnTo>
                      <a:lnTo>
                        <a:pt x="6" y="72"/>
                      </a:lnTo>
                      <a:lnTo>
                        <a:pt x="14" y="82"/>
                      </a:lnTo>
                      <a:lnTo>
                        <a:pt x="24" y="94"/>
                      </a:lnTo>
                      <a:lnTo>
                        <a:pt x="36" y="104"/>
                      </a:lnTo>
                      <a:lnTo>
                        <a:pt x="50" y="116"/>
                      </a:lnTo>
                      <a:lnTo>
                        <a:pt x="66" y="126"/>
                      </a:lnTo>
                      <a:lnTo>
                        <a:pt x="80" y="0"/>
                      </a:lnTo>
                      <a:lnTo>
                        <a:pt x="80" y="0"/>
                      </a:lnTo>
                      <a:lnTo>
                        <a:pt x="52" y="4"/>
                      </a:lnTo>
                      <a:lnTo>
                        <a:pt x="38" y="8"/>
                      </a:lnTo>
                      <a:lnTo>
                        <a:pt x="28" y="12"/>
                      </a:lnTo>
                      <a:lnTo>
                        <a:pt x="18" y="16"/>
                      </a:lnTo>
                      <a:lnTo>
                        <a:pt x="12" y="24"/>
                      </a:lnTo>
                      <a:lnTo>
                        <a:pt x="6" y="30"/>
                      </a:lnTo>
                      <a:lnTo>
                        <a:pt x="2" y="38"/>
                      </a:lnTo>
                      <a:lnTo>
                        <a:pt x="2" y="38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Text" lastClr="000000"/>
                    </a:solidFill>
                    <a:latin typeface="+mn-lt"/>
                    <a:cs typeface="+mn-cs"/>
                  </a:endParaRPr>
                </a:p>
              </p:txBody>
            </p:sp>
            <p:sp>
              <p:nvSpPr>
                <p:cNvPr id="184" name="Freeform 12"/>
                <p:cNvSpPr>
                  <a:spLocks/>
                </p:cNvSpPr>
                <p:nvPr/>
              </p:nvSpPr>
              <p:spPr bwMode="auto">
                <a:xfrm>
                  <a:off x="4669472" y="5204461"/>
                  <a:ext cx="990600" cy="218440"/>
                </a:xfrm>
                <a:custGeom>
                  <a:avLst/>
                  <a:gdLst/>
                  <a:ahLst/>
                  <a:cxnLst>
                    <a:cxn ang="0">
                      <a:pos x="624" y="42"/>
                    </a:cxn>
                    <a:cxn ang="0">
                      <a:pos x="624" y="42"/>
                    </a:cxn>
                    <a:cxn ang="0">
                      <a:pos x="622" y="46"/>
                    </a:cxn>
                    <a:cxn ang="0">
                      <a:pos x="618" y="50"/>
                    </a:cxn>
                    <a:cxn ang="0">
                      <a:pos x="610" y="56"/>
                    </a:cxn>
                    <a:cxn ang="0">
                      <a:pos x="600" y="60"/>
                    </a:cxn>
                    <a:cxn ang="0">
                      <a:pos x="570" y="66"/>
                    </a:cxn>
                    <a:cxn ang="0">
                      <a:pos x="532" y="72"/>
                    </a:cxn>
                    <a:cxn ang="0">
                      <a:pos x="486" y="78"/>
                    </a:cxn>
                    <a:cxn ang="0">
                      <a:pos x="434" y="82"/>
                    </a:cxn>
                    <a:cxn ang="0">
                      <a:pos x="376" y="84"/>
                    </a:cxn>
                    <a:cxn ang="0">
                      <a:pos x="312" y="86"/>
                    </a:cxn>
                    <a:cxn ang="0">
                      <a:pos x="312" y="86"/>
                    </a:cxn>
                    <a:cxn ang="0">
                      <a:pos x="250" y="84"/>
                    </a:cxn>
                    <a:cxn ang="0">
                      <a:pos x="190" y="82"/>
                    </a:cxn>
                    <a:cxn ang="0">
                      <a:pos x="138" y="78"/>
                    </a:cxn>
                    <a:cxn ang="0">
                      <a:pos x="92" y="72"/>
                    </a:cxn>
                    <a:cxn ang="0">
                      <a:pos x="54" y="66"/>
                    </a:cxn>
                    <a:cxn ang="0">
                      <a:pos x="26" y="60"/>
                    </a:cxn>
                    <a:cxn ang="0">
                      <a:pos x="14" y="56"/>
                    </a:cxn>
                    <a:cxn ang="0">
                      <a:pos x="8" y="50"/>
                    </a:cxn>
                    <a:cxn ang="0">
                      <a:pos x="2" y="46"/>
                    </a:cxn>
                    <a:cxn ang="0">
                      <a:pos x="0" y="42"/>
                    </a:cxn>
                    <a:cxn ang="0">
                      <a:pos x="0" y="42"/>
                    </a:cxn>
                    <a:cxn ang="0">
                      <a:pos x="2" y="38"/>
                    </a:cxn>
                    <a:cxn ang="0">
                      <a:pos x="8" y="34"/>
                    </a:cxn>
                    <a:cxn ang="0">
                      <a:pos x="14" y="30"/>
                    </a:cxn>
                    <a:cxn ang="0">
                      <a:pos x="26" y="26"/>
                    </a:cxn>
                    <a:cxn ang="0">
                      <a:pos x="54" y="18"/>
                    </a:cxn>
                    <a:cxn ang="0">
                      <a:pos x="92" y="12"/>
                    </a:cxn>
                    <a:cxn ang="0">
                      <a:pos x="138" y="6"/>
                    </a:cxn>
                    <a:cxn ang="0">
                      <a:pos x="190" y="2"/>
                    </a:cxn>
                    <a:cxn ang="0">
                      <a:pos x="250" y="0"/>
                    </a:cxn>
                    <a:cxn ang="0">
                      <a:pos x="312" y="0"/>
                    </a:cxn>
                    <a:cxn ang="0">
                      <a:pos x="312" y="0"/>
                    </a:cxn>
                    <a:cxn ang="0">
                      <a:pos x="376" y="0"/>
                    </a:cxn>
                    <a:cxn ang="0">
                      <a:pos x="434" y="2"/>
                    </a:cxn>
                    <a:cxn ang="0">
                      <a:pos x="486" y="6"/>
                    </a:cxn>
                    <a:cxn ang="0">
                      <a:pos x="532" y="12"/>
                    </a:cxn>
                    <a:cxn ang="0">
                      <a:pos x="570" y="18"/>
                    </a:cxn>
                    <a:cxn ang="0">
                      <a:pos x="600" y="26"/>
                    </a:cxn>
                    <a:cxn ang="0">
                      <a:pos x="610" y="30"/>
                    </a:cxn>
                    <a:cxn ang="0">
                      <a:pos x="618" y="34"/>
                    </a:cxn>
                    <a:cxn ang="0">
                      <a:pos x="622" y="38"/>
                    </a:cxn>
                    <a:cxn ang="0">
                      <a:pos x="624" y="42"/>
                    </a:cxn>
                    <a:cxn ang="0">
                      <a:pos x="624" y="42"/>
                    </a:cxn>
                  </a:cxnLst>
                  <a:rect l="0" t="0" r="r" b="b"/>
                  <a:pathLst>
                    <a:path w="624" h="86">
                      <a:moveTo>
                        <a:pt x="624" y="42"/>
                      </a:moveTo>
                      <a:lnTo>
                        <a:pt x="624" y="42"/>
                      </a:lnTo>
                      <a:lnTo>
                        <a:pt x="622" y="46"/>
                      </a:lnTo>
                      <a:lnTo>
                        <a:pt x="618" y="50"/>
                      </a:lnTo>
                      <a:lnTo>
                        <a:pt x="610" y="56"/>
                      </a:lnTo>
                      <a:lnTo>
                        <a:pt x="600" y="60"/>
                      </a:lnTo>
                      <a:lnTo>
                        <a:pt x="570" y="66"/>
                      </a:lnTo>
                      <a:lnTo>
                        <a:pt x="532" y="72"/>
                      </a:lnTo>
                      <a:lnTo>
                        <a:pt x="486" y="78"/>
                      </a:lnTo>
                      <a:lnTo>
                        <a:pt x="434" y="82"/>
                      </a:lnTo>
                      <a:lnTo>
                        <a:pt x="376" y="84"/>
                      </a:lnTo>
                      <a:lnTo>
                        <a:pt x="312" y="86"/>
                      </a:lnTo>
                      <a:lnTo>
                        <a:pt x="312" y="86"/>
                      </a:lnTo>
                      <a:lnTo>
                        <a:pt x="250" y="84"/>
                      </a:lnTo>
                      <a:lnTo>
                        <a:pt x="190" y="82"/>
                      </a:lnTo>
                      <a:lnTo>
                        <a:pt x="138" y="78"/>
                      </a:lnTo>
                      <a:lnTo>
                        <a:pt x="92" y="72"/>
                      </a:lnTo>
                      <a:lnTo>
                        <a:pt x="54" y="66"/>
                      </a:lnTo>
                      <a:lnTo>
                        <a:pt x="26" y="60"/>
                      </a:lnTo>
                      <a:lnTo>
                        <a:pt x="14" y="56"/>
                      </a:lnTo>
                      <a:lnTo>
                        <a:pt x="8" y="50"/>
                      </a:lnTo>
                      <a:lnTo>
                        <a:pt x="2" y="46"/>
                      </a:lnTo>
                      <a:lnTo>
                        <a:pt x="0" y="42"/>
                      </a:lnTo>
                      <a:lnTo>
                        <a:pt x="0" y="42"/>
                      </a:lnTo>
                      <a:lnTo>
                        <a:pt x="2" y="38"/>
                      </a:lnTo>
                      <a:lnTo>
                        <a:pt x="8" y="34"/>
                      </a:lnTo>
                      <a:lnTo>
                        <a:pt x="14" y="30"/>
                      </a:lnTo>
                      <a:lnTo>
                        <a:pt x="26" y="26"/>
                      </a:lnTo>
                      <a:lnTo>
                        <a:pt x="54" y="18"/>
                      </a:lnTo>
                      <a:lnTo>
                        <a:pt x="92" y="12"/>
                      </a:lnTo>
                      <a:lnTo>
                        <a:pt x="138" y="6"/>
                      </a:lnTo>
                      <a:lnTo>
                        <a:pt x="190" y="2"/>
                      </a:lnTo>
                      <a:lnTo>
                        <a:pt x="250" y="0"/>
                      </a:lnTo>
                      <a:lnTo>
                        <a:pt x="312" y="0"/>
                      </a:lnTo>
                      <a:lnTo>
                        <a:pt x="312" y="0"/>
                      </a:lnTo>
                      <a:lnTo>
                        <a:pt x="376" y="0"/>
                      </a:lnTo>
                      <a:lnTo>
                        <a:pt x="434" y="2"/>
                      </a:lnTo>
                      <a:lnTo>
                        <a:pt x="486" y="6"/>
                      </a:lnTo>
                      <a:lnTo>
                        <a:pt x="532" y="12"/>
                      </a:lnTo>
                      <a:lnTo>
                        <a:pt x="570" y="18"/>
                      </a:lnTo>
                      <a:lnTo>
                        <a:pt x="600" y="26"/>
                      </a:lnTo>
                      <a:lnTo>
                        <a:pt x="610" y="30"/>
                      </a:lnTo>
                      <a:lnTo>
                        <a:pt x="618" y="34"/>
                      </a:lnTo>
                      <a:lnTo>
                        <a:pt x="622" y="38"/>
                      </a:lnTo>
                      <a:lnTo>
                        <a:pt x="624" y="42"/>
                      </a:lnTo>
                      <a:lnTo>
                        <a:pt x="624" y="42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Text" lastClr="000000"/>
                    </a:solidFill>
                    <a:latin typeface="+mn-lt"/>
                    <a:cs typeface="+mn-cs"/>
                  </a:endParaRPr>
                </a:p>
              </p:txBody>
            </p:sp>
            <p:sp>
              <p:nvSpPr>
                <p:cNvPr id="185" name="Freeform 12"/>
                <p:cNvSpPr>
                  <a:spLocks/>
                </p:cNvSpPr>
                <p:nvPr/>
              </p:nvSpPr>
              <p:spPr bwMode="auto">
                <a:xfrm>
                  <a:off x="4732309" y="5259828"/>
                  <a:ext cx="885735" cy="128965"/>
                </a:xfrm>
                <a:custGeom>
                  <a:avLst/>
                  <a:gdLst>
                    <a:gd name="T0" fmla="*/ 883920 w 624"/>
                    <a:gd name="T1" fmla="*/ 63263 h 86"/>
                    <a:gd name="T2" fmla="*/ 883920 w 624"/>
                    <a:gd name="T3" fmla="*/ 63263 h 86"/>
                    <a:gd name="T4" fmla="*/ 881087 w 624"/>
                    <a:gd name="T5" fmla="*/ 69288 h 86"/>
                    <a:gd name="T6" fmla="*/ 875421 w 624"/>
                    <a:gd name="T7" fmla="*/ 75313 h 86"/>
                    <a:gd name="T8" fmla="*/ 864088 w 624"/>
                    <a:gd name="T9" fmla="*/ 84351 h 86"/>
                    <a:gd name="T10" fmla="*/ 849923 w 624"/>
                    <a:gd name="T11" fmla="*/ 90376 h 86"/>
                    <a:gd name="T12" fmla="*/ 807427 w 624"/>
                    <a:gd name="T13" fmla="*/ 99414 h 86"/>
                    <a:gd name="T14" fmla="*/ 753599 w 624"/>
                    <a:gd name="T15" fmla="*/ 108451 h 86"/>
                    <a:gd name="T16" fmla="*/ 688438 w 624"/>
                    <a:gd name="T17" fmla="*/ 117489 h 86"/>
                    <a:gd name="T18" fmla="*/ 614778 w 624"/>
                    <a:gd name="T19" fmla="*/ 123514 h 86"/>
                    <a:gd name="T20" fmla="*/ 532618 w 624"/>
                    <a:gd name="T21" fmla="*/ 126526 h 86"/>
                    <a:gd name="T22" fmla="*/ 441960 w 624"/>
                    <a:gd name="T23" fmla="*/ 129539 h 86"/>
                    <a:gd name="T24" fmla="*/ 441960 w 624"/>
                    <a:gd name="T25" fmla="*/ 129539 h 86"/>
                    <a:gd name="T26" fmla="*/ 354135 w 624"/>
                    <a:gd name="T27" fmla="*/ 126526 h 86"/>
                    <a:gd name="T28" fmla="*/ 269142 w 624"/>
                    <a:gd name="T29" fmla="*/ 123514 h 86"/>
                    <a:gd name="T30" fmla="*/ 195482 w 624"/>
                    <a:gd name="T31" fmla="*/ 117489 h 86"/>
                    <a:gd name="T32" fmla="*/ 130322 w 624"/>
                    <a:gd name="T33" fmla="*/ 108451 h 86"/>
                    <a:gd name="T34" fmla="*/ 76493 w 624"/>
                    <a:gd name="T35" fmla="*/ 99414 h 86"/>
                    <a:gd name="T36" fmla="*/ 36830 w 624"/>
                    <a:gd name="T37" fmla="*/ 90376 h 86"/>
                    <a:gd name="T38" fmla="*/ 19832 w 624"/>
                    <a:gd name="T39" fmla="*/ 84351 h 86"/>
                    <a:gd name="T40" fmla="*/ 11332 w 624"/>
                    <a:gd name="T41" fmla="*/ 75313 h 86"/>
                    <a:gd name="T42" fmla="*/ 2833 w 624"/>
                    <a:gd name="T43" fmla="*/ 69288 h 86"/>
                    <a:gd name="T44" fmla="*/ 0 w 624"/>
                    <a:gd name="T45" fmla="*/ 63263 h 86"/>
                    <a:gd name="T46" fmla="*/ 0 w 624"/>
                    <a:gd name="T47" fmla="*/ 63263 h 86"/>
                    <a:gd name="T48" fmla="*/ 2833 w 624"/>
                    <a:gd name="T49" fmla="*/ 57238 h 86"/>
                    <a:gd name="T50" fmla="*/ 11332 w 624"/>
                    <a:gd name="T51" fmla="*/ 51213 h 86"/>
                    <a:gd name="T52" fmla="*/ 19832 w 624"/>
                    <a:gd name="T53" fmla="*/ 45188 h 86"/>
                    <a:gd name="T54" fmla="*/ 36830 w 624"/>
                    <a:gd name="T55" fmla="*/ 39163 h 86"/>
                    <a:gd name="T56" fmla="*/ 76493 w 624"/>
                    <a:gd name="T57" fmla="*/ 27113 h 86"/>
                    <a:gd name="T58" fmla="*/ 130322 w 624"/>
                    <a:gd name="T59" fmla="*/ 18075 h 86"/>
                    <a:gd name="T60" fmla="*/ 195482 w 624"/>
                    <a:gd name="T61" fmla="*/ 9038 h 86"/>
                    <a:gd name="T62" fmla="*/ 269142 w 624"/>
                    <a:gd name="T63" fmla="*/ 3013 h 86"/>
                    <a:gd name="T64" fmla="*/ 354135 w 624"/>
                    <a:gd name="T65" fmla="*/ 0 h 86"/>
                    <a:gd name="T66" fmla="*/ 441960 w 624"/>
                    <a:gd name="T67" fmla="*/ 0 h 86"/>
                    <a:gd name="T68" fmla="*/ 441960 w 624"/>
                    <a:gd name="T69" fmla="*/ 0 h 86"/>
                    <a:gd name="T70" fmla="*/ 532618 w 624"/>
                    <a:gd name="T71" fmla="*/ 0 h 86"/>
                    <a:gd name="T72" fmla="*/ 614778 w 624"/>
                    <a:gd name="T73" fmla="*/ 3013 h 86"/>
                    <a:gd name="T74" fmla="*/ 688438 w 624"/>
                    <a:gd name="T75" fmla="*/ 9038 h 86"/>
                    <a:gd name="T76" fmla="*/ 753599 w 624"/>
                    <a:gd name="T77" fmla="*/ 18075 h 86"/>
                    <a:gd name="T78" fmla="*/ 807427 w 624"/>
                    <a:gd name="T79" fmla="*/ 27113 h 86"/>
                    <a:gd name="T80" fmla="*/ 849923 w 624"/>
                    <a:gd name="T81" fmla="*/ 39163 h 86"/>
                    <a:gd name="T82" fmla="*/ 864088 w 624"/>
                    <a:gd name="T83" fmla="*/ 45188 h 86"/>
                    <a:gd name="T84" fmla="*/ 875421 w 624"/>
                    <a:gd name="T85" fmla="*/ 51213 h 86"/>
                    <a:gd name="T86" fmla="*/ 881087 w 624"/>
                    <a:gd name="T87" fmla="*/ 57238 h 86"/>
                    <a:gd name="T88" fmla="*/ 883920 w 624"/>
                    <a:gd name="T89" fmla="*/ 63263 h 86"/>
                    <a:gd name="T90" fmla="*/ 883920 w 624"/>
                    <a:gd name="T91" fmla="*/ 63263 h 8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w 624"/>
                    <a:gd name="T139" fmla="*/ 0 h 86"/>
                    <a:gd name="T140" fmla="*/ 624 w 624"/>
                    <a:gd name="T141" fmla="*/ 86 h 86"/>
                  </a:gdLst>
                  <a:ahLst/>
                  <a:cxnLst>
                    <a:cxn ang="T92">
                      <a:pos x="T0" y="T1"/>
                    </a:cxn>
                    <a:cxn ang="T93">
                      <a:pos x="T2" y="T3"/>
                    </a:cxn>
                    <a:cxn ang="T94">
                      <a:pos x="T4" y="T5"/>
                    </a:cxn>
                    <a:cxn ang="T95">
                      <a:pos x="T6" y="T7"/>
                    </a:cxn>
                    <a:cxn ang="T96">
                      <a:pos x="T8" y="T9"/>
                    </a:cxn>
                    <a:cxn ang="T97">
                      <a:pos x="T10" y="T11"/>
                    </a:cxn>
                    <a:cxn ang="T98">
                      <a:pos x="T12" y="T13"/>
                    </a:cxn>
                    <a:cxn ang="T99">
                      <a:pos x="T14" y="T15"/>
                    </a:cxn>
                    <a:cxn ang="T100">
                      <a:pos x="T16" y="T17"/>
                    </a:cxn>
                    <a:cxn ang="T101">
                      <a:pos x="T18" y="T19"/>
                    </a:cxn>
                    <a:cxn ang="T102">
                      <a:pos x="T20" y="T21"/>
                    </a:cxn>
                    <a:cxn ang="T103">
                      <a:pos x="T22" y="T23"/>
                    </a:cxn>
                    <a:cxn ang="T104">
                      <a:pos x="T24" y="T25"/>
                    </a:cxn>
                    <a:cxn ang="T105">
                      <a:pos x="T26" y="T27"/>
                    </a:cxn>
                    <a:cxn ang="T106">
                      <a:pos x="T28" y="T29"/>
                    </a:cxn>
                    <a:cxn ang="T107">
                      <a:pos x="T30" y="T31"/>
                    </a:cxn>
                    <a:cxn ang="T108">
                      <a:pos x="T32" y="T33"/>
                    </a:cxn>
                    <a:cxn ang="T109">
                      <a:pos x="T34" y="T35"/>
                    </a:cxn>
                    <a:cxn ang="T110">
                      <a:pos x="T36" y="T37"/>
                    </a:cxn>
                    <a:cxn ang="T111">
                      <a:pos x="T38" y="T39"/>
                    </a:cxn>
                    <a:cxn ang="T112">
                      <a:pos x="T40" y="T41"/>
                    </a:cxn>
                    <a:cxn ang="T113">
                      <a:pos x="T42" y="T43"/>
                    </a:cxn>
                    <a:cxn ang="T114">
                      <a:pos x="T44" y="T45"/>
                    </a:cxn>
                    <a:cxn ang="T115">
                      <a:pos x="T46" y="T47"/>
                    </a:cxn>
                    <a:cxn ang="T116">
                      <a:pos x="T48" y="T49"/>
                    </a:cxn>
                    <a:cxn ang="T117">
                      <a:pos x="T50" y="T51"/>
                    </a:cxn>
                    <a:cxn ang="T118">
                      <a:pos x="T52" y="T53"/>
                    </a:cxn>
                    <a:cxn ang="T119">
                      <a:pos x="T54" y="T55"/>
                    </a:cxn>
                    <a:cxn ang="T120">
                      <a:pos x="T56" y="T57"/>
                    </a:cxn>
                    <a:cxn ang="T121">
                      <a:pos x="T58" y="T59"/>
                    </a:cxn>
                    <a:cxn ang="T122">
                      <a:pos x="T60" y="T61"/>
                    </a:cxn>
                    <a:cxn ang="T123">
                      <a:pos x="T62" y="T63"/>
                    </a:cxn>
                    <a:cxn ang="T124">
                      <a:pos x="T64" y="T65"/>
                    </a:cxn>
                    <a:cxn ang="T125">
                      <a:pos x="T66" y="T67"/>
                    </a:cxn>
                    <a:cxn ang="T126">
                      <a:pos x="T68" y="T69"/>
                    </a:cxn>
                    <a:cxn ang="T127">
                      <a:pos x="T70" y="T71"/>
                    </a:cxn>
                    <a:cxn ang="T128">
                      <a:pos x="T72" y="T73"/>
                    </a:cxn>
                    <a:cxn ang="T129">
                      <a:pos x="T74" y="T75"/>
                    </a:cxn>
                    <a:cxn ang="T130">
                      <a:pos x="T76" y="T77"/>
                    </a:cxn>
                    <a:cxn ang="T131">
                      <a:pos x="T78" y="T79"/>
                    </a:cxn>
                    <a:cxn ang="T132">
                      <a:pos x="T80" y="T81"/>
                    </a:cxn>
                    <a:cxn ang="T133">
                      <a:pos x="T82" y="T83"/>
                    </a:cxn>
                    <a:cxn ang="T134">
                      <a:pos x="T84" y="T85"/>
                    </a:cxn>
                    <a:cxn ang="T135">
                      <a:pos x="T86" y="T87"/>
                    </a:cxn>
                    <a:cxn ang="T136">
                      <a:pos x="T88" y="T89"/>
                    </a:cxn>
                    <a:cxn ang="T137">
                      <a:pos x="T90" y="T91"/>
                    </a:cxn>
                  </a:cxnLst>
                  <a:rect l="T138" t="T139" r="T140" b="T141"/>
                  <a:pathLst>
                    <a:path w="624" h="86">
                      <a:moveTo>
                        <a:pt x="624" y="42"/>
                      </a:moveTo>
                      <a:lnTo>
                        <a:pt x="624" y="42"/>
                      </a:lnTo>
                      <a:lnTo>
                        <a:pt x="622" y="46"/>
                      </a:lnTo>
                      <a:lnTo>
                        <a:pt x="618" y="50"/>
                      </a:lnTo>
                      <a:lnTo>
                        <a:pt x="610" y="56"/>
                      </a:lnTo>
                      <a:lnTo>
                        <a:pt x="600" y="60"/>
                      </a:lnTo>
                      <a:lnTo>
                        <a:pt x="570" y="66"/>
                      </a:lnTo>
                      <a:lnTo>
                        <a:pt x="532" y="72"/>
                      </a:lnTo>
                      <a:lnTo>
                        <a:pt x="486" y="78"/>
                      </a:lnTo>
                      <a:lnTo>
                        <a:pt x="434" y="82"/>
                      </a:lnTo>
                      <a:lnTo>
                        <a:pt x="376" y="84"/>
                      </a:lnTo>
                      <a:lnTo>
                        <a:pt x="312" y="86"/>
                      </a:lnTo>
                      <a:lnTo>
                        <a:pt x="250" y="84"/>
                      </a:lnTo>
                      <a:lnTo>
                        <a:pt x="190" y="82"/>
                      </a:lnTo>
                      <a:lnTo>
                        <a:pt x="138" y="78"/>
                      </a:lnTo>
                      <a:lnTo>
                        <a:pt x="92" y="72"/>
                      </a:lnTo>
                      <a:lnTo>
                        <a:pt x="54" y="66"/>
                      </a:lnTo>
                      <a:lnTo>
                        <a:pt x="26" y="60"/>
                      </a:lnTo>
                      <a:lnTo>
                        <a:pt x="14" y="56"/>
                      </a:lnTo>
                      <a:lnTo>
                        <a:pt x="8" y="50"/>
                      </a:lnTo>
                      <a:lnTo>
                        <a:pt x="2" y="46"/>
                      </a:lnTo>
                      <a:lnTo>
                        <a:pt x="0" y="42"/>
                      </a:lnTo>
                      <a:lnTo>
                        <a:pt x="2" y="38"/>
                      </a:lnTo>
                      <a:lnTo>
                        <a:pt x="8" y="34"/>
                      </a:lnTo>
                      <a:lnTo>
                        <a:pt x="14" y="30"/>
                      </a:lnTo>
                      <a:lnTo>
                        <a:pt x="26" y="26"/>
                      </a:lnTo>
                      <a:lnTo>
                        <a:pt x="54" y="18"/>
                      </a:lnTo>
                      <a:lnTo>
                        <a:pt x="92" y="12"/>
                      </a:lnTo>
                      <a:lnTo>
                        <a:pt x="138" y="6"/>
                      </a:lnTo>
                      <a:lnTo>
                        <a:pt x="190" y="2"/>
                      </a:lnTo>
                      <a:lnTo>
                        <a:pt x="250" y="0"/>
                      </a:lnTo>
                      <a:lnTo>
                        <a:pt x="312" y="0"/>
                      </a:lnTo>
                      <a:lnTo>
                        <a:pt x="376" y="0"/>
                      </a:lnTo>
                      <a:lnTo>
                        <a:pt x="434" y="2"/>
                      </a:lnTo>
                      <a:lnTo>
                        <a:pt x="486" y="6"/>
                      </a:lnTo>
                      <a:lnTo>
                        <a:pt x="532" y="12"/>
                      </a:lnTo>
                      <a:lnTo>
                        <a:pt x="570" y="18"/>
                      </a:lnTo>
                      <a:lnTo>
                        <a:pt x="600" y="26"/>
                      </a:lnTo>
                      <a:lnTo>
                        <a:pt x="610" y="30"/>
                      </a:lnTo>
                      <a:lnTo>
                        <a:pt x="618" y="34"/>
                      </a:lnTo>
                      <a:lnTo>
                        <a:pt x="622" y="38"/>
                      </a:lnTo>
                      <a:lnTo>
                        <a:pt x="624" y="42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Text" lastClr="000000"/>
                    </a:solidFill>
                    <a:latin typeface="+mn-lt"/>
                    <a:cs typeface="+mn-cs"/>
                  </a:endParaRPr>
                </a:p>
              </p:txBody>
            </p:sp>
          </p:grpSp>
          <p:sp>
            <p:nvSpPr>
              <p:cNvPr id="164" name="Freeform 57"/>
              <p:cNvSpPr>
                <a:spLocks/>
              </p:cNvSpPr>
              <p:nvPr/>
            </p:nvSpPr>
            <p:spPr bwMode="auto">
              <a:xfrm flipH="1">
                <a:off x="3322767" y="5655480"/>
                <a:ext cx="22864" cy="19046"/>
              </a:xfrm>
              <a:custGeom>
                <a:avLst/>
                <a:gdLst/>
                <a:ahLst/>
                <a:cxnLst>
                  <a:cxn ang="0">
                    <a:pos x="42" y="26"/>
                  </a:cxn>
                  <a:cxn ang="0">
                    <a:pos x="42" y="26"/>
                  </a:cxn>
                  <a:cxn ang="0">
                    <a:pos x="56" y="16"/>
                  </a:cxn>
                  <a:cxn ang="0">
                    <a:pos x="74" y="10"/>
                  </a:cxn>
                  <a:cxn ang="0">
                    <a:pos x="92" y="4"/>
                  </a:cxn>
                  <a:cxn ang="0">
                    <a:pos x="112" y="0"/>
                  </a:cxn>
                  <a:cxn ang="0">
                    <a:pos x="112" y="0"/>
                  </a:cxn>
                  <a:cxn ang="0">
                    <a:pos x="128" y="2"/>
                  </a:cxn>
                  <a:cxn ang="0">
                    <a:pos x="142" y="4"/>
                  </a:cxn>
                  <a:cxn ang="0">
                    <a:pos x="142" y="4"/>
                  </a:cxn>
                  <a:cxn ang="0">
                    <a:pos x="156" y="8"/>
                  </a:cxn>
                  <a:cxn ang="0">
                    <a:pos x="164" y="10"/>
                  </a:cxn>
                  <a:cxn ang="0">
                    <a:pos x="168" y="14"/>
                  </a:cxn>
                  <a:cxn ang="0">
                    <a:pos x="168" y="14"/>
                  </a:cxn>
                  <a:cxn ang="0">
                    <a:pos x="168" y="16"/>
                  </a:cxn>
                  <a:cxn ang="0">
                    <a:pos x="166" y="16"/>
                  </a:cxn>
                  <a:cxn ang="0">
                    <a:pos x="158" y="20"/>
                  </a:cxn>
                  <a:cxn ang="0">
                    <a:pos x="142" y="24"/>
                  </a:cxn>
                  <a:cxn ang="0">
                    <a:pos x="142" y="24"/>
                  </a:cxn>
                  <a:cxn ang="0">
                    <a:pos x="120" y="32"/>
                  </a:cxn>
                  <a:cxn ang="0">
                    <a:pos x="102" y="42"/>
                  </a:cxn>
                  <a:cxn ang="0">
                    <a:pos x="84" y="52"/>
                  </a:cxn>
                  <a:cxn ang="0">
                    <a:pos x="70" y="66"/>
                  </a:cxn>
                  <a:cxn ang="0">
                    <a:pos x="70" y="66"/>
                  </a:cxn>
                  <a:cxn ang="0">
                    <a:pos x="52" y="84"/>
                  </a:cxn>
                  <a:cxn ang="0">
                    <a:pos x="40" y="102"/>
                  </a:cxn>
                  <a:cxn ang="0">
                    <a:pos x="40" y="102"/>
                  </a:cxn>
                  <a:cxn ang="0">
                    <a:pos x="26" y="140"/>
                  </a:cxn>
                  <a:cxn ang="0">
                    <a:pos x="26" y="140"/>
                  </a:cxn>
                  <a:cxn ang="0">
                    <a:pos x="18" y="138"/>
                  </a:cxn>
                  <a:cxn ang="0">
                    <a:pos x="14" y="134"/>
                  </a:cxn>
                  <a:cxn ang="0">
                    <a:pos x="8" y="130"/>
                  </a:cxn>
                  <a:cxn ang="0">
                    <a:pos x="6" y="122"/>
                  </a:cxn>
                  <a:cxn ang="0">
                    <a:pos x="2" y="108"/>
                  </a:cxn>
                  <a:cxn ang="0">
                    <a:pos x="0" y="94"/>
                  </a:cxn>
                  <a:cxn ang="0">
                    <a:pos x="0" y="94"/>
                  </a:cxn>
                  <a:cxn ang="0">
                    <a:pos x="2" y="86"/>
                  </a:cxn>
                  <a:cxn ang="0">
                    <a:pos x="4" y="76"/>
                  </a:cxn>
                  <a:cxn ang="0">
                    <a:pos x="14" y="58"/>
                  </a:cxn>
                  <a:cxn ang="0">
                    <a:pos x="28" y="42"/>
                  </a:cxn>
                  <a:cxn ang="0">
                    <a:pos x="42" y="26"/>
                  </a:cxn>
                  <a:cxn ang="0">
                    <a:pos x="42" y="26"/>
                  </a:cxn>
                </a:cxnLst>
                <a:rect l="0" t="0" r="r" b="b"/>
                <a:pathLst>
                  <a:path w="168" h="140">
                    <a:moveTo>
                      <a:pt x="42" y="26"/>
                    </a:moveTo>
                    <a:lnTo>
                      <a:pt x="42" y="26"/>
                    </a:lnTo>
                    <a:lnTo>
                      <a:pt x="56" y="16"/>
                    </a:lnTo>
                    <a:lnTo>
                      <a:pt x="74" y="10"/>
                    </a:lnTo>
                    <a:lnTo>
                      <a:pt x="92" y="4"/>
                    </a:lnTo>
                    <a:lnTo>
                      <a:pt x="112" y="0"/>
                    </a:lnTo>
                    <a:lnTo>
                      <a:pt x="112" y="0"/>
                    </a:lnTo>
                    <a:lnTo>
                      <a:pt x="128" y="2"/>
                    </a:lnTo>
                    <a:lnTo>
                      <a:pt x="142" y="4"/>
                    </a:lnTo>
                    <a:lnTo>
                      <a:pt x="142" y="4"/>
                    </a:lnTo>
                    <a:lnTo>
                      <a:pt x="156" y="8"/>
                    </a:lnTo>
                    <a:lnTo>
                      <a:pt x="164" y="10"/>
                    </a:lnTo>
                    <a:lnTo>
                      <a:pt x="168" y="14"/>
                    </a:lnTo>
                    <a:lnTo>
                      <a:pt x="168" y="14"/>
                    </a:lnTo>
                    <a:lnTo>
                      <a:pt x="168" y="16"/>
                    </a:lnTo>
                    <a:lnTo>
                      <a:pt x="166" y="16"/>
                    </a:lnTo>
                    <a:lnTo>
                      <a:pt x="158" y="20"/>
                    </a:lnTo>
                    <a:lnTo>
                      <a:pt x="142" y="24"/>
                    </a:lnTo>
                    <a:lnTo>
                      <a:pt x="142" y="24"/>
                    </a:lnTo>
                    <a:lnTo>
                      <a:pt x="120" y="32"/>
                    </a:lnTo>
                    <a:lnTo>
                      <a:pt x="102" y="42"/>
                    </a:lnTo>
                    <a:lnTo>
                      <a:pt x="84" y="52"/>
                    </a:lnTo>
                    <a:lnTo>
                      <a:pt x="70" y="66"/>
                    </a:lnTo>
                    <a:lnTo>
                      <a:pt x="70" y="66"/>
                    </a:lnTo>
                    <a:lnTo>
                      <a:pt x="52" y="84"/>
                    </a:lnTo>
                    <a:lnTo>
                      <a:pt x="40" y="102"/>
                    </a:lnTo>
                    <a:lnTo>
                      <a:pt x="40" y="102"/>
                    </a:lnTo>
                    <a:lnTo>
                      <a:pt x="26" y="140"/>
                    </a:lnTo>
                    <a:lnTo>
                      <a:pt x="26" y="140"/>
                    </a:lnTo>
                    <a:lnTo>
                      <a:pt x="18" y="138"/>
                    </a:lnTo>
                    <a:lnTo>
                      <a:pt x="14" y="134"/>
                    </a:lnTo>
                    <a:lnTo>
                      <a:pt x="8" y="130"/>
                    </a:lnTo>
                    <a:lnTo>
                      <a:pt x="6" y="122"/>
                    </a:lnTo>
                    <a:lnTo>
                      <a:pt x="2" y="108"/>
                    </a:lnTo>
                    <a:lnTo>
                      <a:pt x="0" y="94"/>
                    </a:lnTo>
                    <a:lnTo>
                      <a:pt x="0" y="94"/>
                    </a:lnTo>
                    <a:lnTo>
                      <a:pt x="2" y="86"/>
                    </a:lnTo>
                    <a:lnTo>
                      <a:pt x="4" y="76"/>
                    </a:lnTo>
                    <a:lnTo>
                      <a:pt x="14" y="58"/>
                    </a:lnTo>
                    <a:lnTo>
                      <a:pt x="28" y="42"/>
                    </a:lnTo>
                    <a:lnTo>
                      <a:pt x="42" y="26"/>
                    </a:lnTo>
                    <a:lnTo>
                      <a:pt x="42" y="26"/>
                    </a:lnTo>
                    <a:close/>
                  </a:path>
                </a:pathLst>
              </a:custGeom>
              <a:grpFill/>
              <a:ln w="9525" cap="flat" cmpd="sng" algn="ctr">
                <a:noFill/>
                <a:prstDash val="solid"/>
              </a:ln>
              <a:effectLst/>
            </p:spPr>
            <p:txBody>
              <a:bodyPr anchor="ctr"/>
              <a:lstStyle/>
              <a:p>
                <a:pPr marL="342900" indent="-342900" algn="ctr" fontAlgn="auto">
                  <a:spcBef>
                    <a:spcPts val="0"/>
                  </a:spcBef>
                  <a:spcAft>
                    <a:spcPts val="0"/>
                  </a:spcAft>
                  <a:buFont typeface="+mj-lt"/>
                  <a:buAutoNum type="arabicPeriod"/>
                  <a:defRPr/>
                </a:pPr>
                <a:endParaRPr lang="da-DK" kern="0" dirty="0">
                  <a:solidFill>
                    <a:sysClr val="window" lastClr="FFFFFF"/>
                  </a:solidFill>
                  <a:latin typeface="Calibri"/>
                  <a:cs typeface="+mn-cs"/>
                </a:endParaRPr>
              </a:p>
            </p:txBody>
          </p:sp>
          <p:sp>
            <p:nvSpPr>
              <p:cNvPr id="165" name="Freeform 57"/>
              <p:cNvSpPr>
                <a:spLocks/>
              </p:cNvSpPr>
              <p:nvPr/>
            </p:nvSpPr>
            <p:spPr bwMode="auto">
              <a:xfrm flipH="1">
                <a:off x="3282071" y="5649933"/>
                <a:ext cx="22864" cy="19046"/>
              </a:xfrm>
              <a:custGeom>
                <a:avLst/>
                <a:gdLst/>
                <a:ahLst/>
                <a:cxnLst>
                  <a:cxn ang="0">
                    <a:pos x="42" y="26"/>
                  </a:cxn>
                  <a:cxn ang="0">
                    <a:pos x="42" y="26"/>
                  </a:cxn>
                  <a:cxn ang="0">
                    <a:pos x="56" y="16"/>
                  </a:cxn>
                  <a:cxn ang="0">
                    <a:pos x="74" y="10"/>
                  </a:cxn>
                  <a:cxn ang="0">
                    <a:pos x="92" y="4"/>
                  </a:cxn>
                  <a:cxn ang="0">
                    <a:pos x="112" y="0"/>
                  </a:cxn>
                  <a:cxn ang="0">
                    <a:pos x="112" y="0"/>
                  </a:cxn>
                  <a:cxn ang="0">
                    <a:pos x="128" y="2"/>
                  </a:cxn>
                  <a:cxn ang="0">
                    <a:pos x="142" y="4"/>
                  </a:cxn>
                  <a:cxn ang="0">
                    <a:pos x="142" y="4"/>
                  </a:cxn>
                  <a:cxn ang="0">
                    <a:pos x="156" y="8"/>
                  </a:cxn>
                  <a:cxn ang="0">
                    <a:pos x="164" y="10"/>
                  </a:cxn>
                  <a:cxn ang="0">
                    <a:pos x="168" y="14"/>
                  </a:cxn>
                  <a:cxn ang="0">
                    <a:pos x="168" y="14"/>
                  </a:cxn>
                  <a:cxn ang="0">
                    <a:pos x="168" y="16"/>
                  </a:cxn>
                  <a:cxn ang="0">
                    <a:pos x="166" y="16"/>
                  </a:cxn>
                  <a:cxn ang="0">
                    <a:pos x="158" y="20"/>
                  </a:cxn>
                  <a:cxn ang="0">
                    <a:pos x="142" y="24"/>
                  </a:cxn>
                  <a:cxn ang="0">
                    <a:pos x="142" y="24"/>
                  </a:cxn>
                  <a:cxn ang="0">
                    <a:pos x="120" y="32"/>
                  </a:cxn>
                  <a:cxn ang="0">
                    <a:pos x="102" y="42"/>
                  </a:cxn>
                  <a:cxn ang="0">
                    <a:pos x="84" y="52"/>
                  </a:cxn>
                  <a:cxn ang="0">
                    <a:pos x="70" y="66"/>
                  </a:cxn>
                  <a:cxn ang="0">
                    <a:pos x="70" y="66"/>
                  </a:cxn>
                  <a:cxn ang="0">
                    <a:pos x="52" y="84"/>
                  </a:cxn>
                  <a:cxn ang="0">
                    <a:pos x="40" y="102"/>
                  </a:cxn>
                  <a:cxn ang="0">
                    <a:pos x="40" y="102"/>
                  </a:cxn>
                  <a:cxn ang="0">
                    <a:pos x="26" y="140"/>
                  </a:cxn>
                  <a:cxn ang="0">
                    <a:pos x="26" y="140"/>
                  </a:cxn>
                  <a:cxn ang="0">
                    <a:pos x="18" y="138"/>
                  </a:cxn>
                  <a:cxn ang="0">
                    <a:pos x="14" y="134"/>
                  </a:cxn>
                  <a:cxn ang="0">
                    <a:pos x="8" y="130"/>
                  </a:cxn>
                  <a:cxn ang="0">
                    <a:pos x="6" y="122"/>
                  </a:cxn>
                  <a:cxn ang="0">
                    <a:pos x="2" y="108"/>
                  </a:cxn>
                  <a:cxn ang="0">
                    <a:pos x="0" y="94"/>
                  </a:cxn>
                  <a:cxn ang="0">
                    <a:pos x="0" y="94"/>
                  </a:cxn>
                  <a:cxn ang="0">
                    <a:pos x="2" y="86"/>
                  </a:cxn>
                  <a:cxn ang="0">
                    <a:pos x="4" y="76"/>
                  </a:cxn>
                  <a:cxn ang="0">
                    <a:pos x="14" y="58"/>
                  </a:cxn>
                  <a:cxn ang="0">
                    <a:pos x="28" y="42"/>
                  </a:cxn>
                  <a:cxn ang="0">
                    <a:pos x="42" y="26"/>
                  </a:cxn>
                  <a:cxn ang="0">
                    <a:pos x="42" y="26"/>
                  </a:cxn>
                </a:cxnLst>
                <a:rect l="0" t="0" r="r" b="b"/>
                <a:pathLst>
                  <a:path w="168" h="140">
                    <a:moveTo>
                      <a:pt x="42" y="26"/>
                    </a:moveTo>
                    <a:lnTo>
                      <a:pt x="42" y="26"/>
                    </a:lnTo>
                    <a:lnTo>
                      <a:pt x="56" y="16"/>
                    </a:lnTo>
                    <a:lnTo>
                      <a:pt x="74" y="10"/>
                    </a:lnTo>
                    <a:lnTo>
                      <a:pt x="92" y="4"/>
                    </a:lnTo>
                    <a:lnTo>
                      <a:pt x="112" y="0"/>
                    </a:lnTo>
                    <a:lnTo>
                      <a:pt x="112" y="0"/>
                    </a:lnTo>
                    <a:lnTo>
                      <a:pt x="128" y="2"/>
                    </a:lnTo>
                    <a:lnTo>
                      <a:pt x="142" y="4"/>
                    </a:lnTo>
                    <a:lnTo>
                      <a:pt x="142" y="4"/>
                    </a:lnTo>
                    <a:lnTo>
                      <a:pt x="156" y="8"/>
                    </a:lnTo>
                    <a:lnTo>
                      <a:pt x="164" y="10"/>
                    </a:lnTo>
                    <a:lnTo>
                      <a:pt x="168" y="14"/>
                    </a:lnTo>
                    <a:lnTo>
                      <a:pt x="168" y="14"/>
                    </a:lnTo>
                    <a:lnTo>
                      <a:pt x="168" y="16"/>
                    </a:lnTo>
                    <a:lnTo>
                      <a:pt x="166" y="16"/>
                    </a:lnTo>
                    <a:lnTo>
                      <a:pt x="158" y="20"/>
                    </a:lnTo>
                    <a:lnTo>
                      <a:pt x="142" y="24"/>
                    </a:lnTo>
                    <a:lnTo>
                      <a:pt x="142" y="24"/>
                    </a:lnTo>
                    <a:lnTo>
                      <a:pt x="120" y="32"/>
                    </a:lnTo>
                    <a:lnTo>
                      <a:pt x="102" y="42"/>
                    </a:lnTo>
                    <a:lnTo>
                      <a:pt x="84" y="52"/>
                    </a:lnTo>
                    <a:lnTo>
                      <a:pt x="70" y="66"/>
                    </a:lnTo>
                    <a:lnTo>
                      <a:pt x="70" y="66"/>
                    </a:lnTo>
                    <a:lnTo>
                      <a:pt x="52" y="84"/>
                    </a:lnTo>
                    <a:lnTo>
                      <a:pt x="40" y="102"/>
                    </a:lnTo>
                    <a:lnTo>
                      <a:pt x="40" y="102"/>
                    </a:lnTo>
                    <a:lnTo>
                      <a:pt x="26" y="140"/>
                    </a:lnTo>
                    <a:lnTo>
                      <a:pt x="26" y="140"/>
                    </a:lnTo>
                    <a:lnTo>
                      <a:pt x="18" y="138"/>
                    </a:lnTo>
                    <a:lnTo>
                      <a:pt x="14" y="134"/>
                    </a:lnTo>
                    <a:lnTo>
                      <a:pt x="8" y="130"/>
                    </a:lnTo>
                    <a:lnTo>
                      <a:pt x="6" y="122"/>
                    </a:lnTo>
                    <a:lnTo>
                      <a:pt x="2" y="108"/>
                    </a:lnTo>
                    <a:lnTo>
                      <a:pt x="0" y="94"/>
                    </a:lnTo>
                    <a:lnTo>
                      <a:pt x="0" y="94"/>
                    </a:lnTo>
                    <a:lnTo>
                      <a:pt x="2" y="86"/>
                    </a:lnTo>
                    <a:lnTo>
                      <a:pt x="4" y="76"/>
                    </a:lnTo>
                    <a:lnTo>
                      <a:pt x="14" y="58"/>
                    </a:lnTo>
                    <a:lnTo>
                      <a:pt x="28" y="42"/>
                    </a:lnTo>
                    <a:lnTo>
                      <a:pt x="42" y="26"/>
                    </a:lnTo>
                    <a:lnTo>
                      <a:pt x="42" y="26"/>
                    </a:lnTo>
                    <a:close/>
                  </a:path>
                </a:pathLst>
              </a:custGeom>
              <a:grpFill/>
              <a:ln w="9525" cap="flat" cmpd="sng" algn="ctr">
                <a:noFill/>
                <a:prstDash val="solid"/>
              </a:ln>
              <a:effectLst/>
            </p:spPr>
            <p:txBody>
              <a:bodyPr anchor="ctr"/>
              <a:lstStyle/>
              <a:p>
                <a:pPr marL="342900" indent="-342900" algn="ctr" fontAlgn="auto">
                  <a:spcBef>
                    <a:spcPts val="0"/>
                  </a:spcBef>
                  <a:spcAft>
                    <a:spcPts val="0"/>
                  </a:spcAft>
                  <a:buFont typeface="+mj-lt"/>
                  <a:buAutoNum type="arabicPeriod"/>
                  <a:defRPr/>
                </a:pPr>
                <a:endParaRPr lang="da-DK" kern="0" dirty="0">
                  <a:solidFill>
                    <a:sysClr val="window" lastClr="FFFFFF"/>
                  </a:solidFill>
                  <a:latin typeface="Calibri"/>
                  <a:cs typeface="+mn-cs"/>
                </a:endParaRPr>
              </a:p>
            </p:txBody>
          </p:sp>
          <p:sp>
            <p:nvSpPr>
              <p:cNvPr id="166" name="Cylinder 287"/>
              <p:cNvSpPr/>
              <p:nvPr/>
            </p:nvSpPr>
            <p:spPr bwMode="auto">
              <a:xfrm rot="10800000" flipH="1">
                <a:off x="3127045" y="5547371"/>
                <a:ext cx="107222" cy="277696"/>
              </a:xfrm>
              <a:prstGeom prst="can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342900" indent="-342900" fontAlgn="auto">
                  <a:spcBef>
                    <a:spcPts val="0"/>
                  </a:spcBef>
                  <a:spcAft>
                    <a:spcPts val="0"/>
                  </a:spcAft>
                  <a:buFont typeface="+mj-lt"/>
                  <a:buAutoNum type="arabicPeriod"/>
                  <a:defRPr/>
                </a:pPr>
                <a:endParaRPr lang="da-DK" kern="0" dirty="0">
                  <a:solidFill>
                    <a:sysClr val="windowText" lastClr="000000"/>
                  </a:solidFill>
                  <a:latin typeface="+mn-lt"/>
                  <a:cs typeface="+mn-cs"/>
                </a:endParaRPr>
              </a:p>
            </p:txBody>
          </p:sp>
          <p:sp>
            <p:nvSpPr>
              <p:cNvPr id="167" name="Freeform 57"/>
              <p:cNvSpPr>
                <a:spLocks/>
              </p:cNvSpPr>
              <p:nvPr/>
            </p:nvSpPr>
            <p:spPr bwMode="auto">
              <a:xfrm flipH="1">
                <a:off x="3431532" y="5657700"/>
                <a:ext cx="22864" cy="19046"/>
              </a:xfrm>
              <a:custGeom>
                <a:avLst/>
                <a:gdLst/>
                <a:ahLst/>
                <a:cxnLst>
                  <a:cxn ang="0">
                    <a:pos x="42" y="26"/>
                  </a:cxn>
                  <a:cxn ang="0">
                    <a:pos x="42" y="26"/>
                  </a:cxn>
                  <a:cxn ang="0">
                    <a:pos x="56" y="16"/>
                  </a:cxn>
                  <a:cxn ang="0">
                    <a:pos x="74" y="10"/>
                  </a:cxn>
                  <a:cxn ang="0">
                    <a:pos x="92" y="4"/>
                  </a:cxn>
                  <a:cxn ang="0">
                    <a:pos x="112" y="0"/>
                  </a:cxn>
                  <a:cxn ang="0">
                    <a:pos x="112" y="0"/>
                  </a:cxn>
                  <a:cxn ang="0">
                    <a:pos x="128" y="2"/>
                  </a:cxn>
                  <a:cxn ang="0">
                    <a:pos x="142" y="4"/>
                  </a:cxn>
                  <a:cxn ang="0">
                    <a:pos x="142" y="4"/>
                  </a:cxn>
                  <a:cxn ang="0">
                    <a:pos x="156" y="8"/>
                  </a:cxn>
                  <a:cxn ang="0">
                    <a:pos x="164" y="10"/>
                  </a:cxn>
                  <a:cxn ang="0">
                    <a:pos x="168" y="14"/>
                  </a:cxn>
                  <a:cxn ang="0">
                    <a:pos x="168" y="14"/>
                  </a:cxn>
                  <a:cxn ang="0">
                    <a:pos x="168" y="16"/>
                  </a:cxn>
                  <a:cxn ang="0">
                    <a:pos x="166" y="16"/>
                  </a:cxn>
                  <a:cxn ang="0">
                    <a:pos x="158" y="20"/>
                  </a:cxn>
                  <a:cxn ang="0">
                    <a:pos x="142" y="24"/>
                  </a:cxn>
                  <a:cxn ang="0">
                    <a:pos x="142" y="24"/>
                  </a:cxn>
                  <a:cxn ang="0">
                    <a:pos x="120" y="32"/>
                  </a:cxn>
                  <a:cxn ang="0">
                    <a:pos x="102" y="42"/>
                  </a:cxn>
                  <a:cxn ang="0">
                    <a:pos x="84" y="52"/>
                  </a:cxn>
                  <a:cxn ang="0">
                    <a:pos x="70" y="66"/>
                  </a:cxn>
                  <a:cxn ang="0">
                    <a:pos x="70" y="66"/>
                  </a:cxn>
                  <a:cxn ang="0">
                    <a:pos x="52" y="84"/>
                  </a:cxn>
                  <a:cxn ang="0">
                    <a:pos x="40" y="102"/>
                  </a:cxn>
                  <a:cxn ang="0">
                    <a:pos x="40" y="102"/>
                  </a:cxn>
                  <a:cxn ang="0">
                    <a:pos x="26" y="140"/>
                  </a:cxn>
                  <a:cxn ang="0">
                    <a:pos x="26" y="140"/>
                  </a:cxn>
                  <a:cxn ang="0">
                    <a:pos x="18" y="138"/>
                  </a:cxn>
                  <a:cxn ang="0">
                    <a:pos x="14" y="134"/>
                  </a:cxn>
                  <a:cxn ang="0">
                    <a:pos x="8" y="130"/>
                  </a:cxn>
                  <a:cxn ang="0">
                    <a:pos x="6" y="122"/>
                  </a:cxn>
                  <a:cxn ang="0">
                    <a:pos x="2" y="108"/>
                  </a:cxn>
                  <a:cxn ang="0">
                    <a:pos x="0" y="94"/>
                  </a:cxn>
                  <a:cxn ang="0">
                    <a:pos x="0" y="94"/>
                  </a:cxn>
                  <a:cxn ang="0">
                    <a:pos x="2" y="86"/>
                  </a:cxn>
                  <a:cxn ang="0">
                    <a:pos x="4" y="76"/>
                  </a:cxn>
                  <a:cxn ang="0">
                    <a:pos x="14" y="58"/>
                  </a:cxn>
                  <a:cxn ang="0">
                    <a:pos x="28" y="42"/>
                  </a:cxn>
                  <a:cxn ang="0">
                    <a:pos x="42" y="26"/>
                  </a:cxn>
                  <a:cxn ang="0">
                    <a:pos x="42" y="26"/>
                  </a:cxn>
                </a:cxnLst>
                <a:rect l="0" t="0" r="r" b="b"/>
                <a:pathLst>
                  <a:path w="168" h="140">
                    <a:moveTo>
                      <a:pt x="42" y="26"/>
                    </a:moveTo>
                    <a:lnTo>
                      <a:pt x="42" y="26"/>
                    </a:lnTo>
                    <a:lnTo>
                      <a:pt x="56" y="16"/>
                    </a:lnTo>
                    <a:lnTo>
                      <a:pt x="74" y="10"/>
                    </a:lnTo>
                    <a:lnTo>
                      <a:pt x="92" y="4"/>
                    </a:lnTo>
                    <a:lnTo>
                      <a:pt x="112" y="0"/>
                    </a:lnTo>
                    <a:lnTo>
                      <a:pt x="112" y="0"/>
                    </a:lnTo>
                    <a:lnTo>
                      <a:pt x="128" y="2"/>
                    </a:lnTo>
                    <a:lnTo>
                      <a:pt x="142" y="4"/>
                    </a:lnTo>
                    <a:lnTo>
                      <a:pt x="142" y="4"/>
                    </a:lnTo>
                    <a:lnTo>
                      <a:pt x="156" y="8"/>
                    </a:lnTo>
                    <a:lnTo>
                      <a:pt x="164" y="10"/>
                    </a:lnTo>
                    <a:lnTo>
                      <a:pt x="168" y="14"/>
                    </a:lnTo>
                    <a:lnTo>
                      <a:pt x="168" y="14"/>
                    </a:lnTo>
                    <a:lnTo>
                      <a:pt x="168" y="16"/>
                    </a:lnTo>
                    <a:lnTo>
                      <a:pt x="166" y="16"/>
                    </a:lnTo>
                    <a:lnTo>
                      <a:pt x="158" y="20"/>
                    </a:lnTo>
                    <a:lnTo>
                      <a:pt x="142" y="24"/>
                    </a:lnTo>
                    <a:lnTo>
                      <a:pt x="142" y="24"/>
                    </a:lnTo>
                    <a:lnTo>
                      <a:pt x="120" y="32"/>
                    </a:lnTo>
                    <a:lnTo>
                      <a:pt x="102" y="42"/>
                    </a:lnTo>
                    <a:lnTo>
                      <a:pt x="84" y="52"/>
                    </a:lnTo>
                    <a:lnTo>
                      <a:pt x="70" y="66"/>
                    </a:lnTo>
                    <a:lnTo>
                      <a:pt x="70" y="66"/>
                    </a:lnTo>
                    <a:lnTo>
                      <a:pt x="52" y="84"/>
                    </a:lnTo>
                    <a:lnTo>
                      <a:pt x="40" y="102"/>
                    </a:lnTo>
                    <a:lnTo>
                      <a:pt x="40" y="102"/>
                    </a:lnTo>
                    <a:lnTo>
                      <a:pt x="26" y="140"/>
                    </a:lnTo>
                    <a:lnTo>
                      <a:pt x="26" y="140"/>
                    </a:lnTo>
                    <a:lnTo>
                      <a:pt x="18" y="138"/>
                    </a:lnTo>
                    <a:lnTo>
                      <a:pt x="14" y="134"/>
                    </a:lnTo>
                    <a:lnTo>
                      <a:pt x="8" y="130"/>
                    </a:lnTo>
                    <a:lnTo>
                      <a:pt x="6" y="122"/>
                    </a:lnTo>
                    <a:lnTo>
                      <a:pt x="2" y="108"/>
                    </a:lnTo>
                    <a:lnTo>
                      <a:pt x="0" y="94"/>
                    </a:lnTo>
                    <a:lnTo>
                      <a:pt x="0" y="94"/>
                    </a:lnTo>
                    <a:lnTo>
                      <a:pt x="2" y="86"/>
                    </a:lnTo>
                    <a:lnTo>
                      <a:pt x="4" y="76"/>
                    </a:lnTo>
                    <a:lnTo>
                      <a:pt x="14" y="58"/>
                    </a:lnTo>
                    <a:lnTo>
                      <a:pt x="28" y="42"/>
                    </a:lnTo>
                    <a:lnTo>
                      <a:pt x="42" y="26"/>
                    </a:lnTo>
                    <a:lnTo>
                      <a:pt x="42" y="26"/>
                    </a:lnTo>
                    <a:close/>
                  </a:path>
                </a:pathLst>
              </a:custGeom>
              <a:grpFill/>
              <a:ln w="9525" cap="flat" cmpd="sng" algn="ctr">
                <a:noFill/>
                <a:prstDash val="solid"/>
              </a:ln>
              <a:effectLst/>
            </p:spPr>
            <p:txBody>
              <a:bodyPr anchor="ctr"/>
              <a:lstStyle/>
              <a:p>
                <a:pPr marL="342900" indent="-342900" algn="ctr" fontAlgn="auto">
                  <a:spcBef>
                    <a:spcPts val="0"/>
                  </a:spcBef>
                  <a:spcAft>
                    <a:spcPts val="0"/>
                  </a:spcAft>
                  <a:buFont typeface="+mj-lt"/>
                  <a:buAutoNum type="arabicPeriod"/>
                  <a:defRPr/>
                </a:pPr>
                <a:endParaRPr lang="da-DK" kern="0" dirty="0">
                  <a:solidFill>
                    <a:sysClr val="window" lastClr="FFFFFF"/>
                  </a:solidFill>
                  <a:latin typeface="Calibri"/>
                  <a:cs typeface="+mn-cs"/>
                </a:endParaRPr>
              </a:p>
            </p:txBody>
          </p:sp>
        </p:grpSp>
        <p:sp>
          <p:nvSpPr>
            <p:cNvPr id="162" name="Freeform 58"/>
            <p:cNvSpPr>
              <a:spLocks/>
            </p:cNvSpPr>
            <p:nvPr/>
          </p:nvSpPr>
          <p:spPr bwMode="auto">
            <a:xfrm flipH="1">
              <a:off x="2800951" y="5451684"/>
              <a:ext cx="526177" cy="285541"/>
            </a:xfrm>
            <a:custGeom>
              <a:avLst/>
              <a:gdLst/>
              <a:ahLst/>
              <a:cxnLst>
                <a:cxn ang="0">
                  <a:pos x="938" y="2624"/>
                </a:cxn>
                <a:cxn ang="0">
                  <a:pos x="426" y="1362"/>
                </a:cxn>
                <a:cxn ang="0">
                  <a:pos x="134" y="796"/>
                </a:cxn>
                <a:cxn ang="0">
                  <a:pos x="2" y="490"/>
                </a:cxn>
                <a:cxn ang="0">
                  <a:pos x="108" y="404"/>
                </a:cxn>
                <a:cxn ang="0">
                  <a:pos x="262" y="510"/>
                </a:cxn>
                <a:cxn ang="0">
                  <a:pos x="400" y="788"/>
                </a:cxn>
                <a:cxn ang="0">
                  <a:pos x="574" y="1034"/>
                </a:cxn>
                <a:cxn ang="0">
                  <a:pos x="788" y="1312"/>
                </a:cxn>
                <a:cxn ang="0">
                  <a:pos x="1018" y="1390"/>
                </a:cxn>
                <a:cxn ang="0">
                  <a:pos x="1174" y="1188"/>
                </a:cxn>
                <a:cxn ang="0">
                  <a:pos x="1176" y="916"/>
                </a:cxn>
                <a:cxn ang="0">
                  <a:pos x="1290" y="462"/>
                </a:cxn>
                <a:cxn ang="0">
                  <a:pos x="1192" y="354"/>
                </a:cxn>
                <a:cxn ang="0">
                  <a:pos x="1146" y="166"/>
                </a:cxn>
                <a:cxn ang="0">
                  <a:pos x="1242" y="12"/>
                </a:cxn>
                <a:cxn ang="0">
                  <a:pos x="1396" y="20"/>
                </a:cxn>
                <a:cxn ang="0">
                  <a:pos x="1478" y="260"/>
                </a:cxn>
                <a:cxn ang="0">
                  <a:pos x="1522" y="484"/>
                </a:cxn>
                <a:cxn ang="0">
                  <a:pos x="1840" y="674"/>
                </a:cxn>
                <a:cxn ang="0">
                  <a:pos x="1958" y="860"/>
                </a:cxn>
                <a:cxn ang="0">
                  <a:pos x="2072" y="812"/>
                </a:cxn>
                <a:cxn ang="0">
                  <a:pos x="2266" y="422"/>
                </a:cxn>
                <a:cxn ang="0">
                  <a:pos x="2374" y="390"/>
                </a:cxn>
                <a:cxn ang="0">
                  <a:pos x="2546" y="646"/>
                </a:cxn>
                <a:cxn ang="0">
                  <a:pos x="2794" y="1176"/>
                </a:cxn>
                <a:cxn ang="0">
                  <a:pos x="2970" y="1282"/>
                </a:cxn>
                <a:cxn ang="0">
                  <a:pos x="3178" y="1132"/>
                </a:cxn>
                <a:cxn ang="0">
                  <a:pos x="3334" y="948"/>
                </a:cxn>
                <a:cxn ang="0">
                  <a:pos x="3362" y="594"/>
                </a:cxn>
                <a:cxn ang="0">
                  <a:pos x="3548" y="576"/>
                </a:cxn>
                <a:cxn ang="0">
                  <a:pos x="3564" y="760"/>
                </a:cxn>
                <a:cxn ang="0">
                  <a:pos x="3570" y="1086"/>
                </a:cxn>
                <a:cxn ang="0">
                  <a:pos x="3580" y="1326"/>
                </a:cxn>
                <a:cxn ang="0">
                  <a:pos x="3680" y="1670"/>
                </a:cxn>
                <a:cxn ang="0">
                  <a:pos x="3818" y="1678"/>
                </a:cxn>
                <a:cxn ang="0">
                  <a:pos x="3972" y="1288"/>
                </a:cxn>
                <a:cxn ang="0">
                  <a:pos x="4152" y="786"/>
                </a:cxn>
                <a:cxn ang="0">
                  <a:pos x="4272" y="476"/>
                </a:cxn>
                <a:cxn ang="0">
                  <a:pos x="4352" y="350"/>
                </a:cxn>
                <a:cxn ang="0">
                  <a:pos x="4446" y="414"/>
                </a:cxn>
                <a:cxn ang="0">
                  <a:pos x="4430" y="708"/>
                </a:cxn>
                <a:cxn ang="0">
                  <a:pos x="4386" y="846"/>
                </a:cxn>
                <a:cxn ang="0">
                  <a:pos x="4458" y="966"/>
                </a:cxn>
                <a:cxn ang="0">
                  <a:pos x="4584" y="906"/>
                </a:cxn>
                <a:cxn ang="0">
                  <a:pos x="4850" y="384"/>
                </a:cxn>
                <a:cxn ang="0">
                  <a:pos x="5006" y="256"/>
                </a:cxn>
                <a:cxn ang="0">
                  <a:pos x="5104" y="406"/>
                </a:cxn>
                <a:cxn ang="0">
                  <a:pos x="5176" y="732"/>
                </a:cxn>
                <a:cxn ang="0">
                  <a:pos x="5412" y="676"/>
                </a:cxn>
                <a:cxn ang="0">
                  <a:pos x="5728" y="394"/>
                </a:cxn>
                <a:cxn ang="0">
                  <a:pos x="5866" y="414"/>
                </a:cxn>
                <a:cxn ang="0">
                  <a:pos x="5778" y="646"/>
                </a:cxn>
                <a:cxn ang="0">
                  <a:pos x="5374" y="1184"/>
                </a:cxn>
                <a:cxn ang="0">
                  <a:pos x="4986" y="1952"/>
                </a:cxn>
                <a:cxn ang="0">
                  <a:pos x="4798" y="2604"/>
                </a:cxn>
                <a:cxn ang="0">
                  <a:pos x="3234" y="2760"/>
                </a:cxn>
                <a:cxn ang="0">
                  <a:pos x="1684" y="2748"/>
                </a:cxn>
              </a:cxnLst>
              <a:rect l="0" t="0" r="r" b="b"/>
              <a:pathLst>
                <a:path w="5888" h="2780">
                  <a:moveTo>
                    <a:pt x="1006" y="2640"/>
                  </a:moveTo>
                  <a:lnTo>
                    <a:pt x="1006" y="2640"/>
                  </a:lnTo>
                  <a:lnTo>
                    <a:pt x="996" y="2642"/>
                  </a:lnTo>
                  <a:lnTo>
                    <a:pt x="986" y="2644"/>
                  </a:lnTo>
                  <a:lnTo>
                    <a:pt x="972" y="2644"/>
                  </a:lnTo>
                  <a:lnTo>
                    <a:pt x="960" y="2642"/>
                  </a:lnTo>
                  <a:lnTo>
                    <a:pt x="948" y="2636"/>
                  </a:lnTo>
                  <a:lnTo>
                    <a:pt x="944" y="2634"/>
                  </a:lnTo>
                  <a:lnTo>
                    <a:pt x="940" y="2630"/>
                  </a:lnTo>
                  <a:lnTo>
                    <a:pt x="938" y="2624"/>
                  </a:lnTo>
                  <a:lnTo>
                    <a:pt x="936" y="2618"/>
                  </a:lnTo>
                  <a:lnTo>
                    <a:pt x="936" y="2618"/>
                  </a:lnTo>
                  <a:lnTo>
                    <a:pt x="926" y="2588"/>
                  </a:lnTo>
                  <a:lnTo>
                    <a:pt x="904" y="2526"/>
                  </a:lnTo>
                  <a:lnTo>
                    <a:pt x="820" y="2324"/>
                  </a:lnTo>
                  <a:lnTo>
                    <a:pt x="698" y="2032"/>
                  </a:lnTo>
                  <a:lnTo>
                    <a:pt x="548" y="1676"/>
                  </a:lnTo>
                  <a:lnTo>
                    <a:pt x="548" y="1676"/>
                  </a:lnTo>
                  <a:lnTo>
                    <a:pt x="512" y="1580"/>
                  </a:lnTo>
                  <a:lnTo>
                    <a:pt x="426" y="1362"/>
                  </a:lnTo>
                  <a:lnTo>
                    <a:pt x="376" y="1238"/>
                  </a:lnTo>
                  <a:lnTo>
                    <a:pt x="328" y="1122"/>
                  </a:lnTo>
                  <a:lnTo>
                    <a:pt x="286" y="1024"/>
                  </a:lnTo>
                  <a:lnTo>
                    <a:pt x="268" y="988"/>
                  </a:lnTo>
                  <a:lnTo>
                    <a:pt x="254" y="962"/>
                  </a:lnTo>
                  <a:lnTo>
                    <a:pt x="254" y="962"/>
                  </a:lnTo>
                  <a:lnTo>
                    <a:pt x="238" y="938"/>
                  </a:lnTo>
                  <a:lnTo>
                    <a:pt x="216" y="908"/>
                  </a:lnTo>
                  <a:lnTo>
                    <a:pt x="164" y="836"/>
                  </a:lnTo>
                  <a:lnTo>
                    <a:pt x="134" y="796"/>
                  </a:lnTo>
                  <a:lnTo>
                    <a:pt x="106" y="754"/>
                  </a:lnTo>
                  <a:lnTo>
                    <a:pt x="78" y="710"/>
                  </a:lnTo>
                  <a:lnTo>
                    <a:pt x="52" y="666"/>
                  </a:lnTo>
                  <a:lnTo>
                    <a:pt x="30" y="624"/>
                  </a:lnTo>
                  <a:lnTo>
                    <a:pt x="14" y="582"/>
                  </a:lnTo>
                  <a:lnTo>
                    <a:pt x="8" y="562"/>
                  </a:lnTo>
                  <a:lnTo>
                    <a:pt x="4" y="542"/>
                  </a:lnTo>
                  <a:lnTo>
                    <a:pt x="0" y="524"/>
                  </a:lnTo>
                  <a:lnTo>
                    <a:pt x="0" y="506"/>
                  </a:lnTo>
                  <a:lnTo>
                    <a:pt x="2" y="490"/>
                  </a:lnTo>
                  <a:lnTo>
                    <a:pt x="6" y="474"/>
                  </a:lnTo>
                  <a:lnTo>
                    <a:pt x="12" y="460"/>
                  </a:lnTo>
                  <a:lnTo>
                    <a:pt x="22" y="448"/>
                  </a:lnTo>
                  <a:lnTo>
                    <a:pt x="32" y="436"/>
                  </a:lnTo>
                  <a:lnTo>
                    <a:pt x="48" y="426"/>
                  </a:lnTo>
                  <a:lnTo>
                    <a:pt x="66" y="418"/>
                  </a:lnTo>
                  <a:lnTo>
                    <a:pt x="88" y="410"/>
                  </a:lnTo>
                  <a:lnTo>
                    <a:pt x="88" y="410"/>
                  </a:lnTo>
                  <a:lnTo>
                    <a:pt x="92" y="408"/>
                  </a:lnTo>
                  <a:lnTo>
                    <a:pt x="108" y="404"/>
                  </a:lnTo>
                  <a:lnTo>
                    <a:pt x="118" y="404"/>
                  </a:lnTo>
                  <a:lnTo>
                    <a:pt x="130" y="404"/>
                  </a:lnTo>
                  <a:lnTo>
                    <a:pt x="144" y="406"/>
                  </a:lnTo>
                  <a:lnTo>
                    <a:pt x="160" y="410"/>
                  </a:lnTo>
                  <a:lnTo>
                    <a:pt x="176" y="416"/>
                  </a:lnTo>
                  <a:lnTo>
                    <a:pt x="192" y="426"/>
                  </a:lnTo>
                  <a:lnTo>
                    <a:pt x="210" y="440"/>
                  </a:lnTo>
                  <a:lnTo>
                    <a:pt x="228" y="458"/>
                  </a:lnTo>
                  <a:lnTo>
                    <a:pt x="246" y="482"/>
                  </a:lnTo>
                  <a:lnTo>
                    <a:pt x="262" y="510"/>
                  </a:lnTo>
                  <a:lnTo>
                    <a:pt x="280" y="544"/>
                  </a:lnTo>
                  <a:lnTo>
                    <a:pt x="296" y="586"/>
                  </a:lnTo>
                  <a:lnTo>
                    <a:pt x="296" y="586"/>
                  </a:lnTo>
                  <a:lnTo>
                    <a:pt x="314" y="628"/>
                  </a:lnTo>
                  <a:lnTo>
                    <a:pt x="328" y="664"/>
                  </a:lnTo>
                  <a:lnTo>
                    <a:pt x="344" y="696"/>
                  </a:lnTo>
                  <a:lnTo>
                    <a:pt x="360" y="724"/>
                  </a:lnTo>
                  <a:lnTo>
                    <a:pt x="374" y="748"/>
                  </a:lnTo>
                  <a:lnTo>
                    <a:pt x="388" y="770"/>
                  </a:lnTo>
                  <a:lnTo>
                    <a:pt x="400" y="788"/>
                  </a:lnTo>
                  <a:lnTo>
                    <a:pt x="414" y="802"/>
                  </a:lnTo>
                  <a:lnTo>
                    <a:pt x="436" y="824"/>
                  </a:lnTo>
                  <a:lnTo>
                    <a:pt x="456" y="840"/>
                  </a:lnTo>
                  <a:lnTo>
                    <a:pt x="474" y="852"/>
                  </a:lnTo>
                  <a:lnTo>
                    <a:pt x="486" y="862"/>
                  </a:lnTo>
                  <a:lnTo>
                    <a:pt x="486" y="862"/>
                  </a:lnTo>
                  <a:lnTo>
                    <a:pt x="498" y="878"/>
                  </a:lnTo>
                  <a:lnTo>
                    <a:pt x="510" y="900"/>
                  </a:lnTo>
                  <a:lnTo>
                    <a:pt x="540" y="962"/>
                  </a:lnTo>
                  <a:lnTo>
                    <a:pt x="574" y="1034"/>
                  </a:lnTo>
                  <a:lnTo>
                    <a:pt x="592" y="1074"/>
                  </a:lnTo>
                  <a:lnTo>
                    <a:pt x="612" y="1110"/>
                  </a:lnTo>
                  <a:lnTo>
                    <a:pt x="612" y="1110"/>
                  </a:lnTo>
                  <a:lnTo>
                    <a:pt x="624" y="1130"/>
                  </a:lnTo>
                  <a:lnTo>
                    <a:pt x="642" y="1156"/>
                  </a:lnTo>
                  <a:lnTo>
                    <a:pt x="664" y="1186"/>
                  </a:lnTo>
                  <a:lnTo>
                    <a:pt x="690" y="1218"/>
                  </a:lnTo>
                  <a:lnTo>
                    <a:pt x="720" y="1250"/>
                  </a:lnTo>
                  <a:lnTo>
                    <a:pt x="754" y="1282"/>
                  </a:lnTo>
                  <a:lnTo>
                    <a:pt x="788" y="1312"/>
                  </a:lnTo>
                  <a:lnTo>
                    <a:pt x="826" y="1340"/>
                  </a:lnTo>
                  <a:lnTo>
                    <a:pt x="864" y="1364"/>
                  </a:lnTo>
                  <a:lnTo>
                    <a:pt x="884" y="1374"/>
                  </a:lnTo>
                  <a:lnTo>
                    <a:pt x="902" y="1382"/>
                  </a:lnTo>
                  <a:lnTo>
                    <a:pt x="922" y="1388"/>
                  </a:lnTo>
                  <a:lnTo>
                    <a:pt x="942" y="1394"/>
                  </a:lnTo>
                  <a:lnTo>
                    <a:pt x="962" y="1396"/>
                  </a:lnTo>
                  <a:lnTo>
                    <a:pt x="980" y="1396"/>
                  </a:lnTo>
                  <a:lnTo>
                    <a:pt x="1000" y="1394"/>
                  </a:lnTo>
                  <a:lnTo>
                    <a:pt x="1018" y="1390"/>
                  </a:lnTo>
                  <a:lnTo>
                    <a:pt x="1036" y="1384"/>
                  </a:lnTo>
                  <a:lnTo>
                    <a:pt x="1054" y="1374"/>
                  </a:lnTo>
                  <a:lnTo>
                    <a:pt x="1070" y="1360"/>
                  </a:lnTo>
                  <a:lnTo>
                    <a:pt x="1088" y="1344"/>
                  </a:lnTo>
                  <a:lnTo>
                    <a:pt x="1104" y="1326"/>
                  </a:lnTo>
                  <a:lnTo>
                    <a:pt x="1118" y="1302"/>
                  </a:lnTo>
                  <a:lnTo>
                    <a:pt x="1118" y="1302"/>
                  </a:lnTo>
                  <a:lnTo>
                    <a:pt x="1144" y="1258"/>
                  </a:lnTo>
                  <a:lnTo>
                    <a:pt x="1162" y="1220"/>
                  </a:lnTo>
                  <a:lnTo>
                    <a:pt x="1174" y="1188"/>
                  </a:lnTo>
                  <a:lnTo>
                    <a:pt x="1180" y="1162"/>
                  </a:lnTo>
                  <a:lnTo>
                    <a:pt x="1182" y="1138"/>
                  </a:lnTo>
                  <a:lnTo>
                    <a:pt x="1182" y="1118"/>
                  </a:lnTo>
                  <a:lnTo>
                    <a:pt x="1180" y="1098"/>
                  </a:lnTo>
                  <a:lnTo>
                    <a:pt x="1176" y="1076"/>
                  </a:lnTo>
                  <a:lnTo>
                    <a:pt x="1172" y="1054"/>
                  </a:lnTo>
                  <a:lnTo>
                    <a:pt x="1168" y="1028"/>
                  </a:lnTo>
                  <a:lnTo>
                    <a:pt x="1168" y="996"/>
                  </a:lnTo>
                  <a:lnTo>
                    <a:pt x="1170" y="960"/>
                  </a:lnTo>
                  <a:lnTo>
                    <a:pt x="1176" y="916"/>
                  </a:lnTo>
                  <a:lnTo>
                    <a:pt x="1188" y="862"/>
                  </a:lnTo>
                  <a:lnTo>
                    <a:pt x="1206" y="800"/>
                  </a:lnTo>
                  <a:lnTo>
                    <a:pt x="1232" y="726"/>
                  </a:lnTo>
                  <a:lnTo>
                    <a:pt x="1232" y="726"/>
                  </a:lnTo>
                  <a:lnTo>
                    <a:pt x="1258" y="652"/>
                  </a:lnTo>
                  <a:lnTo>
                    <a:pt x="1276" y="590"/>
                  </a:lnTo>
                  <a:lnTo>
                    <a:pt x="1286" y="538"/>
                  </a:lnTo>
                  <a:lnTo>
                    <a:pt x="1292" y="496"/>
                  </a:lnTo>
                  <a:lnTo>
                    <a:pt x="1292" y="478"/>
                  </a:lnTo>
                  <a:lnTo>
                    <a:pt x="1290" y="462"/>
                  </a:lnTo>
                  <a:lnTo>
                    <a:pt x="1290" y="448"/>
                  </a:lnTo>
                  <a:lnTo>
                    <a:pt x="1286" y="434"/>
                  </a:lnTo>
                  <a:lnTo>
                    <a:pt x="1282" y="424"/>
                  </a:lnTo>
                  <a:lnTo>
                    <a:pt x="1278" y="414"/>
                  </a:lnTo>
                  <a:lnTo>
                    <a:pt x="1272" y="406"/>
                  </a:lnTo>
                  <a:lnTo>
                    <a:pt x="1266" y="398"/>
                  </a:lnTo>
                  <a:lnTo>
                    <a:pt x="1252" y="386"/>
                  </a:lnTo>
                  <a:lnTo>
                    <a:pt x="1238" y="378"/>
                  </a:lnTo>
                  <a:lnTo>
                    <a:pt x="1206" y="362"/>
                  </a:lnTo>
                  <a:lnTo>
                    <a:pt x="1192" y="354"/>
                  </a:lnTo>
                  <a:lnTo>
                    <a:pt x="1180" y="344"/>
                  </a:lnTo>
                  <a:lnTo>
                    <a:pt x="1170" y="332"/>
                  </a:lnTo>
                  <a:lnTo>
                    <a:pt x="1166" y="324"/>
                  </a:lnTo>
                  <a:lnTo>
                    <a:pt x="1162" y="314"/>
                  </a:lnTo>
                  <a:lnTo>
                    <a:pt x="1162" y="314"/>
                  </a:lnTo>
                  <a:lnTo>
                    <a:pt x="1152" y="270"/>
                  </a:lnTo>
                  <a:lnTo>
                    <a:pt x="1150" y="246"/>
                  </a:lnTo>
                  <a:lnTo>
                    <a:pt x="1146" y="220"/>
                  </a:lnTo>
                  <a:lnTo>
                    <a:pt x="1146" y="194"/>
                  </a:lnTo>
                  <a:lnTo>
                    <a:pt x="1146" y="166"/>
                  </a:lnTo>
                  <a:lnTo>
                    <a:pt x="1148" y="140"/>
                  </a:lnTo>
                  <a:lnTo>
                    <a:pt x="1154" y="114"/>
                  </a:lnTo>
                  <a:lnTo>
                    <a:pt x="1162" y="90"/>
                  </a:lnTo>
                  <a:lnTo>
                    <a:pt x="1172" y="68"/>
                  </a:lnTo>
                  <a:lnTo>
                    <a:pt x="1188" y="48"/>
                  </a:lnTo>
                  <a:lnTo>
                    <a:pt x="1196" y="38"/>
                  </a:lnTo>
                  <a:lnTo>
                    <a:pt x="1206" y="30"/>
                  </a:lnTo>
                  <a:lnTo>
                    <a:pt x="1218" y="24"/>
                  </a:lnTo>
                  <a:lnTo>
                    <a:pt x="1230" y="16"/>
                  </a:lnTo>
                  <a:lnTo>
                    <a:pt x="1242" y="12"/>
                  </a:lnTo>
                  <a:lnTo>
                    <a:pt x="1258" y="6"/>
                  </a:lnTo>
                  <a:lnTo>
                    <a:pt x="1274" y="4"/>
                  </a:lnTo>
                  <a:lnTo>
                    <a:pt x="1290" y="0"/>
                  </a:lnTo>
                  <a:lnTo>
                    <a:pt x="1308" y="0"/>
                  </a:lnTo>
                  <a:lnTo>
                    <a:pt x="1328" y="0"/>
                  </a:lnTo>
                  <a:lnTo>
                    <a:pt x="1328" y="0"/>
                  </a:lnTo>
                  <a:lnTo>
                    <a:pt x="1348" y="2"/>
                  </a:lnTo>
                  <a:lnTo>
                    <a:pt x="1366" y="6"/>
                  </a:lnTo>
                  <a:lnTo>
                    <a:pt x="1382" y="12"/>
                  </a:lnTo>
                  <a:lnTo>
                    <a:pt x="1396" y="20"/>
                  </a:lnTo>
                  <a:lnTo>
                    <a:pt x="1408" y="30"/>
                  </a:lnTo>
                  <a:lnTo>
                    <a:pt x="1420" y="42"/>
                  </a:lnTo>
                  <a:lnTo>
                    <a:pt x="1430" y="54"/>
                  </a:lnTo>
                  <a:lnTo>
                    <a:pt x="1440" y="70"/>
                  </a:lnTo>
                  <a:lnTo>
                    <a:pt x="1446" y="84"/>
                  </a:lnTo>
                  <a:lnTo>
                    <a:pt x="1454" y="102"/>
                  </a:lnTo>
                  <a:lnTo>
                    <a:pt x="1464" y="138"/>
                  </a:lnTo>
                  <a:lnTo>
                    <a:pt x="1470" y="178"/>
                  </a:lnTo>
                  <a:lnTo>
                    <a:pt x="1474" y="218"/>
                  </a:lnTo>
                  <a:lnTo>
                    <a:pt x="1478" y="260"/>
                  </a:lnTo>
                  <a:lnTo>
                    <a:pt x="1478" y="300"/>
                  </a:lnTo>
                  <a:lnTo>
                    <a:pt x="1482" y="376"/>
                  </a:lnTo>
                  <a:lnTo>
                    <a:pt x="1484" y="408"/>
                  </a:lnTo>
                  <a:lnTo>
                    <a:pt x="1490" y="436"/>
                  </a:lnTo>
                  <a:lnTo>
                    <a:pt x="1492" y="448"/>
                  </a:lnTo>
                  <a:lnTo>
                    <a:pt x="1496" y="458"/>
                  </a:lnTo>
                  <a:lnTo>
                    <a:pt x="1502" y="468"/>
                  </a:lnTo>
                  <a:lnTo>
                    <a:pt x="1506" y="474"/>
                  </a:lnTo>
                  <a:lnTo>
                    <a:pt x="1506" y="474"/>
                  </a:lnTo>
                  <a:lnTo>
                    <a:pt x="1522" y="484"/>
                  </a:lnTo>
                  <a:lnTo>
                    <a:pt x="1538" y="496"/>
                  </a:lnTo>
                  <a:lnTo>
                    <a:pt x="1582" y="518"/>
                  </a:lnTo>
                  <a:lnTo>
                    <a:pt x="1634" y="540"/>
                  </a:lnTo>
                  <a:lnTo>
                    <a:pt x="1690" y="566"/>
                  </a:lnTo>
                  <a:lnTo>
                    <a:pt x="1718" y="580"/>
                  </a:lnTo>
                  <a:lnTo>
                    <a:pt x="1746" y="596"/>
                  </a:lnTo>
                  <a:lnTo>
                    <a:pt x="1772" y="614"/>
                  </a:lnTo>
                  <a:lnTo>
                    <a:pt x="1796" y="632"/>
                  </a:lnTo>
                  <a:lnTo>
                    <a:pt x="1820" y="652"/>
                  </a:lnTo>
                  <a:lnTo>
                    <a:pt x="1840" y="674"/>
                  </a:lnTo>
                  <a:lnTo>
                    <a:pt x="1856" y="698"/>
                  </a:lnTo>
                  <a:lnTo>
                    <a:pt x="1870" y="726"/>
                  </a:lnTo>
                  <a:lnTo>
                    <a:pt x="1870" y="726"/>
                  </a:lnTo>
                  <a:lnTo>
                    <a:pt x="1882" y="752"/>
                  </a:lnTo>
                  <a:lnTo>
                    <a:pt x="1894" y="776"/>
                  </a:lnTo>
                  <a:lnTo>
                    <a:pt x="1906" y="798"/>
                  </a:lnTo>
                  <a:lnTo>
                    <a:pt x="1918" y="818"/>
                  </a:lnTo>
                  <a:lnTo>
                    <a:pt x="1932" y="834"/>
                  </a:lnTo>
                  <a:lnTo>
                    <a:pt x="1944" y="848"/>
                  </a:lnTo>
                  <a:lnTo>
                    <a:pt x="1958" y="860"/>
                  </a:lnTo>
                  <a:lnTo>
                    <a:pt x="1970" y="868"/>
                  </a:lnTo>
                  <a:lnTo>
                    <a:pt x="1984" y="872"/>
                  </a:lnTo>
                  <a:lnTo>
                    <a:pt x="1996" y="874"/>
                  </a:lnTo>
                  <a:lnTo>
                    <a:pt x="2010" y="872"/>
                  </a:lnTo>
                  <a:lnTo>
                    <a:pt x="2022" y="868"/>
                  </a:lnTo>
                  <a:lnTo>
                    <a:pt x="2036" y="860"/>
                  </a:lnTo>
                  <a:lnTo>
                    <a:pt x="2048" y="848"/>
                  </a:lnTo>
                  <a:lnTo>
                    <a:pt x="2060" y="832"/>
                  </a:lnTo>
                  <a:lnTo>
                    <a:pt x="2072" y="812"/>
                  </a:lnTo>
                  <a:lnTo>
                    <a:pt x="2072" y="812"/>
                  </a:lnTo>
                  <a:lnTo>
                    <a:pt x="2084" y="790"/>
                  </a:lnTo>
                  <a:lnTo>
                    <a:pt x="2096" y="760"/>
                  </a:lnTo>
                  <a:lnTo>
                    <a:pt x="2124" y="694"/>
                  </a:lnTo>
                  <a:lnTo>
                    <a:pt x="2154" y="618"/>
                  </a:lnTo>
                  <a:lnTo>
                    <a:pt x="2170" y="582"/>
                  </a:lnTo>
                  <a:lnTo>
                    <a:pt x="2188" y="544"/>
                  </a:lnTo>
                  <a:lnTo>
                    <a:pt x="2206" y="508"/>
                  </a:lnTo>
                  <a:lnTo>
                    <a:pt x="2226" y="476"/>
                  </a:lnTo>
                  <a:lnTo>
                    <a:pt x="2246" y="448"/>
                  </a:lnTo>
                  <a:lnTo>
                    <a:pt x="2266" y="422"/>
                  </a:lnTo>
                  <a:lnTo>
                    <a:pt x="2278" y="412"/>
                  </a:lnTo>
                  <a:lnTo>
                    <a:pt x="2288" y="404"/>
                  </a:lnTo>
                  <a:lnTo>
                    <a:pt x="2300" y="396"/>
                  </a:lnTo>
                  <a:lnTo>
                    <a:pt x="2312" y="390"/>
                  </a:lnTo>
                  <a:lnTo>
                    <a:pt x="2324" y="386"/>
                  </a:lnTo>
                  <a:lnTo>
                    <a:pt x="2336" y="384"/>
                  </a:lnTo>
                  <a:lnTo>
                    <a:pt x="2348" y="384"/>
                  </a:lnTo>
                  <a:lnTo>
                    <a:pt x="2362" y="386"/>
                  </a:lnTo>
                  <a:lnTo>
                    <a:pt x="2362" y="386"/>
                  </a:lnTo>
                  <a:lnTo>
                    <a:pt x="2374" y="390"/>
                  </a:lnTo>
                  <a:lnTo>
                    <a:pt x="2386" y="394"/>
                  </a:lnTo>
                  <a:lnTo>
                    <a:pt x="2398" y="402"/>
                  </a:lnTo>
                  <a:lnTo>
                    <a:pt x="2410" y="408"/>
                  </a:lnTo>
                  <a:lnTo>
                    <a:pt x="2430" y="428"/>
                  </a:lnTo>
                  <a:lnTo>
                    <a:pt x="2450" y="450"/>
                  </a:lnTo>
                  <a:lnTo>
                    <a:pt x="2470" y="476"/>
                  </a:lnTo>
                  <a:lnTo>
                    <a:pt x="2486" y="504"/>
                  </a:lnTo>
                  <a:lnTo>
                    <a:pt x="2502" y="536"/>
                  </a:lnTo>
                  <a:lnTo>
                    <a:pt x="2518" y="572"/>
                  </a:lnTo>
                  <a:lnTo>
                    <a:pt x="2546" y="646"/>
                  </a:lnTo>
                  <a:lnTo>
                    <a:pt x="2574" y="724"/>
                  </a:lnTo>
                  <a:lnTo>
                    <a:pt x="2602" y="802"/>
                  </a:lnTo>
                  <a:lnTo>
                    <a:pt x="2630" y="878"/>
                  </a:lnTo>
                  <a:lnTo>
                    <a:pt x="2630" y="878"/>
                  </a:lnTo>
                  <a:lnTo>
                    <a:pt x="2666" y="960"/>
                  </a:lnTo>
                  <a:lnTo>
                    <a:pt x="2686" y="1004"/>
                  </a:lnTo>
                  <a:lnTo>
                    <a:pt x="2710" y="1050"/>
                  </a:lnTo>
                  <a:lnTo>
                    <a:pt x="2736" y="1094"/>
                  </a:lnTo>
                  <a:lnTo>
                    <a:pt x="2764" y="1136"/>
                  </a:lnTo>
                  <a:lnTo>
                    <a:pt x="2794" y="1176"/>
                  </a:lnTo>
                  <a:lnTo>
                    <a:pt x="2808" y="1194"/>
                  </a:lnTo>
                  <a:lnTo>
                    <a:pt x="2826" y="1212"/>
                  </a:lnTo>
                  <a:lnTo>
                    <a:pt x="2842" y="1226"/>
                  </a:lnTo>
                  <a:lnTo>
                    <a:pt x="2858" y="1240"/>
                  </a:lnTo>
                  <a:lnTo>
                    <a:pt x="2876" y="1252"/>
                  </a:lnTo>
                  <a:lnTo>
                    <a:pt x="2894" y="1264"/>
                  </a:lnTo>
                  <a:lnTo>
                    <a:pt x="2912" y="1272"/>
                  </a:lnTo>
                  <a:lnTo>
                    <a:pt x="2932" y="1278"/>
                  </a:lnTo>
                  <a:lnTo>
                    <a:pt x="2950" y="1282"/>
                  </a:lnTo>
                  <a:lnTo>
                    <a:pt x="2970" y="1282"/>
                  </a:lnTo>
                  <a:lnTo>
                    <a:pt x="2990" y="1280"/>
                  </a:lnTo>
                  <a:lnTo>
                    <a:pt x="3010" y="1276"/>
                  </a:lnTo>
                  <a:lnTo>
                    <a:pt x="3030" y="1268"/>
                  </a:lnTo>
                  <a:lnTo>
                    <a:pt x="3052" y="1258"/>
                  </a:lnTo>
                  <a:lnTo>
                    <a:pt x="3072" y="1244"/>
                  </a:lnTo>
                  <a:lnTo>
                    <a:pt x="3094" y="1226"/>
                  </a:lnTo>
                  <a:lnTo>
                    <a:pt x="3116" y="1206"/>
                  </a:lnTo>
                  <a:lnTo>
                    <a:pt x="3138" y="1180"/>
                  </a:lnTo>
                  <a:lnTo>
                    <a:pt x="3138" y="1180"/>
                  </a:lnTo>
                  <a:lnTo>
                    <a:pt x="3178" y="1132"/>
                  </a:lnTo>
                  <a:lnTo>
                    <a:pt x="3214" y="1092"/>
                  </a:lnTo>
                  <a:lnTo>
                    <a:pt x="3244" y="1062"/>
                  </a:lnTo>
                  <a:lnTo>
                    <a:pt x="3270" y="1040"/>
                  </a:lnTo>
                  <a:lnTo>
                    <a:pt x="3306" y="1010"/>
                  </a:lnTo>
                  <a:lnTo>
                    <a:pt x="3318" y="1000"/>
                  </a:lnTo>
                  <a:lnTo>
                    <a:pt x="3326" y="992"/>
                  </a:lnTo>
                  <a:lnTo>
                    <a:pt x="3332" y="984"/>
                  </a:lnTo>
                  <a:lnTo>
                    <a:pt x="3334" y="974"/>
                  </a:lnTo>
                  <a:lnTo>
                    <a:pt x="3336" y="962"/>
                  </a:lnTo>
                  <a:lnTo>
                    <a:pt x="3334" y="948"/>
                  </a:lnTo>
                  <a:lnTo>
                    <a:pt x="3324" y="900"/>
                  </a:lnTo>
                  <a:lnTo>
                    <a:pt x="3312" y="822"/>
                  </a:lnTo>
                  <a:lnTo>
                    <a:pt x="3312" y="822"/>
                  </a:lnTo>
                  <a:lnTo>
                    <a:pt x="3308" y="776"/>
                  </a:lnTo>
                  <a:lnTo>
                    <a:pt x="3308" y="734"/>
                  </a:lnTo>
                  <a:lnTo>
                    <a:pt x="3314" y="696"/>
                  </a:lnTo>
                  <a:lnTo>
                    <a:pt x="3322" y="664"/>
                  </a:lnTo>
                  <a:lnTo>
                    <a:pt x="3332" y="636"/>
                  </a:lnTo>
                  <a:lnTo>
                    <a:pt x="3346" y="612"/>
                  </a:lnTo>
                  <a:lnTo>
                    <a:pt x="3362" y="594"/>
                  </a:lnTo>
                  <a:lnTo>
                    <a:pt x="3382" y="578"/>
                  </a:lnTo>
                  <a:lnTo>
                    <a:pt x="3402" y="566"/>
                  </a:lnTo>
                  <a:lnTo>
                    <a:pt x="3422" y="558"/>
                  </a:lnTo>
                  <a:lnTo>
                    <a:pt x="3444" y="554"/>
                  </a:lnTo>
                  <a:lnTo>
                    <a:pt x="3466" y="552"/>
                  </a:lnTo>
                  <a:lnTo>
                    <a:pt x="3488" y="554"/>
                  </a:lnTo>
                  <a:lnTo>
                    <a:pt x="3510" y="560"/>
                  </a:lnTo>
                  <a:lnTo>
                    <a:pt x="3530" y="566"/>
                  </a:lnTo>
                  <a:lnTo>
                    <a:pt x="3548" y="576"/>
                  </a:lnTo>
                  <a:lnTo>
                    <a:pt x="3548" y="576"/>
                  </a:lnTo>
                  <a:lnTo>
                    <a:pt x="3556" y="584"/>
                  </a:lnTo>
                  <a:lnTo>
                    <a:pt x="3564" y="590"/>
                  </a:lnTo>
                  <a:lnTo>
                    <a:pt x="3570" y="598"/>
                  </a:lnTo>
                  <a:lnTo>
                    <a:pt x="3574" y="606"/>
                  </a:lnTo>
                  <a:lnTo>
                    <a:pt x="3578" y="616"/>
                  </a:lnTo>
                  <a:lnTo>
                    <a:pt x="3580" y="626"/>
                  </a:lnTo>
                  <a:lnTo>
                    <a:pt x="3582" y="650"/>
                  </a:lnTo>
                  <a:lnTo>
                    <a:pt x="3580" y="674"/>
                  </a:lnTo>
                  <a:lnTo>
                    <a:pt x="3576" y="700"/>
                  </a:lnTo>
                  <a:lnTo>
                    <a:pt x="3564" y="760"/>
                  </a:lnTo>
                  <a:lnTo>
                    <a:pt x="3548" y="822"/>
                  </a:lnTo>
                  <a:lnTo>
                    <a:pt x="3542" y="852"/>
                  </a:lnTo>
                  <a:lnTo>
                    <a:pt x="3536" y="884"/>
                  </a:lnTo>
                  <a:lnTo>
                    <a:pt x="3532" y="916"/>
                  </a:lnTo>
                  <a:lnTo>
                    <a:pt x="3530" y="946"/>
                  </a:lnTo>
                  <a:lnTo>
                    <a:pt x="3534" y="974"/>
                  </a:lnTo>
                  <a:lnTo>
                    <a:pt x="3540" y="1002"/>
                  </a:lnTo>
                  <a:lnTo>
                    <a:pt x="3540" y="1002"/>
                  </a:lnTo>
                  <a:lnTo>
                    <a:pt x="3556" y="1050"/>
                  </a:lnTo>
                  <a:lnTo>
                    <a:pt x="3570" y="1086"/>
                  </a:lnTo>
                  <a:lnTo>
                    <a:pt x="3582" y="1116"/>
                  </a:lnTo>
                  <a:lnTo>
                    <a:pt x="3592" y="1142"/>
                  </a:lnTo>
                  <a:lnTo>
                    <a:pt x="3596" y="1170"/>
                  </a:lnTo>
                  <a:lnTo>
                    <a:pt x="3598" y="1186"/>
                  </a:lnTo>
                  <a:lnTo>
                    <a:pt x="3598" y="1202"/>
                  </a:lnTo>
                  <a:lnTo>
                    <a:pt x="3594" y="1242"/>
                  </a:lnTo>
                  <a:lnTo>
                    <a:pt x="3584" y="1294"/>
                  </a:lnTo>
                  <a:lnTo>
                    <a:pt x="3584" y="1294"/>
                  </a:lnTo>
                  <a:lnTo>
                    <a:pt x="3580" y="1310"/>
                  </a:lnTo>
                  <a:lnTo>
                    <a:pt x="3580" y="1326"/>
                  </a:lnTo>
                  <a:lnTo>
                    <a:pt x="3580" y="1366"/>
                  </a:lnTo>
                  <a:lnTo>
                    <a:pt x="3584" y="1410"/>
                  </a:lnTo>
                  <a:lnTo>
                    <a:pt x="3592" y="1458"/>
                  </a:lnTo>
                  <a:lnTo>
                    <a:pt x="3604" y="1506"/>
                  </a:lnTo>
                  <a:lnTo>
                    <a:pt x="3618" y="1552"/>
                  </a:lnTo>
                  <a:lnTo>
                    <a:pt x="3636" y="1598"/>
                  </a:lnTo>
                  <a:lnTo>
                    <a:pt x="3646" y="1618"/>
                  </a:lnTo>
                  <a:lnTo>
                    <a:pt x="3656" y="1636"/>
                  </a:lnTo>
                  <a:lnTo>
                    <a:pt x="3668" y="1654"/>
                  </a:lnTo>
                  <a:lnTo>
                    <a:pt x="3680" y="1670"/>
                  </a:lnTo>
                  <a:lnTo>
                    <a:pt x="3692" y="1684"/>
                  </a:lnTo>
                  <a:lnTo>
                    <a:pt x="3704" y="1696"/>
                  </a:lnTo>
                  <a:lnTo>
                    <a:pt x="3718" y="1704"/>
                  </a:lnTo>
                  <a:lnTo>
                    <a:pt x="3732" y="1710"/>
                  </a:lnTo>
                  <a:lnTo>
                    <a:pt x="3746" y="1714"/>
                  </a:lnTo>
                  <a:lnTo>
                    <a:pt x="3760" y="1714"/>
                  </a:lnTo>
                  <a:lnTo>
                    <a:pt x="3774" y="1710"/>
                  </a:lnTo>
                  <a:lnTo>
                    <a:pt x="3788" y="1704"/>
                  </a:lnTo>
                  <a:lnTo>
                    <a:pt x="3804" y="1694"/>
                  </a:lnTo>
                  <a:lnTo>
                    <a:pt x="3818" y="1678"/>
                  </a:lnTo>
                  <a:lnTo>
                    <a:pt x="3834" y="1660"/>
                  </a:lnTo>
                  <a:lnTo>
                    <a:pt x="3850" y="1636"/>
                  </a:lnTo>
                  <a:lnTo>
                    <a:pt x="3866" y="1606"/>
                  </a:lnTo>
                  <a:lnTo>
                    <a:pt x="3880" y="1574"/>
                  </a:lnTo>
                  <a:lnTo>
                    <a:pt x="3880" y="1574"/>
                  </a:lnTo>
                  <a:lnTo>
                    <a:pt x="3908" y="1504"/>
                  </a:lnTo>
                  <a:lnTo>
                    <a:pt x="3930" y="1442"/>
                  </a:lnTo>
                  <a:lnTo>
                    <a:pt x="3948" y="1386"/>
                  </a:lnTo>
                  <a:lnTo>
                    <a:pt x="3962" y="1334"/>
                  </a:lnTo>
                  <a:lnTo>
                    <a:pt x="3972" y="1288"/>
                  </a:lnTo>
                  <a:lnTo>
                    <a:pt x="3980" y="1244"/>
                  </a:lnTo>
                  <a:lnTo>
                    <a:pt x="3994" y="1160"/>
                  </a:lnTo>
                  <a:lnTo>
                    <a:pt x="4000" y="1120"/>
                  </a:lnTo>
                  <a:lnTo>
                    <a:pt x="4010" y="1080"/>
                  </a:lnTo>
                  <a:lnTo>
                    <a:pt x="4022" y="1038"/>
                  </a:lnTo>
                  <a:lnTo>
                    <a:pt x="4036" y="996"/>
                  </a:lnTo>
                  <a:lnTo>
                    <a:pt x="4056" y="950"/>
                  </a:lnTo>
                  <a:lnTo>
                    <a:pt x="4082" y="900"/>
                  </a:lnTo>
                  <a:lnTo>
                    <a:pt x="4114" y="846"/>
                  </a:lnTo>
                  <a:lnTo>
                    <a:pt x="4152" y="786"/>
                  </a:lnTo>
                  <a:lnTo>
                    <a:pt x="4152" y="786"/>
                  </a:lnTo>
                  <a:lnTo>
                    <a:pt x="4190" y="728"/>
                  </a:lnTo>
                  <a:lnTo>
                    <a:pt x="4220" y="680"/>
                  </a:lnTo>
                  <a:lnTo>
                    <a:pt x="4240" y="636"/>
                  </a:lnTo>
                  <a:lnTo>
                    <a:pt x="4256" y="600"/>
                  </a:lnTo>
                  <a:lnTo>
                    <a:pt x="4266" y="570"/>
                  </a:lnTo>
                  <a:lnTo>
                    <a:pt x="4272" y="546"/>
                  </a:lnTo>
                  <a:lnTo>
                    <a:pt x="4274" y="524"/>
                  </a:lnTo>
                  <a:lnTo>
                    <a:pt x="4274" y="506"/>
                  </a:lnTo>
                  <a:lnTo>
                    <a:pt x="4272" y="476"/>
                  </a:lnTo>
                  <a:lnTo>
                    <a:pt x="4270" y="462"/>
                  </a:lnTo>
                  <a:lnTo>
                    <a:pt x="4272" y="448"/>
                  </a:lnTo>
                  <a:lnTo>
                    <a:pt x="4276" y="434"/>
                  </a:lnTo>
                  <a:lnTo>
                    <a:pt x="4284" y="418"/>
                  </a:lnTo>
                  <a:lnTo>
                    <a:pt x="4298" y="398"/>
                  </a:lnTo>
                  <a:lnTo>
                    <a:pt x="4318" y="376"/>
                  </a:lnTo>
                  <a:lnTo>
                    <a:pt x="4318" y="376"/>
                  </a:lnTo>
                  <a:lnTo>
                    <a:pt x="4330" y="364"/>
                  </a:lnTo>
                  <a:lnTo>
                    <a:pt x="4340" y="356"/>
                  </a:lnTo>
                  <a:lnTo>
                    <a:pt x="4352" y="350"/>
                  </a:lnTo>
                  <a:lnTo>
                    <a:pt x="4362" y="346"/>
                  </a:lnTo>
                  <a:lnTo>
                    <a:pt x="4372" y="346"/>
                  </a:lnTo>
                  <a:lnTo>
                    <a:pt x="4382" y="346"/>
                  </a:lnTo>
                  <a:lnTo>
                    <a:pt x="4392" y="348"/>
                  </a:lnTo>
                  <a:lnTo>
                    <a:pt x="4400" y="354"/>
                  </a:lnTo>
                  <a:lnTo>
                    <a:pt x="4410" y="360"/>
                  </a:lnTo>
                  <a:lnTo>
                    <a:pt x="4418" y="368"/>
                  </a:lnTo>
                  <a:lnTo>
                    <a:pt x="4426" y="376"/>
                  </a:lnTo>
                  <a:lnTo>
                    <a:pt x="4432" y="388"/>
                  </a:lnTo>
                  <a:lnTo>
                    <a:pt x="4446" y="414"/>
                  </a:lnTo>
                  <a:lnTo>
                    <a:pt x="4456" y="442"/>
                  </a:lnTo>
                  <a:lnTo>
                    <a:pt x="4464" y="476"/>
                  </a:lnTo>
                  <a:lnTo>
                    <a:pt x="4468" y="512"/>
                  </a:lnTo>
                  <a:lnTo>
                    <a:pt x="4470" y="548"/>
                  </a:lnTo>
                  <a:lnTo>
                    <a:pt x="4468" y="586"/>
                  </a:lnTo>
                  <a:lnTo>
                    <a:pt x="4462" y="622"/>
                  </a:lnTo>
                  <a:lnTo>
                    <a:pt x="4452" y="658"/>
                  </a:lnTo>
                  <a:lnTo>
                    <a:pt x="4446" y="676"/>
                  </a:lnTo>
                  <a:lnTo>
                    <a:pt x="4438" y="692"/>
                  </a:lnTo>
                  <a:lnTo>
                    <a:pt x="4430" y="708"/>
                  </a:lnTo>
                  <a:lnTo>
                    <a:pt x="4420" y="722"/>
                  </a:lnTo>
                  <a:lnTo>
                    <a:pt x="4420" y="722"/>
                  </a:lnTo>
                  <a:lnTo>
                    <a:pt x="4410" y="736"/>
                  </a:lnTo>
                  <a:lnTo>
                    <a:pt x="4402" y="752"/>
                  </a:lnTo>
                  <a:lnTo>
                    <a:pt x="4396" y="768"/>
                  </a:lnTo>
                  <a:lnTo>
                    <a:pt x="4390" y="782"/>
                  </a:lnTo>
                  <a:lnTo>
                    <a:pt x="4388" y="798"/>
                  </a:lnTo>
                  <a:lnTo>
                    <a:pt x="4386" y="814"/>
                  </a:lnTo>
                  <a:lnTo>
                    <a:pt x="4384" y="830"/>
                  </a:lnTo>
                  <a:lnTo>
                    <a:pt x="4386" y="846"/>
                  </a:lnTo>
                  <a:lnTo>
                    <a:pt x="4386" y="860"/>
                  </a:lnTo>
                  <a:lnTo>
                    <a:pt x="4390" y="874"/>
                  </a:lnTo>
                  <a:lnTo>
                    <a:pt x="4398" y="902"/>
                  </a:lnTo>
                  <a:lnTo>
                    <a:pt x="4404" y="914"/>
                  </a:lnTo>
                  <a:lnTo>
                    <a:pt x="4412" y="926"/>
                  </a:lnTo>
                  <a:lnTo>
                    <a:pt x="4420" y="936"/>
                  </a:lnTo>
                  <a:lnTo>
                    <a:pt x="4428" y="946"/>
                  </a:lnTo>
                  <a:lnTo>
                    <a:pt x="4436" y="954"/>
                  </a:lnTo>
                  <a:lnTo>
                    <a:pt x="4446" y="960"/>
                  </a:lnTo>
                  <a:lnTo>
                    <a:pt x="4458" y="966"/>
                  </a:lnTo>
                  <a:lnTo>
                    <a:pt x="4468" y="968"/>
                  </a:lnTo>
                  <a:lnTo>
                    <a:pt x="4480" y="970"/>
                  </a:lnTo>
                  <a:lnTo>
                    <a:pt x="4492" y="970"/>
                  </a:lnTo>
                  <a:lnTo>
                    <a:pt x="4504" y="968"/>
                  </a:lnTo>
                  <a:lnTo>
                    <a:pt x="4518" y="964"/>
                  </a:lnTo>
                  <a:lnTo>
                    <a:pt x="4530" y="958"/>
                  </a:lnTo>
                  <a:lnTo>
                    <a:pt x="4544" y="948"/>
                  </a:lnTo>
                  <a:lnTo>
                    <a:pt x="4556" y="938"/>
                  </a:lnTo>
                  <a:lnTo>
                    <a:pt x="4570" y="924"/>
                  </a:lnTo>
                  <a:lnTo>
                    <a:pt x="4584" y="906"/>
                  </a:lnTo>
                  <a:lnTo>
                    <a:pt x="4598" y="888"/>
                  </a:lnTo>
                  <a:lnTo>
                    <a:pt x="4610" y="864"/>
                  </a:lnTo>
                  <a:lnTo>
                    <a:pt x="4624" y="840"/>
                  </a:lnTo>
                  <a:lnTo>
                    <a:pt x="4624" y="840"/>
                  </a:lnTo>
                  <a:lnTo>
                    <a:pt x="4678" y="724"/>
                  </a:lnTo>
                  <a:lnTo>
                    <a:pt x="4734" y="604"/>
                  </a:lnTo>
                  <a:lnTo>
                    <a:pt x="4762" y="544"/>
                  </a:lnTo>
                  <a:lnTo>
                    <a:pt x="4792" y="486"/>
                  </a:lnTo>
                  <a:lnTo>
                    <a:pt x="4820" y="432"/>
                  </a:lnTo>
                  <a:lnTo>
                    <a:pt x="4850" y="384"/>
                  </a:lnTo>
                  <a:lnTo>
                    <a:pt x="4878" y="340"/>
                  </a:lnTo>
                  <a:lnTo>
                    <a:pt x="4894" y="322"/>
                  </a:lnTo>
                  <a:lnTo>
                    <a:pt x="4908" y="304"/>
                  </a:lnTo>
                  <a:lnTo>
                    <a:pt x="4922" y="290"/>
                  </a:lnTo>
                  <a:lnTo>
                    <a:pt x="4936" y="278"/>
                  </a:lnTo>
                  <a:lnTo>
                    <a:pt x="4950" y="268"/>
                  </a:lnTo>
                  <a:lnTo>
                    <a:pt x="4964" y="260"/>
                  </a:lnTo>
                  <a:lnTo>
                    <a:pt x="4978" y="256"/>
                  </a:lnTo>
                  <a:lnTo>
                    <a:pt x="4992" y="254"/>
                  </a:lnTo>
                  <a:lnTo>
                    <a:pt x="5006" y="256"/>
                  </a:lnTo>
                  <a:lnTo>
                    <a:pt x="5018" y="260"/>
                  </a:lnTo>
                  <a:lnTo>
                    <a:pt x="5032" y="268"/>
                  </a:lnTo>
                  <a:lnTo>
                    <a:pt x="5044" y="280"/>
                  </a:lnTo>
                  <a:lnTo>
                    <a:pt x="5058" y="296"/>
                  </a:lnTo>
                  <a:lnTo>
                    <a:pt x="5070" y="314"/>
                  </a:lnTo>
                  <a:lnTo>
                    <a:pt x="5070" y="314"/>
                  </a:lnTo>
                  <a:lnTo>
                    <a:pt x="5080" y="336"/>
                  </a:lnTo>
                  <a:lnTo>
                    <a:pt x="5090" y="358"/>
                  </a:lnTo>
                  <a:lnTo>
                    <a:pt x="5098" y="382"/>
                  </a:lnTo>
                  <a:lnTo>
                    <a:pt x="5104" y="406"/>
                  </a:lnTo>
                  <a:lnTo>
                    <a:pt x="5114" y="454"/>
                  </a:lnTo>
                  <a:lnTo>
                    <a:pt x="5120" y="502"/>
                  </a:lnTo>
                  <a:lnTo>
                    <a:pt x="5128" y="592"/>
                  </a:lnTo>
                  <a:lnTo>
                    <a:pt x="5132" y="634"/>
                  </a:lnTo>
                  <a:lnTo>
                    <a:pt x="5138" y="670"/>
                  </a:lnTo>
                  <a:lnTo>
                    <a:pt x="5144" y="686"/>
                  </a:lnTo>
                  <a:lnTo>
                    <a:pt x="5150" y="700"/>
                  </a:lnTo>
                  <a:lnTo>
                    <a:pt x="5156" y="712"/>
                  </a:lnTo>
                  <a:lnTo>
                    <a:pt x="5164" y="724"/>
                  </a:lnTo>
                  <a:lnTo>
                    <a:pt x="5176" y="732"/>
                  </a:lnTo>
                  <a:lnTo>
                    <a:pt x="5188" y="740"/>
                  </a:lnTo>
                  <a:lnTo>
                    <a:pt x="5202" y="744"/>
                  </a:lnTo>
                  <a:lnTo>
                    <a:pt x="5218" y="746"/>
                  </a:lnTo>
                  <a:lnTo>
                    <a:pt x="5236" y="744"/>
                  </a:lnTo>
                  <a:lnTo>
                    <a:pt x="5258" y="740"/>
                  </a:lnTo>
                  <a:lnTo>
                    <a:pt x="5282" y="734"/>
                  </a:lnTo>
                  <a:lnTo>
                    <a:pt x="5310" y="724"/>
                  </a:lnTo>
                  <a:lnTo>
                    <a:pt x="5340" y="712"/>
                  </a:lnTo>
                  <a:lnTo>
                    <a:pt x="5374" y="696"/>
                  </a:lnTo>
                  <a:lnTo>
                    <a:pt x="5412" y="676"/>
                  </a:lnTo>
                  <a:lnTo>
                    <a:pt x="5452" y="652"/>
                  </a:lnTo>
                  <a:lnTo>
                    <a:pt x="5452" y="652"/>
                  </a:lnTo>
                  <a:lnTo>
                    <a:pt x="5488" y="610"/>
                  </a:lnTo>
                  <a:lnTo>
                    <a:pt x="5528" y="566"/>
                  </a:lnTo>
                  <a:lnTo>
                    <a:pt x="5576" y="516"/>
                  </a:lnTo>
                  <a:lnTo>
                    <a:pt x="5628" y="468"/>
                  </a:lnTo>
                  <a:lnTo>
                    <a:pt x="5654" y="444"/>
                  </a:lnTo>
                  <a:lnTo>
                    <a:pt x="5680" y="424"/>
                  </a:lnTo>
                  <a:lnTo>
                    <a:pt x="5704" y="408"/>
                  </a:lnTo>
                  <a:lnTo>
                    <a:pt x="5728" y="394"/>
                  </a:lnTo>
                  <a:lnTo>
                    <a:pt x="5750" y="386"/>
                  </a:lnTo>
                  <a:lnTo>
                    <a:pt x="5760" y="384"/>
                  </a:lnTo>
                  <a:lnTo>
                    <a:pt x="5768" y="384"/>
                  </a:lnTo>
                  <a:lnTo>
                    <a:pt x="5768" y="384"/>
                  </a:lnTo>
                  <a:lnTo>
                    <a:pt x="5786" y="386"/>
                  </a:lnTo>
                  <a:lnTo>
                    <a:pt x="5804" y="388"/>
                  </a:lnTo>
                  <a:lnTo>
                    <a:pt x="5822" y="392"/>
                  </a:lnTo>
                  <a:lnTo>
                    <a:pt x="5838" y="398"/>
                  </a:lnTo>
                  <a:lnTo>
                    <a:pt x="5852" y="406"/>
                  </a:lnTo>
                  <a:lnTo>
                    <a:pt x="5866" y="414"/>
                  </a:lnTo>
                  <a:lnTo>
                    <a:pt x="5876" y="426"/>
                  </a:lnTo>
                  <a:lnTo>
                    <a:pt x="5884" y="438"/>
                  </a:lnTo>
                  <a:lnTo>
                    <a:pt x="5888" y="454"/>
                  </a:lnTo>
                  <a:lnTo>
                    <a:pt x="5888" y="472"/>
                  </a:lnTo>
                  <a:lnTo>
                    <a:pt x="5884" y="494"/>
                  </a:lnTo>
                  <a:lnTo>
                    <a:pt x="5874" y="518"/>
                  </a:lnTo>
                  <a:lnTo>
                    <a:pt x="5860" y="546"/>
                  </a:lnTo>
                  <a:lnTo>
                    <a:pt x="5838" y="576"/>
                  </a:lnTo>
                  <a:lnTo>
                    <a:pt x="5812" y="610"/>
                  </a:lnTo>
                  <a:lnTo>
                    <a:pt x="5778" y="646"/>
                  </a:lnTo>
                  <a:lnTo>
                    <a:pt x="5778" y="646"/>
                  </a:lnTo>
                  <a:lnTo>
                    <a:pt x="5706" y="724"/>
                  </a:lnTo>
                  <a:lnTo>
                    <a:pt x="5644" y="796"/>
                  </a:lnTo>
                  <a:lnTo>
                    <a:pt x="5588" y="864"/>
                  </a:lnTo>
                  <a:lnTo>
                    <a:pt x="5540" y="928"/>
                  </a:lnTo>
                  <a:lnTo>
                    <a:pt x="5498" y="986"/>
                  </a:lnTo>
                  <a:lnTo>
                    <a:pt x="5462" y="1042"/>
                  </a:lnTo>
                  <a:lnTo>
                    <a:pt x="5402" y="1136"/>
                  </a:lnTo>
                  <a:lnTo>
                    <a:pt x="5402" y="1136"/>
                  </a:lnTo>
                  <a:lnTo>
                    <a:pt x="5374" y="1184"/>
                  </a:lnTo>
                  <a:lnTo>
                    <a:pt x="5346" y="1244"/>
                  </a:lnTo>
                  <a:lnTo>
                    <a:pt x="5282" y="1384"/>
                  </a:lnTo>
                  <a:lnTo>
                    <a:pt x="5246" y="1460"/>
                  </a:lnTo>
                  <a:lnTo>
                    <a:pt x="5208" y="1540"/>
                  </a:lnTo>
                  <a:lnTo>
                    <a:pt x="5166" y="1618"/>
                  </a:lnTo>
                  <a:lnTo>
                    <a:pt x="5122" y="1696"/>
                  </a:lnTo>
                  <a:lnTo>
                    <a:pt x="5122" y="1696"/>
                  </a:lnTo>
                  <a:lnTo>
                    <a:pt x="5076" y="1776"/>
                  </a:lnTo>
                  <a:lnTo>
                    <a:pt x="5030" y="1862"/>
                  </a:lnTo>
                  <a:lnTo>
                    <a:pt x="4986" y="1952"/>
                  </a:lnTo>
                  <a:lnTo>
                    <a:pt x="4944" y="2044"/>
                  </a:lnTo>
                  <a:lnTo>
                    <a:pt x="4906" y="2134"/>
                  </a:lnTo>
                  <a:lnTo>
                    <a:pt x="4876" y="2220"/>
                  </a:lnTo>
                  <a:lnTo>
                    <a:pt x="4850" y="2300"/>
                  </a:lnTo>
                  <a:lnTo>
                    <a:pt x="4840" y="2336"/>
                  </a:lnTo>
                  <a:lnTo>
                    <a:pt x="4834" y="2368"/>
                  </a:lnTo>
                  <a:lnTo>
                    <a:pt x="4834" y="2368"/>
                  </a:lnTo>
                  <a:lnTo>
                    <a:pt x="4814" y="2480"/>
                  </a:lnTo>
                  <a:lnTo>
                    <a:pt x="4802" y="2558"/>
                  </a:lnTo>
                  <a:lnTo>
                    <a:pt x="4798" y="2604"/>
                  </a:lnTo>
                  <a:lnTo>
                    <a:pt x="4796" y="2618"/>
                  </a:lnTo>
                  <a:lnTo>
                    <a:pt x="4796" y="2618"/>
                  </a:lnTo>
                  <a:lnTo>
                    <a:pt x="4686" y="2632"/>
                  </a:lnTo>
                  <a:lnTo>
                    <a:pt x="4558" y="2648"/>
                  </a:lnTo>
                  <a:lnTo>
                    <a:pt x="4386" y="2668"/>
                  </a:lnTo>
                  <a:lnTo>
                    <a:pt x="4176" y="2688"/>
                  </a:lnTo>
                  <a:lnTo>
                    <a:pt x="3936" y="2710"/>
                  </a:lnTo>
                  <a:lnTo>
                    <a:pt x="3670" y="2732"/>
                  </a:lnTo>
                  <a:lnTo>
                    <a:pt x="3384" y="2752"/>
                  </a:lnTo>
                  <a:lnTo>
                    <a:pt x="3234" y="2760"/>
                  </a:lnTo>
                  <a:lnTo>
                    <a:pt x="3082" y="2766"/>
                  </a:lnTo>
                  <a:lnTo>
                    <a:pt x="2928" y="2772"/>
                  </a:lnTo>
                  <a:lnTo>
                    <a:pt x="2772" y="2776"/>
                  </a:lnTo>
                  <a:lnTo>
                    <a:pt x="2614" y="2778"/>
                  </a:lnTo>
                  <a:lnTo>
                    <a:pt x="2456" y="2780"/>
                  </a:lnTo>
                  <a:lnTo>
                    <a:pt x="2298" y="2778"/>
                  </a:lnTo>
                  <a:lnTo>
                    <a:pt x="2142" y="2774"/>
                  </a:lnTo>
                  <a:lnTo>
                    <a:pt x="1986" y="2768"/>
                  </a:lnTo>
                  <a:lnTo>
                    <a:pt x="1834" y="2760"/>
                  </a:lnTo>
                  <a:lnTo>
                    <a:pt x="1684" y="2748"/>
                  </a:lnTo>
                  <a:lnTo>
                    <a:pt x="1540" y="2734"/>
                  </a:lnTo>
                  <a:lnTo>
                    <a:pt x="1398" y="2716"/>
                  </a:lnTo>
                  <a:lnTo>
                    <a:pt x="1262" y="2694"/>
                  </a:lnTo>
                  <a:lnTo>
                    <a:pt x="1130" y="2670"/>
                  </a:lnTo>
                  <a:lnTo>
                    <a:pt x="1068" y="2656"/>
                  </a:lnTo>
                  <a:lnTo>
                    <a:pt x="1006" y="2640"/>
                  </a:lnTo>
                  <a:lnTo>
                    <a:pt x="1006" y="264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marL="342900" indent="-342900" fontAlgn="auto">
                <a:spcBef>
                  <a:spcPts val="0"/>
                </a:spcBef>
                <a:spcAft>
                  <a:spcPts val="0"/>
                </a:spcAft>
                <a:buFont typeface="+mj-lt"/>
                <a:buAutoNum type="arabicPeriod"/>
                <a:defRPr/>
              </a:pPr>
              <a:endParaRPr lang="da-DK" kern="0" dirty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</p:grpSp>
      <p:sp>
        <p:nvSpPr>
          <p:cNvPr id="189" name="Ellipse 256"/>
          <p:cNvSpPr/>
          <p:nvPr/>
        </p:nvSpPr>
        <p:spPr>
          <a:xfrm>
            <a:off x="1668920" y="1958416"/>
            <a:ext cx="694498" cy="694496"/>
          </a:xfrm>
          <a:prstGeom prst="ellipse">
            <a:avLst/>
          </a:prstGeom>
          <a:solidFill>
            <a:srgbClr val="FFFFFF">
              <a:alpha val="63922"/>
            </a:srgbClr>
          </a:solidFill>
          <a:ln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a-DK"/>
          </a:p>
        </p:txBody>
      </p:sp>
      <p:sp>
        <p:nvSpPr>
          <p:cNvPr id="190" name="Tekstboks 57"/>
          <p:cNvSpPr txBox="1">
            <a:spLocks noChangeArrowheads="1"/>
          </p:cNvSpPr>
          <p:nvPr/>
        </p:nvSpPr>
        <p:spPr bwMode="auto">
          <a:xfrm>
            <a:off x="1629524" y="2122602"/>
            <a:ext cx="793711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-112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-112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-112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-112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-112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12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12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12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12" charset="0"/>
              </a:defRPr>
            </a:lvl9pPr>
          </a:lstStyle>
          <a:p>
            <a:pPr algn="ctr"/>
            <a:r>
              <a:rPr lang="da-DK" b="1" dirty="0"/>
              <a:t>12%</a:t>
            </a:r>
          </a:p>
        </p:txBody>
      </p:sp>
      <p:sp>
        <p:nvSpPr>
          <p:cNvPr id="191" name="Ellipse 261"/>
          <p:cNvSpPr/>
          <p:nvPr/>
        </p:nvSpPr>
        <p:spPr>
          <a:xfrm>
            <a:off x="3030234" y="2025403"/>
            <a:ext cx="427172" cy="427172"/>
          </a:xfrm>
          <a:prstGeom prst="ellipse">
            <a:avLst/>
          </a:prstGeom>
          <a:solidFill>
            <a:srgbClr val="FFFFFF">
              <a:alpha val="52941"/>
            </a:srgbClr>
          </a:solidFill>
          <a:ln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a-DK"/>
          </a:p>
        </p:txBody>
      </p:sp>
      <p:sp>
        <p:nvSpPr>
          <p:cNvPr id="192" name="Ellipse 267"/>
          <p:cNvSpPr/>
          <p:nvPr/>
        </p:nvSpPr>
        <p:spPr>
          <a:xfrm>
            <a:off x="4316765" y="2066095"/>
            <a:ext cx="479138" cy="479138"/>
          </a:xfrm>
          <a:prstGeom prst="ellipse">
            <a:avLst/>
          </a:prstGeom>
          <a:solidFill>
            <a:srgbClr val="FFFFFF">
              <a:alpha val="63922"/>
            </a:srgbClr>
          </a:solidFill>
          <a:ln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a-DK"/>
          </a:p>
        </p:txBody>
      </p:sp>
      <p:sp>
        <p:nvSpPr>
          <p:cNvPr id="193" name="Tekstboks 208"/>
          <p:cNvSpPr txBox="1">
            <a:spLocks noChangeArrowheads="1"/>
          </p:cNvSpPr>
          <p:nvPr/>
        </p:nvSpPr>
        <p:spPr bwMode="auto">
          <a:xfrm>
            <a:off x="2781837" y="2052117"/>
            <a:ext cx="937020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-112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-112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-112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-112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-112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12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12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12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12" charset="0"/>
              </a:defRPr>
            </a:lvl9pPr>
          </a:lstStyle>
          <a:p>
            <a:pPr algn="ctr"/>
            <a:r>
              <a:rPr lang="da-DK" b="1" dirty="0"/>
              <a:t>7%</a:t>
            </a:r>
          </a:p>
        </p:txBody>
      </p:sp>
      <p:sp>
        <p:nvSpPr>
          <p:cNvPr id="194" name="Ellipse 279"/>
          <p:cNvSpPr/>
          <p:nvPr/>
        </p:nvSpPr>
        <p:spPr>
          <a:xfrm>
            <a:off x="3033758" y="3360695"/>
            <a:ext cx="385834" cy="385834"/>
          </a:xfrm>
          <a:prstGeom prst="ellipse">
            <a:avLst/>
          </a:prstGeom>
          <a:solidFill>
            <a:srgbClr val="FFFFFF">
              <a:alpha val="52941"/>
            </a:srgbClr>
          </a:solidFill>
          <a:ln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a-DK"/>
          </a:p>
        </p:txBody>
      </p:sp>
      <p:sp>
        <p:nvSpPr>
          <p:cNvPr id="195" name="Tekstboks 280"/>
          <p:cNvSpPr txBox="1">
            <a:spLocks noChangeArrowheads="1"/>
          </p:cNvSpPr>
          <p:nvPr/>
        </p:nvSpPr>
        <p:spPr bwMode="auto">
          <a:xfrm>
            <a:off x="2754761" y="3365324"/>
            <a:ext cx="937020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-112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-112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-112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-112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-112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12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12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12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12" charset="0"/>
              </a:defRPr>
            </a:lvl9pPr>
          </a:lstStyle>
          <a:p>
            <a:pPr algn="ctr"/>
            <a:r>
              <a:rPr lang="da-DK" b="1" dirty="0"/>
              <a:t>5%</a:t>
            </a:r>
          </a:p>
        </p:txBody>
      </p:sp>
      <p:sp>
        <p:nvSpPr>
          <p:cNvPr id="196" name="Ellipse 290"/>
          <p:cNvSpPr/>
          <p:nvPr/>
        </p:nvSpPr>
        <p:spPr>
          <a:xfrm>
            <a:off x="3063426" y="4793301"/>
            <a:ext cx="363786" cy="363786"/>
          </a:xfrm>
          <a:prstGeom prst="ellipse">
            <a:avLst/>
          </a:prstGeom>
          <a:solidFill>
            <a:srgbClr val="FFFFFF">
              <a:alpha val="52941"/>
            </a:srgbClr>
          </a:solidFill>
          <a:ln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a-DK" sz="1200" dirty="0"/>
          </a:p>
        </p:txBody>
      </p:sp>
      <p:sp>
        <p:nvSpPr>
          <p:cNvPr id="197" name="Tekstboks 279"/>
          <p:cNvSpPr txBox="1">
            <a:spLocks noChangeArrowheads="1"/>
          </p:cNvSpPr>
          <p:nvPr/>
        </p:nvSpPr>
        <p:spPr bwMode="auto">
          <a:xfrm>
            <a:off x="2798856" y="4806846"/>
            <a:ext cx="937020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-112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-112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-112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-112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-112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12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12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12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12" charset="0"/>
              </a:defRPr>
            </a:lvl9pPr>
          </a:lstStyle>
          <a:p>
            <a:pPr algn="ctr"/>
            <a:r>
              <a:rPr lang="da-DK" sz="1600" b="1" dirty="0"/>
              <a:t>10%</a:t>
            </a:r>
          </a:p>
        </p:txBody>
      </p:sp>
      <p:sp>
        <p:nvSpPr>
          <p:cNvPr id="198" name="Ellipse 314"/>
          <p:cNvSpPr/>
          <p:nvPr/>
        </p:nvSpPr>
        <p:spPr>
          <a:xfrm>
            <a:off x="5603864" y="2012944"/>
            <a:ext cx="433040" cy="433040"/>
          </a:xfrm>
          <a:prstGeom prst="ellipse">
            <a:avLst/>
          </a:prstGeom>
          <a:solidFill>
            <a:srgbClr val="FFFFFF">
              <a:alpha val="52941"/>
            </a:srgbClr>
          </a:solidFill>
          <a:ln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a-DK"/>
          </a:p>
        </p:txBody>
      </p:sp>
      <p:sp>
        <p:nvSpPr>
          <p:cNvPr id="199" name="Ellipse 315"/>
          <p:cNvSpPr/>
          <p:nvPr/>
        </p:nvSpPr>
        <p:spPr>
          <a:xfrm>
            <a:off x="6802754" y="2004782"/>
            <a:ext cx="601764" cy="601764"/>
          </a:xfrm>
          <a:prstGeom prst="ellipse">
            <a:avLst/>
          </a:prstGeom>
          <a:solidFill>
            <a:srgbClr val="FFFFFF">
              <a:alpha val="63922"/>
            </a:srgbClr>
          </a:solidFill>
          <a:ln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a-DK"/>
          </a:p>
        </p:txBody>
      </p:sp>
      <p:sp>
        <p:nvSpPr>
          <p:cNvPr id="200" name="Ellipse 317"/>
          <p:cNvSpPr/>
          <p:nvPr/>
        </p:nvSpPr>
        <p:spPr>
          <a:xfrm>
            <a:off x="5597335" y="3374379"/>
            <a:ext cx="410994" cy="410994"/>
          </a:xfrm>
          <a:prstGeom prst="ellipse">
            <a:avLst/>
          </a:prstGeom>
          <a:solidFill>
            <a:srgbClr val="FFFFFF">
              <a:alpha val="52941"/>
            </a:srgbClr>
          </a:solidFill>
          <a:ln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a-DK"/>
          </a:p>
        </p:txBody>
      </p:sp>
      <p:sp>
        <p:nvSpPr>
          <p:cNvPr id="201" name="Ellipse 321"/>
          <p:cNvSpPr/>
          <p:nvPr/>
        </p:nvSpPr>
        <p:spPr>
          <a:xfrm>
            <a:off x="5603330" y="4760858"/>
            <a:ext cx="424050" cy="424050"/>
          </a:xfrm>
          <a:prstGeom prst="ellipse">
            <a:avLst/>
          </a:prstGeom>
          <a:solidFill>
            <a:srgbClr val="FFFFFF">
              <a:alpha val="52941"/>
            </a:srgbClr>
          </a:solidFill>
          <a:ln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a-DK"/>
          </a:p>
        </p:txBody>
      </p:sp>
      <p:sp>
        <p:nvSpPr>
          <p:cNvPr id="202" name="Tekstboks 214"/>
          <p:cNvSpPr txBox="1">
            <a:spLocks noChangeArrowheads="1"/>
          </p:cNvSpPr>
          <p:nvPr/>
        </p:nvSpPr>
        <p:spPr bwMode="auto">
          <a:xfrm>
            <a:off x="5433536" y="2052117"/>
            <a:ext cx="804735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-112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-112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-112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-112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-112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12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12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12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12" charset="0"/>
              </a:defRPr>
            </a:lvl9pPr>
          </a:lstStyle>
          <a:p>
            <a:pPr algn="ctr"/>
            <a:r>
              <a:rPr lang="da-DK" b="1" dirty="0"/>
              <a:t>7%</a:t>
            </a:r>
          </a:p>
        </p:txBody>
      </p:sp>
      <p:sp>
        <p:nvSpPr>
          <p:cNvPr id="203" name="Tekstboks 255"/>
          <p:cNvSpPr txBox="1">
            <a:spLocks noChangeArrowheads="1"/>
          </p:cNvSpPr>
          <p:nvPr/>
        </p:nvSpPr>
        <p:spPr bwMode="auto">
          <a:xfrm>
            <a:off x="6701269" y="2119729"/>
            <a:ext cx="804735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-112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-112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-112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-112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-112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12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12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12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12" charset="0"/>
              </a:defRPr>
            </a:lvl9pPr>
          </a:lstStyle>
          <a:p>
            <a:pPr algn="ctr"/>
            <a:r>
              <a:rPr lang="da-DK" b="1" dirty="0"/>
              <a:t>20%</a:t>
            </a:r>
          </a:p>
        </p:txBody>
      </p:sp>
      <p:sp>
        <p:nvSpPr>
          <p:cNvPr id="204" name="Tekstboks 261"/>
          <p:cNvSpPr txBox="1">
            <a:spLocks noChangeArrowheads="1"/>
          </p:cNvSpPr>
          <p:nvPr/>
        </p:nvSpPr>
        <p:spPr bwMode="auto">
          <a:xfrm>
            <a:off x="5422512" y="3387371"/>
            <a:ext cx="804735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-112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-112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-112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-112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-112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12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12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12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12" charset="0"/>
              </a:defRPr>
            </a:lvl9pPr>
          </a:lstStyle>
          <a:p>
            <a:pPr algn="ctr"/>
            <a:r>
              <a:rPr lang="da-DK" b="1" dirty="0"/>
              <a:t>8%</a:t>
            </a:r>
          </a:p>
        </p:txBody>
      </p:sp>
      <p:sp>
        <p:nvSpPr>
          <p:cNvPr id="205" name="Tekstboks 267"/>
          <p:cNvSpPr txBox="1">
            <a:spLocks noChangeArrowheads="1"/>
          </p:cNvSpPr>
          <p:nvPr/>
        </p:nvSpPr>
        <p:spPr bwMode="auto">
          <a:xfrm>
            <a:off x="5438032" y="4787389"/>
            <a:ext cx="804735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-112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-112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-112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-112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-112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12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12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12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12" charset="0"/>
              </a:defRPr>
            </a:lvl9pPr>
          </a:lstStyle>
          <a:p>
            <a:pPr algn="ctr"/>
            <a:r>
              <a:rPr lang="da-DK" b="1" dirty="0"/>
              <a:t>15%</a:t>
            </a:r>
          </a:p>
        </p:txBody>
      </p:sp>
      <p:sp>
        <p:nvSpPr>
          <p:cNvPr id="206" name="Tekstboks 290"/>
          <p:cNvSpPr txBox="1">
            <a:spLocks noChangeArrowheads="1"/>
          </p:cNvSpPr>
          <p:nvPr/>
        </p:nvSpPr>
        <p:spPr bwMode="auto">
          <a:xfrm>
            <a:off x="4153967" y="2120998"/>
            <a:ext cx="804735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-112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-112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-112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-112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-112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12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12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12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12" charset="0"/>
              </a:defRPr>
            </a:lvl9pPr>
          </a:lstStyle>
          <a:p>
            <a:pPr algn="ctr"/>
            <a:r>
              <a:rPr lang="da-DK" b="1" dirty="0"/>
              <a:t>15%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Your footnote</a:t>
            </a:r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18355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7" name="Object 8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28650" y="866381"/>
            <a:ext cx="7891272" cy="243785"/>
          </a:xfrm>
        </p:spPr>
        <p:txBody>
          <a:bodyPr/>
          <a:lstStyle/>
          <a:p>
            <a:pPr>
              <a:lnSpc>
                <a:spcPct val="80000"/>
              </a:lnSpc>
            </a:pPr>
            <a:r>
              <a:rPr lang="en-US"/>
              <a:t>Replace this text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437962"/>
            <a:ext cx="7886700" cy="395173"/>
          </a:xfrm>
        </p:spPr>
        <p:txBody>
          <a:bodyPr/>
          <a:lstStyle/>
          <a:p>
            <a:pPr>
              <a:lnSpc>
                <a:spcPct val="80000"/>
              </a:lnSpc>
            </a:pPr>
            <a:r>
              <a:rPr lang="en-US"/>
              <a:t>BUSINESS EXCELLENCE MODEL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5C11E9-EA40-D54F-953A-82A4C72DAAAD}" type="slidenum">
              <a:rPr lang="en-US" smtClean="0"/>
              <a:t>4</a:t>
            </a:fld>
            <a:r>
              <a:rPr lang="en-US" smtClean="0"/>
              <a:t> I</a:t>
            </a:r>
            <a:endParaRPr lang="en-US" dirty="0"/>
          </a:p>
        </p:txBody>
      </p:sp>
      <p:sp>
        <p:nvSpPr>
          <p:cNvPr id="44" name="Pentagon 43"/>
          <p:cNvSpPr/>
          <p:nvPr/>
        </p:nvSpPr>
        <p:spPr>
          <a:xfrm>
            <a:off x="510977" y="1922352"/>
            <a:ext cx="8283046" cy="4135547"/>
          </a:xfrm>
          <a:prstGeom prst="homePlate">
            <a:avLst>
              <a:gd name="adj" fmla="val 21526"/>
            </a:avLst>
          </a:prstGeom>
          <a:gradFill flip="none" rotWithShape="1">
            <a:gsLst>
              <a:gs pos="52000">
                <a:srgbClr val="17375E"/>
              </a:gs>
              <a:gs pos="100000">
                <a:srgbClr val="95B3D7"/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algn="ctr"/>
            <a:endParaRPr lang="da-DK" kern="0" dirty="0" err="1">
              <a:solidFill>
                <a:sysClr val="window" lastClr="FFFFFF"/>
              </a:solidFill>
              <a:latin typeface="Calibri"/>
            </a:endParaRPr>
          </a:p>
        </p:txBody>
      </p:sp>
      <p:sp>
        <p:nvSpPr>
          <p:cNvPr id="46" name="Pentagon 45"/>
          <p:cNvSpPr/>
          <p:nvPr/>
        </p:nvSpPr>
        <p:spPr>
          <a:xfrm>
            <a:off x="510977" y="2161401"/>
            <a:ext cx="8043997" cy="3657449"/>
          </a:xfrm>
          <a:prstGeom prst="homePlate">
            <a:avLst>
              <a:gd name="adj" fmla="val 21526"/>
            </a:avLst>
          </a:prstGeom>
          <a:gradFill flip="none" rotWithShape="1">
            <a:gsLst>
              <a:gs pos="52000">
                <a:srgbClr val="17375E"/>
              </a:gs>
              <a:gs pos="100000">
                <a:srgbClr val="95B3D7"/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a-DK" kern="0" dirty="0" err="1">
              <a:solidFill>
                <a:sysClr val="window" lastClr="FFFFFF"/>
              </a:solidFill>
              <a:latin typeface="Calibri"/>
              <a:cs typeface="+mn-cs"/>
            </a:endParaRPr>
          </a:p>
        </p:txBody>
      </p:sp>
      <p:grpSp>
        <p:nvGrpSpPr>
          <p:cNvPr id="47" name="Gruppe 10"/>
          <p:cNvGrpSpPr/>
          <p:nvPr/>
        </p:nvGrpSpPr>
        <p:grpSpPr>
          <a:xfrm>
            <a:off x="726121" y="2352640"/>
            <a:ext cx="7494184" cy="3239113"/>
            <a:chOff x="671574" y="2311400"/>
            <a:chExt cx="10936226" cy="3441700"/>
          </a:xfr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48" name="Vinkel 2"/>
            <p:cNvSpPr/>
            <p:nvPr/>
          </p:nvSpPr>
          <p:spPr>
            <a:xfrm>
              <a:off x="8801100" y="2349500"/>
              <a:ext cx="2806700" cy="3403600"/>
            </a:xfrm>
            <a:prstGeom prst="chevron">
              <a:avLst>
                <a:gd name="adj" fmla="val 36364"/>
              </a:avLst>
            </a:prstGeom>
            <a:gradFill rotWithShape="1">
              <a:gsLst>
                <a:gs pos="0">
                  <a:srgbClr val="E6E6E6">
                    <a:tint val="100000"/>
                    <a:shade val="100000"/>
                    <a:satMod val="130000"/>
                  </a:srgbClr>
                </a:gs>
                <a:gs pos="100000">
                  <a:srgbClr val="E6E6E6">
                    <a:tint val="50000"/>
                    <a:shade val="100000"/>
                    <a:satMod val="350000"/>
                  </a:srgbClr>
                </a:gs>
              </a:gsLst>
              <a:lin ang="16200000" scaled="0"/>
            </a:gradFill>
            <a:ln w="9525" cap="flat" cmpd="sng" algn="ctr">
              <a:solidFill>
                <a:sysClr val="window" lastClr="FFFFFF">
                  <a:lumMod val="85000"/>
                </a:sysClr>
              </a:solidFill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" lastClr="FFFFFF"/>
                </a:solidFill>
                <a:latin typeface="Calibri"/>
                <a:cs typeface="+mn-cs"/>
              </a:endParaRPr>
            </a:p>
          </p:txBody>
        </p:sp>
        <p:sp>
          <p:nvSpPr>
            <p:cNvPr id="49" name="Vinkel 3"/>
            <p:cNvSpPr/>
            <p:nvPr/>
          </p:nvSpPr>
          <p:spPr>
            <a:xfrm>
              <a:off x="6934200" y="2336800"/>
              <a:ext cx="2806700" cy="3403600"/>
            </a:xfrm>
            <a:prstGeom prst="chevron">
              <a:avLst>
                <a:gd name="adj" fmla="val 36364"/>
              </a:avLst>
            </a:prstGeom>
            <a:gradFill rotWithShape="1">
              <a:gsLst>
                <a:gs pos="0">
                  <a:srgbClr val="E6E6E6">
                    <a:tint val="100000"/>
                    <a:shade val="100000"/>
                    <a:satMod val="130000"/>
                  </a:srgbClr>
                </a:gs>
                <a:gs pos="100000">
                  <a:srgbClr val="E6E6E6">
                    <a:tint val="50000"/>
                    <a:shade val="100000"/>
                    <a:satMod val="350000"/>
                  </a:srgbClr>
                </a:gs>
              </a:gsLst>
              <a:lin ang="16200000" scaled="0"/>
            </a:gradFill>
            <a:ln w="9525" cap="flat" cmpd="sng" algn="ctr">
              <a:solidFill>
                <a:sysClr val="window" lastClr="FFFFFF">
                  <a:lumMod val="85000"/>
                </a:sysClr>
              </a:solidFill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" lastClr="FFFFFF"/>
                </a:solidFill>
                <a:latin typeface="Calibri"/>
                <a:cs typeface="+mn-cs"/>
              </a:endParaRPr>
            </a:p>
          </p:txBody>
        </p:sp>
        <p:sp>
          <p:nvSpPr>
            <p:cNvPr id="51" name="Vinkel 4"/>
            <p:cNvSpPr/>
            <p:nvPr/>
          </p:nvSpPr>
          <p:spPr>
            <a:xfrm>
              <a:off x="5054600" y="2336800"/>
              <a:ext cx="2806700" cy="3403600"/>
            </a:xfrm>
            <a:prstGeom prst="chevron">
              <a:avLst>
                <a:gd name="adj" fmla="val 36364"/>
              </a:avLst>
            </a:prstGeom>
            <a:gradFill rotWithShape="1">
              <a:gsLst>
                <a:gs pos="0">
                  <a:srgbClr val="E6E6E6">
                    <a:tint val="100000"/>
                    <a:shade val="100000"/>
                    <a:satMod val="130000"/>
                  </a:srgbClr>
                </a:gs>
                <a:gs pos="100000">
                  <a:srgbClr val="E6E6E6">
                    <a:tint val="50000"/>
                    <a:shade val="100000"/>
                    <a:satMod val="350000"/>
                  </a:srgbClr>
                </a:gs>
              </a:gsLst>
              <a:lin ang="16200000" scaled="0"/>
            </a:gradFill>
            <a:ln w="9525" cap="flat" cmpd="sng" algn="ctr">
              <a:solidFill>
                <a:sysClr val="window" lastClr="FFFFFF">
                  <a:lumMod val="85000"/>
                </a:sysClr>
              </a:solidFill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" lastClr="FFFFFF"/>
                </a:solidFill>
                <a:latin typeface="Calibri"/>
                <a:cs typeface="+mn-cs"/>
              </a:endParaRPr>
            </a:p>
          </p:txBody>
        </p:sp>
        <p:sp>
          <p:nvSpPr>
            <p:cNvPr id="56" name="Vinkel 5"/>
            <p:cNvSpPr/>
            <p:nvPr/>
          </p:nvSpPr>
          <p:spPr>
            <a:xfrm>
              <a:off x="3187700" y="2324100"/>
              <a:ext cx="2806700" cy="3403600"/>
            </a:xfrm>
            <a:prstGeom prst="chevron">
              <a:avLst>
                <a:gd name="adj" fmla="val 36364"/>
              </a:avLst>
            </a:prstGeom>
            <a:gradFill rotWithShape="1">
              <a:gsLst>
                <a:gs pos="0">
                  <a:srgbClr val="E6E6E6">
                    <a:tint val="100000"/>
                    <a:shade val="100000"/>
                    <a:satMod val="130000"/>
                  </a:srgbClr>
                </a:gs>
                <a:gs pos="100000">
                  <a:srgbClr val="E6E6E6">
                    <a:tint val="50000"/>
                    <a:shade val="100000"/>
                    <a:satMod val="350000"/>
                  </a:srgbClr>
                </a:gs>
              </a:gsLst>
              <a:lin ang="16200000" scaled="0"/>
            </a:gradFill>
            <a:ln w="9525" cap="flat" cmpd="sng" algn="ctr">
              <a:solidFill>
                <a:sysClr val="window" lastClr="FFFFFF">
                  <a:lumMod val="85000"/>
                </a:sysClr>
              </a:solidFill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" lastClr="FFFFFF"/>
                </a:solidFill>
                <a:latin typeface="Calibri"/>
                <a:cs typeface="+mn-cs"/>
              </a:endParaRPr>
            </a:p>
          </p:txBody>
        </p:sp>
        <p:sp>
          <p:nvSpPr>
            <p:cNvPr id="57" name="Vinkel 6"/>
            <p:cNvSpPr/>
            <p:nvPr/>
          </p:nvSpPr>
          <p:spPr>
            <a:xfrm>
              <a:off x="2260600" y="3340100"/>
              <a:ext cx="1841499" cy="1371600"/>
            </a:xfrm>
            <a:prstGeom prst="chevron">
              <a:avLst>
                <a:gd name="adj" fmla="val 22726"/>
              </a:avLst>
            </a:prstGeom>
            <a:gradFill rotWithShape="1">
              <a:gsLst>
                <a:gs pos="0">
                  <a:srgbClr val="E6E6E6">
                    <a:tint val="100000"/>
                    <a:shade val="100000"/>
                    <a:satMod val="130000"/>
                  </a:srgbClr>
                </a:gs>
                <a:gs pos="100000">
                  <a:srgbClr val="E6E6E6">
                    <a:tint val="50000"/>
                    <a:shade val="100000"/>
                    <a:satMod val="350000"/>
                  </a:srgbClr>
                </a:gs>
              </a:gsLst>
              <a:lin ang="16200000" scaled="0"/>
            </a:gradFill>
            <a:ln w="9525" cap="flat" cmpd="sng" algn="ctr">
              <a:solidFill>
                <a:sysClr val="window" lastClr="FFFFFF">
                  <a:lumMod val="85000"/>
                </a:sysClr>
              </a:solidFill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" lastClr="FFFFFF"/>
                </a:solidFill>
                <a:latin typeface="Calibri"/>
                <a:cs typeface="+mn-cs"/>
              </a:endParaRPr>
            </a:p>
          </p:txBody>
        </p:sp>
        <p:sp>
          <p:nvSpPr>
            <p:cNvPr id="59" name="Pentagon 58"/>
            <p:cNvSpPr/>
            <p:nvPr/>
          </p:nvSpPr>
          <p:spPr>
            <a:xfrm>
              <a:off x="671574" y="2311400"/>
              <a:ext cx="1866900" cy="3416300"/>
            </a:xfrm>
            <a:prstGeom prst="homePlate">
              <a:avLst>
                <a:gd name="adj" fmla="val 55269"/>
              </a:avLst>
            </a:prstGeom>
            <a:gradFill rotWithShape="1">
              <a:gsLst>
                <a:gs pos="0">
                  <a:srgbClr val="E6E6E6">
                    <a:tint val="100000"/>
                    <a:shade val="100000"/>
                    <a:satMod val="130000"/>
                  </a:srgbClr>
                </a:gs>
                <a:gs pos="100000">
                  <a:srgbClr val="E6E6E6">
                    <a:tint val="50000"/>
                    <a:shade val="100000"/>
                    <a:satMod val="350000"/>
                  </a:srgbClr>
                </a:gs>
              </a:gsLst>
              <a:lin ang="16200000" scaled="0"/>
            </a:gradFill>
            <a:ln w="9525" cap="flat" cmpd="sng" algn="ctr">
              <a:solidFill>
                <a:sysClr val="window" lastClr="FFFFFF">
                  <a:lumMod val="85000"/>
                </a:sysClr>
              </a:solidFill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" lastClr="FFFFFF"/>
                </a:solidFill>
                <a:latin typeface="Calibri"/>
                <a:cs typeface="+mn-cs"/>
              </a:endParaRPr>
            </a:p>
          </p:txBody>
        </p:sp>
        <p:sp>
          <p:nvSpPr>
            <p:cNvPr id="60" name="Parallelogram 59"/>
            <p:cNvSpPr/>
            <p:nvPr/>
          </p:nvSpPr>
          <p:spPr>
            <a:xfrm flipH="1">
              <a:off x="1630892" y="2311400"/>
              <a:ext cx="2026709" cy="965200"/>
            </a:xfrm>
            <a:prstGeom prst="parallelogram">
              <a:avLst>
                <a:gd name="adj" fmla="val 43453"/>
              </a:avLst>
            </a:prstGeom>
            <a:gradFill rotWithShape="1">
              <a:gsLst>
                <a:gs pos="0">
                  <a:srgbClr val="E6E6E6">
                    <a:tint val="100000"/>
                    <a:shade val="100000"/>
                    <a:satMod val="130000"/>
                  </a:srgbClr>
                </a:gs>
                <a:gs pos="100000">
                  <a:srgbClr val="E6E6E6">
                    <a:tint val="50000"/>
                    <a:shade val="100000"/>
                    <a:satMod val="350000"/>
                  </a:srgbClr>
                </a:gs>
              </a:gsLst>
              <a:lin ang="16200000" scaled="0"/>
            </a:gradFill>
            <a:ln w="9525" cap="flat" cmpd="sng" algn="ctr">
              <a:solidFill>
                <a:sysClr val="window" lastClr="FFFFFF">
                  <a:lumMod val="85000"/>
                </a:sysClr>
              </a:solidFill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" lastClr="FFFFFF"/>
                </a:solidFill>
                <a:latin typeface="Calibri"/>
                <a:cs typeface="+mn-cs"/>
              </a:endParaRPr>
            </a:p>
          </p:txBody>
        </p:sp>
        <p:sp>
          <p:nvSpPr>
            <p:cNvPr id="61" name="Parallelogram 60"/>
            <p:cNvSpPr/>
            <p:nvPr/>
          </p:nvSpPr>
          <p:spPr>
            <a:xfrm flipH="1" flipV="1">
              <a:off x="1630892" y="4787900"/>
              <a:ext cx="2026709" cy="939800"/>
            </a:xfrm>
            <a:prstGeom prst="parallelogram">
              <a:avLst>
                <a:gd name="adj" fmla="val 45765"/>
              </a:avLst>
            </a:prstGeom>
            <a:gradFill rotWithShape="1">
              <a:gsLst>
                <a:gs pos="0">
                  <a:srgbClr val="E6E6E6">
                    <a:tint val="100000"/>
                    <a:shade val="100000"/>
                    <a:satMod val="130000"/>
                  </a:srgbClr>
                </a:gs>
                <a:gs pos="100000">
                  <a:srgbClr val="E6E6E6">
                    <a:tint val="50000"/>
                    <a:shade val="100000"/>
                    <a:satMod val="350000"/>
                  </a:srgbClr>
                </a:gs>
              </a:gsLst>
              <a:lin ang="16200000" scaled="0"/>
            </a:gradFill>
            <a:ln w="9525" cap="flat" cmpd="sng" algn="ctr">
              <a:solidFill>
                <a:sysClr val="window" lastClr="FFFFFF">
                  <a:lumMod val="85000"/>
                </a:sysClr>
              </a:solidFill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" lastClr="FFFFFF"/>
                </a:solidFill>
                <a:latin typeface="Calibri"/>
                <a:cs typeface="+mn-cs"/>
              </a:endParaRPr>
            </a:p>
          </p:txBody>
        </p:sp>
      </p:grpSp>
      <p:sp>
        <p:nvSpPr>
          <p:cNvPr id="62" name="Tekstboks 11"/>
          <p:cNvSpPr txBox="1"/>
          <p:nvPr/>
        </p:nvSpPr>
        <p:spPr>
          <a:xfrm rot="16200000">
            <a:off x="109076" y="3826526"/>
            <a:ext cx="2111100" cy="307777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a-DK" sz="1400" dirty="0">
                <a:latin typeface="+mn-lt"/>
                <a:cs typeface="+mn-cs"/>
              </a:rPr>
              <a:t>LEADERSHIP</a:t>
            </a:r>
          </a:p>
        </p:txBody>
      </p:sp>
      <p:sp>
        <p:nvSpPr>
          <p:cNvPr id="63" name="Tekstboks 12"/>
          <p:cNvSpPr txBox="1"/>
          <p:nvPr/>
        </p:nvSpPr>
        <p:spPr>
          <a:xfrm rot="16200000">
            <a:off x="6372159" y="3826526"/>
            <a:ext cx="2111100" cy="307777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a-DK" sz="1400" dirty="0">
                <a:latin typeface="+mn-lt"/>
                <a:cs typeface="+mn-cs"/>
              </a:rPr>
              <a:t>SUSTAINABLE SUCCES</a:t>
            </a:r>
          </a:p>
        </p:txBody>
      </p:sp>
      <p:sp>
        <p:nvSpPr>
          <p:cNvPr id="64" name="Tekstboks 13"/>
          <p:cNvSpPr txBox="1"/>
          <p:nvPr/>
        </p:nvSpPr>
        <p:spPr>
          <a:xfrm rot="16200000">
            <a:off x="5069342" y="3826526"/>
            <a:ext cx="2111100" cy="307777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a-DK" sz="1400" dirty="0">
                <a:latin typeface="+mn-lt"/>
                <a:cs typeface="+mn-cs"/>
              </a:rPr>
              <a:t>UNIVERSAL WELL-BEING</a:t>
            </a:r>
          </a:p>
        </p:txBody>
      </p:sp>
      <p:sp>
        <p:nvSpPr>
          <p:cNvPr id="65" name="Tekstboks 14"/>
          <p:cNvSpPr txBox="1"/>
          <p:nvPr/>
        </p:nvSpPr>
        <p:spPr>
          <a:xfrm rot="16200000">
            <a:off x="3754573" y="3826525"/>
            <a:ext cx="2111100" cy="307777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a-DK" sz="1400" dirty="0">
                <a:latin typeface="+mn-lt"/>
                <a:cs typeface="+mn-cs"/>
              </a:rPr>
              <a:t>KEY BUSINESS RESULTS</a:t>
            </a:r>
          </a:p>
        </p:txBody>
      </p:sp>
      <p:sp>
        <p:nvSpPr>
          <p:cNvPr id="66" name="Tekstboks 15"/>
          <p:cNvSpPr txBox="1"/>
          <p:nvPr/>
        </p:nvSpPr>
        <p:spPr>
          <a:xfrm rot="16200000">
            <a:off x="2499566" y="3826526"/>
            <a:ext cx="2111100" cy="307777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a-DK" sz="1400" dirty="0">
                <a:latin typeface="+mn-lt"/>
                <a:cs typeface="+mn-cs"/>
              </a:rPr>
              <a:t>CUSTOMER VALUES</a:t>
            </a:r>
          </a:p>
        </p:txBody>
      </p:sp>
      <p:sp>
        <p:nvSpPr>
          <p:cNvPr id="67" name="Tekstboks 16"/>
          <p:cNvSpPr txBox="1"/>
          <p:nvPr/>
        </p:nvSpPr>
        <p:spPr>
          <a:xfrm>
            <a:off x="1519465" y="2723166"/>
            <a:ext cx="1119047" cy="246221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a-DK" sz="1000" dirty="0">
                <a:latin typeface="+mn-lt"/>
                <a:cs typeface="+mn-cs"/>
              </a:rPr>
              <a:t>PEOPLE VALUES</a:t>
            </a:r>
          </a:p>
        </p:txBody>
      </p:sp>
      <p:sp>
        <p:nvSpPr>
          <p:cNvPr id="68" name="Tekstboks 17"/>
          <p:cNvSpPr txBox="1"/>
          <p:nvPr/>
        </p:nvSpPr>
        <p:spPr>
          <a:xfrm>
            <a:off x="1925848" y="3741673"/>
            <a:ext cx="1119047" cy="40011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a-DK" sz="1000" dirty="0">
                <a:latin typeface="+mn-lt"/>
                <a:cs typeface="+mn-cs"/>
              </a:rPr>
              <a:t>STRATEGIC PLANNING</a:t>
            </a:r>
          </a:p>
        </p:txBody>
      </p:sp>
      <p:sp>
        <p:nvSpPr>
          <p:cNvPr id="69" name="Tekstboks 18"/>
          <p:cNvSpPr txBox="1"/>
          <p:nvPr/>
        </p:nvSpPr>
        <p:spPr>
          <a:xfrm>
            <a:off x="1638990" y="4743130"/>
            <a:ext cx="1119047" cy="246221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a-DK" sz="1000" dirty="0">
                <a:latin typeface="+mn-lt"/>
                <a:cs typeface="+mn-cs"/>
              </a:rPr>
              <a:t>PARTNER VALUES</a:t>
            </a:r>
          </a:p>
        </p:txBody>
      </p:sp>
      <p:sp>
        <p:nvSpPr>
          <p:cNvPr id="70" name="Tekstboks 20"/>
          <p:cNvSpPr txBox="1">
            <a:spLocks noChangeArrowheads="1"/>
          </p:cNvSpPr>
          <p:nvPr/>
        </p:nvSpPr>
        <p:spPr bwMode="auto">
          <a:xfrm>
            <a:off x="3312332" y="5591754"/>
            <a:ext cx="2111101" cy="2315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-112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-112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-112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-112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-112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12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12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12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12" charset="0"/>
              </a:defRPr>
            </a:lvl9pPr>
          </a:lstStyle>
          <a:p>
            <a:pPr algn="ctr"/>
            <a:r>
              <a:rPr lang="da-DK" sz="1000">
                <a:solidFill>
                  <a:schemeClr val="bg1"/>
                </a:solidFill>
              </a:rPr>
              <a:t>VALUES AND PROCESS FLOW</a:t>
            </a:r>
          </a:p>
        </p:txBody>
      </p:sp>
      <p:sp>
        <p:nvSpPr>
          <p:cNvPr id="71" name="Tekstboks 21"/>
          <p:cNvSpPr txBox="1">
            <a:spLocks noChangeArrowheads="1"/>
          </p:cNvSpPr>
          <p:nvPr/>
        </p:nvSpPr>
        <p:spPr bwMode="auto">
          <a:xfrm>
            <a:off x="3276475" y="5818850"/>
            <a:ext cx="2111101" cy="2315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-112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-112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-112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-112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-112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12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12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12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12" charset="0"/>
              </a:defRPr>
            </a:lvl9pPr>
          </a:lstStyle>
          <a:p>
            <a:pPr algn="ctr"/>
            <a:r>
              <a:rPr lang="da-DK" sz="1000">
                <a:solidFill>
                  <a:schemeClr val="bg1"/>
                </a:solidFill>
              </a:rPr>
              <a:t>EXTERNAL ENVIRONMENT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Your footnote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793176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Object 2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28650" y="866381"/>
            <a:ext cx="7891272" cy="243785"/>
          </a:xfrm>
        </p:spPr>
        <p:txBody>
          <a:bodyPr/>
          <a:lstStyle/>
          <a:p>
            <a:pPr>
              <a:lnSpc>
                <a:spcPct val="80000"/>
              </a:lnSpc>
            </a:pPr>
            <a:r>
              <a:rPr lang="en-US"/>
              <a:t>Replace this text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437962"/>
            <a:ext cx="7886700" cy="395173"/>
          </a:xfrm>
        </p:spPr>
        <p:txBody>
          <a:bodyPr/>
          <a:lstStyle/>
          <a:p>
            <a:pPr>
              <a:lnSpc>
                <a:spcPct val="80000"/>
              </a:lnSpc>
            </a:pPr>
            <a:r>
              <a:rPr lang="en-US"/>
              <a:t>BUSINESS EXCELLENCE MODEL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5C11E9-EA40-D54F-953A-82A4C72DAAAD}" type="slidenum">
              <a:rPr lang="en-US" smtClean="0"/>
              <a:t>5</a:t>
            </a:fld>
            <a:r>
              <a:rPr lang="en-US" smtClean="0"/>
              <a:t> I</a:t>
            </a:r>
            <a:endParaRPr lang="en-US" dirty="0"/>
          </a:p>
        </p:txBody>
      </p:sp>
      <p:sp>
        <p:nvSpPr>
          <p:cNvPr id="14" name="Pentagon 13"/>
          <p:cNvSpPr/>
          <p:nvPr/>
        </p:nvSpPr>
        <p:spPr>
          <a:xfrm>
            <a:off x="510977" y="1922352"/>
            <a:ext cx="8283046" cy="4135547"/>
          </a:xfrm>
          <a:prstGeom prst="homePlate">
            <a:avLst>
              <a:gd name="adj" fmla="val 21526"/>
            </a:avLst>
          </a:prstGeom>
          <a:gradFill flip="none" rotWithShape="1">
            <a:gsLst>
              <a:gs pos="52000">
                <a:srgbClr val="17375E"/>
              </a:gs>
              <a:gs pos="100000">
                <a:srgbClr val="95B3D7"/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algn="ctr"/>
            <a:endParaRPr lang="da-DK" kern="0" dirty="0" err="1">
              <a:solidFill>
                <a:sysClr val="window" lastClr="FFFFFF"/>
              </a:solidFill>
              <a:latin typeface="Calibri"/>
            </a:endParaRPr>
          </a:p>
        </p:txBody>
      </p:sp>
      <p:sp>
        <p:nvSpPr>
          <p:cNvPr id="15" name="Pentagon 14"/>
          <p:cNvSpPr/>
          <p:nvPr/>
        </p:nvSpPr>
        <p:spPr>
          <a:xfrm>
            <a:off x="510977" y="2161401"/>
            <a:ext cx="8043997" cy="3657449"/>
          </a:xfrm>
          <a:prstGeom prst="homePlate">
            <a:avLst>
              <a:gd name="adj" fmla="val 21526"/>
            </a:avLst>
          </a:prstGeom>
          <a:gradFill flip="none" rotWithShape="1">
            <a:gsLst>
              <a:gs pos="52000">
                <a:srgbClr val="17375E"/>
              </a:gs>
              <a:gs pos="100000">
                <a:srgbClr val="95B3D7"/>
              </a:gs>
            </a:gsLst>
            <a:lin ang="16200000" scaled="1"/>
            <a:tileRect/>
          </a:gradFill>
          <a:ln w="3175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a-DK" kern="0" dirty="0" err="1">
              <a:solidFill>
                <a:sysClr val="window" lastClr="FFFFFF"/>
              </a:solidFill>
              <a:latin typeface="Calibri"/>
              <a:cs typeface="+mn-cs"/>
            </a:endParaRPr>
          </a:p>
        </p:txBody>
      </p:sp>
      <p:grpSp>
        <p:nvGrpSpPr>
          <p:cNvPr id="16" name="Gruppe 10"/>
          <p:cNvGrpSpPr/>
          <p:nvPr/>
        </p:nvGrpSpPr>
        <p:grpSpPr>
          <a:xfrm>
            <a:off x="726121" y="2352640"/>
            <a:ext cx="7494184" cy="3239113"/>
            <a:chOff x="671574" y="2311400"/>
            <a:chExt cx="10936226" cy="3441700"/>
          </a:xfr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7" name="Vinkel 2"/>
            <p:cNvSpPr/>
            <p:nvPr/>
          </p:nvSpPr>
          <p:spPr>
            <a:xfrm>
              <a:off x="8801100" y="2349500"/>
              <a:ext cx="2806700" cy="3403600"/>
            </a:xfrm>
            <a:prstGeom prst="chevron">
              <a:avLst>
                <a:gd name="adj" fmla="val 36364"/>
              </a:avLst>
            </a:prstGeom>
            <a:gradFill rotWithShape="1">
              <a:gsLst>
                <a:gs pos="0">
                  <a:srgbClr val="E6E6E6">
                    <a:tint val="100000"/>
                    <a:shade val="100000"/>
                    <a:satMod val="130000"/>
                  </a:srgbClr>
                </a:gs>
                <a:gs pos="100000">
                  <a:srgbClr val="E6E6E6">
                    <a:tint val="50000"/>
                    <a:shade val="100000"/>
                    <a:satMod val="350000"/>
                  </a:srgbClr>
                </a:gs>
              </a:gsLst>
              <a:lin ang="16200000" scaled="0"/>
            </a:gradFill>
            <a:ln w="9525" cap="flat" cmpd="sng" algn="ctr">
              <a:solidFill>
                <a:sysClr val="window" lastClr="FFFFFF">
                  <a:lumMod val="85000"/>
                </a:sysClr>
              </a:solidFill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" lastClr="FFFFFF"/>
                </a:solidFill>
                <a:latin typeface="Calibri"/>
                <a:cs typeface="+mn-cs"/>
              </a:endParaRPr>
            </a:p>
          </p:txBody>
        </p:sp>
        <p:sp>
          <p:nvSpPr>
            <p:cNvPr id="18" name="Vinkel 3"/>
            <p:cNvSpPr/>
            <p:nvPr/>
          </p:nvSpPr>
          <p:spPr>
            <a:xfrm>
              <a:off x="6934200" y="2336800"/>
              <a:ext cx="2806700" cy="3403600"/>
            </a:xfrm>
            <a:prstGeom prst="chevron">
              <a:avLst>
                <a:gd name="adj" fmla="val 36364"/>
              </a:avLst>
            </a:prstGeom>
            <a:gradFill rotWithShape="1">
              <a:gsLst>
                <a:gs pos="0">
                  <a:srgbClr val="E6E6E6">
                    <a:tint val="100000"/>
                    <a:shade val="100000"/>
                    <a:satMod val="130000"/>
                  </a:srgbClr>
                </a:gs>
                <a:gs pos="100000">
                  <a:srgbClr val="E6E6E6">
                    <a:tint val="50000"/>
                    <a:shade val="100000"/>
                    <a:satMod val="350000"/>
                  </a:srgbClr>
                </a:gs>
              </a:gsLst>
              <a:lin ang="16200000" scaled="0"/>
            </a:gradFill>
            <a:ln w="9525" cap="flat" cmpd="sng" algn="ctr">
              <a:solidFill>
                <a:sysClr val="window" lastClr="FFFFFF">
                  <a:lumMod val="85000"/>
                </a:sysClr>
              </a:solidFill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" lastClr="FFFFFF"/>
                </a:solidFill>
                <a:latin typeface="Calibri"/>
                <a:cs typeface="+mn-cs"/>
              </a:endParaRPr>
            </a:p>
          </p:txBody>
        </p:sp>
        <p:sp>
          <p:nvSpPr>
            <p:cNvPr id="19" name="Vinkel 4"/>
            <p:cNvSpPr/>
            <p:nvPr/>
          </p:nvSpPr>
          <p:spPr>
            <a:xfrm>
              <a:off x="5054600" y="2336800"/>
              <a:ext cx="2806700" cy="3403600"/>
            </a:xfrm>
            <a:prstGeom prst="chevron">
              <a:avLst>
                <a:gd name="adj" fmla="val 36364"/>
              </a:avLst>
            </a:prstGeom>
            <a:gradFill rotWithShape="1">
              <a:gsLst>
                <a:gs pos="0">
                  <a:srgbClr val="E6E6E6">
                    <a:tint val="100000"/>
                    <a:shade val="100000"/>
                    <a:satMod val="130000"/>
                  </a:srgbClr>
                </a:gs>
                <a:gs pos="100000">
                  <a:srgbClr val="E6E6E6">
                    <a:tint val="50000"/>
                    <a:shade val="100000"/>
                    <a:satMod val="350000"/>
                  </a:srgbClr>
                </a:gs>
              </a:gsLst>
              <a:lin ang="16200000" scaled="0"/>
            </a:gradFill>
            <a:ln w="9525" cap="flat" cmpd="sng" algn="ctr">
              <a:solidFill>
                <a:sysClr val="window" lastClr="FFFFFF">
                  <a:lumMod val="85000"/>
                </a:sysClr>
              </a:solidFill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" lastClr="FFFFFF"/>
                </a:solidFill>
                <a:latin typeface="Calibri"/>
                <a:cs typeface="+mn-cs"/>
              </a:endParaRPr>
            </a:p>
          </p:txBody>
        </p:sp>
        <p:sp>
          <p:nvSpPr>
            <p:cNvPr id="20" name="Vinkel 5"/>
            <p:cNvSpPr/>
            <p:nvPr/>
          </p:nvSpPr>
          <p:spPr>
            <a:xfrm>
              <a:off x="3187700" y="2324100"/>
              <a:ext cx="2806700" cy="3403600"/>
            </a:xfrm>
            <a:prstGeom prst="chevron">
              <a:avLst>
                <a:gd name="adj" fmla="val 36364"/>
              </a:avLst>
            </a:prstGeom>
            <a:gradFill rotWithShape="1">
              <a:gsLst>
                <a:gs pos="0">
                  <a:srgbClr val="E6E6E6">
                    <a:tint val="100000"/>
                    <a:shade val="100000"/>
                    <a:satMod val="130000"/>
                  </a:srgbClr>
                </a:gs>
                <a:gs pos="100000">
                  <a:srgbClr val="E6E6E6">
                    <a:tint val="50000"/>
                    <a:shade val="100000"/>
                    <a:satMod val="350000"/>
                  </a:srgbClr>
                </a:gs>
              </a:gsLst>
              <a:lin ang="16200000" scaled="0"/>
            </a:gradFill>
            <a:ln w="9525" cap="flat" cmpd="sng" algn="ctr">
              <a:solidFill>
                <a:sysClr val="window" lastClr="FFFFFF">
                  <a:lumMod val="85000"/>
                </a:sysClr>
              </a:solidFill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" lastClr="FFFFFF"/>
                </a:solidFill>
                <a:latin typeface="Calibri"/>
                <a:cs typeface="+mn-cs"/>
              </a:endParaRPr>
            </a:p>
          </p:txBody>
        </p:sp>
        <p:sp>
          <p:nvSpPr>
            <p:cNvPr id="21" name="Vinkel 6"/>
            <p:cNvSpPr/>
            <p:nvPr/>
          </p:nvSpPr>
          <p:spPr>
            <a:xfrm>
              <a:off x="2260600" y="3340100"/>
              <a:ext cx="1841499" cy="1371600"/>
            </a:xfrm>
            <a:prstGeom prst="chevron">
              <a:avLst>
                <a:gd name="adj" fmla="val 22726"/>
              </a:avLst>
            </a:prstGeom>
            <a:gradFill rotWithShape="1">
              <a:gsLst>
                <a:gs pos="0">
                  <a:srgbClr val="E6E6E6">
                    <a:tint val="100000"/>
                    <a:shade val="100000"/>
                    <a:satMod val="130000"/>
                  </a:srgbClr>
                </a:gs>
                <a:gs pos="100000">
                  <a:srgbClr val="E6E6E6">
                    <a:tint val="50000"/>
                    <a:shade val="100000"/>
                    <a:satMod val="350000"/>
                  </a:srgbClr>
                </a:gs>
              </a:gsLst>
              <a:lin ang="16200000" scaled="0"/>
            </a:gradFill>
            <a:ln w="9525" cap="flat" cmpd="sng" algn="ctr">
              <a:solidFill>
                <a:sysClr val="window" lastClr="FFFFFF">
                  <a:lumMod val="85000"/>
                </a:sysClr>
              </a:solidFill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" lastClr="FFFFFF"/>
                </a:solidFill>
                <a:latin typeface="Calibri"/>
                <a:cs typeface="+mn-cs"/>
              </a:endParaRPr>
            </a:p>
          </p:txBody>
        </p:sp>
        <p:sp>
          <p:nvSpPr>
            <p:cNvPr id="22" name="Pentagon 21"/>
            <p:cNvSpPr/>
            <p:nvPr/>
          </p:nvSpPr>
          <p:spPr>
            <a:xfrm>
              <a:off x="671574" y="2311400"/>
              <a:ext cx="1866900" cy="3416300"/>
            </a:xfrm>
            <a:prstGeom prst="homePlate">
              <a:avLst>
                <a:gd name="adj" fmla="val 55269"/>
              </a:avLst>
            </a:prstGeom>
            <a:gradFill rotWithShape="1">
              <a:gsLst>
                <a:gs pos="0">
                  <a:srgbClr val="E6E6E6">
                    <a:tint val="100000"/>
                    <a:shade val="100000"/>
                    <a:satMod val="130000"/>
                  </a:srgbClr>
                </a:gs>
                <a:gs pos="100000">
                  <a:srgbClr val="E6E6E6">
                    <a:tint val="50000"/>
                    <a:shade val="100000"/>
                    <a:satMod val="350000"/>
                  </a:srgbClr>
                </a:gs>
              </a:gsLst>
              <a:lin ang="16200000" scaled="0"/>
            </a:gradFill>
            <a:ln w="9525" cap="flat" cmpd="sng" algn="ctr">
              <a:solidFill>
                <a:sysClr val="window" lastClr="FFFFFF">
                  <a:lumMod val="85000"/>
                </a:sysClr>
              </a:solidFill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" lastClr="FFFFFF"/>
                </a:solidFill>
                <a:latin typeface="Calibri"/>
                <a:cs typeface="+mn-cs"/>
              </a:endParaRPr>
            </a:p>
          </p:txBody>
        </p:sp>
        <p:sp>
          <p:nvSpPr>
            <p:cNvPr id="23" name="Parallelogram 22"/>
            <p:cNvSpPr/>
            <p:nvPr/>
          </p:nvSpPr>
          <p:spPr>
            <a:xfrm flipH="1">
              <a:off x="1630892" y="2311400"/>
              <a:ext cx="2026709" cy="965200"/>
            </a:xfrm>
            <a:prstGeom prst="parallelogram">
              <a:avLst>
                <a:gd name="adj" fmla="val 43453"/>
              </a:avLst>
            </a:prstGeom>
            <a:gradFill rotWithShape="1">
              <a:gsLst>
                <a:gs pos="0">
                  <a:srgbClr val="E6E6E6">
                    <a:tint val="100000"/>
                    <a:shade val="100000"/>
                    <a:satMod val="130000"/>
                  </a:srgbClr>
                </a:gs>
                <a:gs pos="100000">
                  <a:srgbClr val="E6E6E6">
                    <a:tint val="50000"/>
                    <a:shade val="100000"/>
                    <a:satMod val="350000"/>
                  </a:srgbClr>
                </a:gs>
              </a:gsLst>
              <a:lin ang="16200000" scaled="0"/>
            </a:gradFill>
            <a:ln w="9525" cap="flat" cmpd="sng" algn="ctr">
              <a:solidFill>
                <a:sysClr val="window" lastClr="FFFFFF">
                  <a:lumMod val="85000"/>
                </a:sysClr>
              </a:solidFill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" lastClr="FFFFFF"/>
                </a:solidFill>
                <a:latin typeface="Calibri"/>
                <a:cs typeface="+mn-cs"/>
              </a:endParaRPr>
            </a:p>
          </p:txBody>
        </p:sp>
        <p:sp>
          <p:nvSpPr>
            <p:cNvPr id="24" name="Parallelogram 23"/>
            <p:cNvSpPr/>
            <p:nvPr/>
          </p:nvSpPr>
          <p:spPr>
            <a:xfrm flipH="1" flipV="1">
              <a:off x="1630892" y="4787900"/>
              <a:ext cx="2026709" cy="939800"/>
            </a:xfrm>
            <a:prstGeom prst="parallelogram">
              <a:avLst>
                <a:gd name="adj" fmla="val 45765"/>
              </a:avLst>
            </a:prstGeom>
            <a:gradFill rotWithShape="1">
              <a:gsLst>
                <a:gs pos="0">
                  <a:srgbClr val="E6E6E6">
                    <a:tint val="100000"/>
                    <a:shade val="100000"/>
                    <a:satMod val="130000"/>
                  </a:srgbClr>
                </a:gs>
                <a:gs pos="100000">
                  <a:srgbClr val="E6E6E6">
                    <a:tint val="50000"/>
                    <a:shade val="100000"/>
                    <a:satMod val="350000"/>
                  </a:srgbClr>
                </a:gs>
              </a:gsLst>
              <a:lin ang="16200000" scaled="0"/>
            </a:gradFill>
            <a:ln w="9525" cap="flat" cmpd="sng" algn="ctr">
              <a:solidFill>
                <a:sysClr val="window" lastClr="FFFFFF">
                  <a:lumMod val="85000"/>
                </a:sysClr>
              </a:solidFill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" lastClr="FFFFFF"/>
                </a:solidFill>
                <a:latin typeface="Calibri"/>
                <a:cs typeface="+mn-cs"/>
              </a:endParaRPr>
            </a:p>
          </p:txBody>
        </p:sp>
      </p:grpSp>
      <p:sp>
        <p:nvSpPr>
          <p:cNvPr id="26" name="Tekstboks 11"/>
          <p:cNvSpPr txBox="1"/>
          <p:nvPr/>
        </p:nvSpPr>
        <p:spPr>
          <a:xfrm rot="16200000">
            <a:off x="109076" y="3826526"/>
            <a:ext cx="2111100" cy="307777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a-DK" sz="1400" dirty="0">
                <a:latin typeface="+mn-lt"/>
                <a:cs typeface="+mn-cs"/>
              </a:rPr>
              <a:t>LEADERSHIP</a:t>
            </a:r>
          </a:p>
        </p:txBody>
      </p:sp>
      <p:sp>
        <p:nvSpPr>
          <p:cNvPr id="27" name="Tekstboks 12"/>
          <p:cNvSpPr txBox="1"/>
          <p:nvPr/>
        </p:nvSpPr>
        <p:spPr>
          <a:xfrm rot="16200000">
            <a:off x="6372159" y="3826526"/>
            <a:ext cx="2111100" cy="307777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a-DK" sz="1400" dirty="0">
                <a:latin typeface="+mn-lt"/>
                <a:cs typeface="+mn-cs"/>
              </a:rPr>
              <a:t>SUSTAINABLE SUCCES</a:t>
            </a:r>
          </a:p>
        </p:txBody>
      </p:sp>
      <p:sp>
        <p:nvSpPr>
          <p:cNvPr id="28" name="Tekstboks 13"/>
          <p:cNvSpPr txBox="1"/>
          <p:nvPr/>
        </p:nvSpPr>
        <p:spPr>
          <a:xfrm rot="16200000">
            <a:off x="5069342" y="3826526"/>
            <a:ext cx="2111100" cy="307777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a-DK" sz="1400" dirty="0">
                <a:latin typeface="+mn-lt"/>
                <a:cs typeface="+mn-cs"/>
              </a:rPr>
              <a:t>UNIVERSAL WELL-BEING</a:t>
            </a:r>
          </a:p>
        </p:txBody>
      </p:sp>
      <p:sp>
        <p:nvSpPr>
          <p:cNvPr id="29" name="Tekstboks 14"/>
          <p:cNvSpPr txBox="1"/>
          <p:nvPr/>
        </p:nvSpPr>
        <p:spPr>
          <a:xfrm rot="16200000">
            <a:off x="3754573" y="3826525"/>
            <a:ext cx="2111100" cy="307777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a-DK" sz="1400" dirty="0">
                <a:latin typeface="+mn-lt"/>
                <a:cs typeface="+mn-cs"/>
              </a:rPr>
              <a:t>KEY BUSINESS RESULTS</a:t>
            </a:r>
          </a:p>
        </p:txBody>
      </p:sp>
      <p:sp>
        <p:nvSpPr>
          <p:cNvPr id="30" name="Tekstboks 15"/>
          <p:cNvSpPr txBox="1"/>
          <p:nvPr/>
        </p:nvSpPr>
        <p:spPr>
          <a:xfrm rot="16200000">
            <a:off x="2499566" y="3826526"/>
            <a:ext cx="2111100" cy="307777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a-DK" sz="1400" dirty="0">
                <a:latin typeface="+mn-lt"/>
                <a:cs typeface="+mn-cs"/>
              </a:rPr>
              <a:t>CUSTOMER VALUES</a:t>
            </a:r>
          </a:p>
        </p:txBody>
      </p:sp>
      <p:sp>
        <p:nvSpPr>
          <p:cNvPr id="31" name="Tekstboks 16"/>
          <p:cNvSpPr txBox="1"/>
          <p:nvPr/>
        </p:nvSpPr>
        <p:spPr>
          <a:xfrm>
            <a:off x="1519465" y="2723166"/>
            <a:ext cx="1119047" cy="246221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a-DK" sz="1000" dirty="0">
                <a:latin typeface="+mn-lt"/>
                <a:cs typeface="+mn-cs"/>
              </a:rPr>
              <a:t>PEOPLE VALUES</a:t>
            </a:r>
          </a:p>
        </p:txBody>
      </p:sp>
      <p:sp>
        <p:nvSpPr>
          <p:cNvPr id="32" name="Tekstboks 17"/>
          <p:cNvSpPr txBox="1"/>
          <p:nvPr/>
        </p:nvSpPr>
        <p:spPr>
          <a:xfrm>
            <a:off x="1925848" y="3535933"/>
            <a:ext cx="1119047" cy="40011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a-DK" sz="1000" dirty="0">
                <a:latin typeface="+mn-lt"/>
                <a:cs typeface="+mn-cs"/>
              </a:rPr>
              <a:t>STRATEGIC PLANNING</a:t>
            </a:r>
          </a:p>
        </p:txBody>
      </p:sp>
      <p:sp>
        <p:nvSpPr>
          <p:cNvPr id="33" name="Tekstboks 18"/>
          <p:cNvSpPr txBox="1"/>
          <p:nvPr/>
        </p:nvSpPr>
        <p:spPr>
          <a:xfrm>
            <a:off x="1638990" y="4743130"/>
            <a:ext cx="1119047" cy="246221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a-DK" sz="1000" dirty="0">
                <a:latin typeface="+mn-lt"/>
                <a:cs typeface="+mn-cs"/>
              </a:rPr>
              <a:t>PARTNER VALUES</a:t>
            </a:r>
          </a:p>
        </p:txBody>
      </p:sp>
      <p:sp>
        <p:nvSpPr>
          <p:cNvPr id="34" name="Tekstboks 20"/>
          <p:cNvSpPr txBox="1">
            <a:spLocks noChangeArrowheads="1"/>
          </p:cNvSpPr>
          <p:nvPr/>
        </p:nvSpPr>
        <p:spPr bwMode="auto">
          <a:xfrm>
            <a:off x="3312332" y="5591754"/>
            <a:ext cx="2111101" cy="2315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-112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-112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-112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-112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-112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12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12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12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12" charset="0"/>
              </a:defRPr>
            </a:lvl9pPr>
          </a:lstStyle>
          <a:p>
            <a:pPr algn="ctr"/>
            <a:r>
              <a:rPr lang="da-DK" sz="1000">
                <a:solidFill>
                  <a:schemeClr val="bg1"/>
                </a:solidFill>
              </a:rPr>
              <a:t>VALUES AND PROCESS FLOW</a:t>
            </a:r>
          </a:p>
        </p:txBody>
      </p:sp>
      <p:sp>
        <p:nvSpPr>
          <p:cNvPr id="35" name="Tekstboks 21"/>
          <p:cNvSpPr txBox="1">
            <a:spLocks noChangeArrowheads="1"/>
          </p:cNvSpPr>
          <p:nvPr/>
        </p:nvSpPr>
        <p:spPr bwMode="auto">
          <a:xfrm>
            <a:off x="3276475" y="5818850"/>
            <a:ext cx="2111101" cy="2315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-112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-112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-112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-112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-112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12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12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12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12" charset="0"/>
              </a:defRPr>
            </a:lvl9pPr>
          </a:lstStyle>
          <a:p>
            <a:pPr algn="ctr"/>
            <a:r>
              <a:rPr lang="da-DK" sz="1000">
                <a:solidFill>
                  <a:schemeClr val="bg1"/>
                </a:solidFill>
              </a:rPr>
              <a:t>EXTERNAL ENVIRONMENT</a:t>
            </a:r>
          </a:p>
        </p:txBody>
      </p:sp>
      <p:grpSp>
        <p:nvGrpSpPr>
          <p:cNvPr id="36" name="Gruppe 394"/>
          <p:cNvGrpSpPr>
            <a:grpSpLocks/>
          </p:cNvGrpSpPr>
          <p:nvPr/>
        </p:nvGrpSpPr>
        <p:grpSpPr bwMode="auto">
          <a:xfrm>
            <a:off x="714169" y="1607107"/>
            <a:ext cx="537860" cy="935279"/>
            <a:chOff x="342900" y="1143000"/>
            <a:chExt cx="708025" cy="1230313"/>
          </a:xfrm>
        </p:grpSpPr>
        <p:grpSp>
          <p:nvGrpSpPr>
            <p:cNvPr id="37" name="Gruppe 28"/>
            <p:cNvGrpSpPr>
              <a:grpSpLocks/>
            </p:cNvGrpSpPr>
            <p:nvPr/>
          </p:nvGrpSpPr>
          <p:grpSpPr bwMode="auto">
            <a:xfrm>
              <a:off x="342900" y="1208088"/>
              <a:ext cx="431800" cy="1165225"/>
              <a:chOff x="906463" y="3581400"/>
              <a:chExt cx="777875" cy="2095500"/>
            </a:xfrm>
          </p:grpSpPr>
          <p:sp>
            <p:nvSpPr>
              <p:cNvPr id="51" name="Freeform 137"/>
              <p:cNvSpPr>
                <a:spLocks noEditPoints="1"/>
              </p:cNvSpPr>
              <p:nvPr/>
            </p:nvSpPr>
            <p:spPr bwMode="auto">
              <a:xfrm>
                <a:off x="1087158" y="3881411"/>
                <a:ext cx="559797" cy="1226445"/>
              </a:xfrm>
              <a:custGeom>
                <a:avLst/>
                <a:gdLst>
                  <a:gd name="T0" fmla="*/ 2147483647 w 350"/>
                  <a:gd name="T1" fmla="*/ 2147483647 h 774"/>
                  <a:gd name="T2" fmla="*/ 2147483647 w 350"/>
                  <a:gd name="T3" fmla="*/ 2147483647 h 774"/>
                  <a:gd name="T4" fmla="*/ 2147483647 w 350"/>
                  <a:gd name="T5" fmla="*/ 2147483647 h 774"/>
                  <a:gd name="T6" fmla="*/ 2147483647 w 350"/>
                  <a:gd name="T7" fmla="*/ 2147483647 h 774"/>
                  <a:gd name="T8" fmla="*/ 2147483647 w 350"/>
                  <a:gd name="T9" fmla="*/ 2147483647 h 774"/>
                  <a:gd name="T10" fmla="*/ 2147483647 w 350"/>
                  <a:gd name="T11" fmla="*/ 2147483647 h 774"/>
                  <a:gd name="T12" fmla="*/ 2147483647 w 350"/>
                  <a:gd name="T13" fmla="*/ 2147483647 h 774"/>
                  <a:gd name="T14" fmla="*/ 2147483647 w 350"/>
                  <a:gd name="T15" fmla="*/ 2147483647 h 774"/>
                  <a:gd name="T16" fmla="*/ 2147483647 w 350"/>
                  <a:gd name="T17" fmla="*/ 0 h 774"/>
                  <a:gd name="T18" fmla="*/ 2147483647 w 350"/>
                  <a:gd name="T19" fmla="*/ 2147483647 h 774"/>
                  <a:gd name="T20" fmla="*/ 2147483647 w 350"/>
                  <a:gd name="T21" fmla="*/ 2147483647 h 774"/>
                  <a:gd name="T22" fmla="*/ 2147483647 w 350"/>
                  <a:gd name="T23" fmla="*/ 2147483647 h 774"/>
                  <a:gd name="T24" fmla="*/ 2147483647 w 350"/>
                  <a:gd name="T25" fmla="*/ 2147483647 h 774"/>
                  <a:gd name="T26" fmla="*/ 2147483647 w 350"/>
                  <a:gd name="T27" fmla="*/ 2147483647 h 774"/>
                  <a:gd name="T28" fmla="*/ 0 w 350"/>
                  <a:gd name="T29" fmla="*/ 2147483647 h 774"/>
                  <a:gd name="T30" fmla="*/ 2147483647 w 350"/>
                  <a:gd name="T31" fmla="*/ 2147483647 h 774"/>
                  <a:gd name="T32" fmla="*/ 2147483647 w 350"/>
                  <a:gd name="T33" fmla="*/ 2147483647 h 774"/>
                  <a:gd name="T34" fmla="*/ 2147483647 w 350"/>
                  <a:gd name="T35" fmla="*/ 2147483647 h 774"/>
                  <a:gd name="T36" fmla="*/ 2147483647 w 350"/>
                  <a:gd name="T37" fmla="*/ 2147483647 h 774"/>
                  <a:gd name="T38" fmla="*/ 2147483647 w 350"/>
                  <a:gd name="T39" fmla="*/ 2147483647 h 774"/>
                  <a:gd name="T40" fmla="*/ 2147483647 w 350"/>
                  <a:gd name="T41" fmla="*/ 2147483647 h 774"/>
                  <a:gd name="T42" fmla="*/ 2147483647 w 350"/>
                  <a:gd name="T43" fmla="*/ 2147483647 h 774"/>
                  <a:gd name="T44" fmla="*/ 2147483647 w 350"/>
                  <a:gd name="T45" fmla="*/ 2147483647 h 774"/>
                  <a:gd name="T46" fmla="*/ 2147483647 w 350"/>
                  <a:gd name="T47" fmla="*/ 2147483647 h 774"/>
                  <a:gd name="T48" fmla="*/ 2147483647 w 350"/>
                  <a:gd name="T49" fmla="*/ 2147483647 h 774"/>
                  <a:gd name="T50" fmla="*/ 2147483647 w 350"/>
                  <a:gd name="T51" fmla="*/ 2147483647 h 774"/>
                  <a:gd name="T52" fmla="*/ 2147483647 w 350"/>
                  <a:gd name="T53" fmla="*/ 2147483647 h 774"/>
                  <a:gd name="T54" fmla="*/ 2147483647 w 350"/>
                  <a:gd name="T55" fmla="*/ 2147483647 h 774"/>
                  <a:gd name="T56" fmla="*/ 2147483647 w 350"/>
                  <a:gd name="T57" fmla="*/ 2147483647 h 774"/>
                  <a:gd name="T58" fmla="*/ 2147483647 w 350"/>
                  <a:gd name="T59" fmla="*/ 2147483647 h 774"/>
                  <a:gd name="T60" fmla="*/ 2147483647 w 350"/>
                  <a:gd name="T61" fmla="*/ 2147483647 h 774"/>
                  <a:gd name="T62" fmla="*/ 2147483647 w 350"/>
                  <a:gd name="T63" fmla="*/ 2147483647 h 774"/>
                  <a:gd name="T64" fmla="*/ 2147483647 w 350"/>
                  <a:gd name="T65" fmla="*/ 2147483647 h 774"/>
                  <a:gd name="T66" fmla="*/ 2147483647 w 350"/>
                  <a:gd name="T67" fmla="*/ 2147483647 h 774"/>
                  <a:gd name="T68" fmla="*/ 2147483647 w 350"/>
                  <a:gd name="T69" fmla="*/ 2147483647 h 774"/>
                  <a:gd name="T70" fmla="*/ 2147483647 w 350"/>
                  <a:gd name="T71" fmla="*/ 2147483647 h 774"/>
                  <a:gd name="T72" fmla="*/ 2147483647 w 350"/>
                  <a:gd name="T73" fmla="*/ 2147483647 h 774"/>
                  <a:gd name="T74" fmla="*/ 2147483647 w 350"/>
                  <a:gd name="T75" fmla="*/ 2147483647 h 774"/>
                  <a:gd name="T76" fmla="*/ 2147483647 w 350"/>
                  <a:gd name="T77" fmla="*/ 2147483647 h 774"/>
                  <a:gd name="T78" fmla="*/ 2147483647 w 350"/>
                  <a:gd name="T79" fmla="*/ 2147483647 h 774"/>
                  <a:gd name="T80" fmla="*/ 2147483647 w 350"/>
                  <a:gd name="T81" fmla="*/ 2147483647 h 774"/>
                  <a:gd name="T82" fmla="*/ 2147483647 w 350"/>
                  <a:gd name="T83" fmla="*/ 2147483647 h 774"/>
                  <a:gd name="T84" fmla="*/ 2147483647 w 350"/>
                  <a:gd name="T85" fmla="*/ 2147483647 h 774"/>
                  <a:gd name="T86" fmla="*/ 2147483647 w 350"/>
                  <a:gd name="T87" fmla="*/ 2147483647 h 774"/>
                  <a:gd name="T88" fmla="*/ 2147483647 w 350"/>
                  <a:gd name="T89" fmla="*/ 2147483647 h 774"/>
                  <a:gd name="T90" fmla="*/ 2147483647 w 350"/>
                  <a:gd name="T91" fmla="*/ 2147483647 h 774"/>
                  <a:gd name="T92" fmla="*/ 2147483647 w 350"/>
                  <a:gd name="T93" fmla="*/ 2147483647 h 774"/>
                  <a:gd name="T94" fmla="*/ 2147483647 w 350"/>
                  <a:gd name="T95" fmla="*/ 2147483647 h 774"/>
                  <a:gd name="T96" fmla="*/ 2147483647 w 350"/>
                  <a:gd name="T97" fmla="*/ 2147483647 h 774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w 350"/>
                  <a:gd name="T148" fmla="*/ 0 h 774"/>
                  <a:gd name="T149" fmla="*/ 350 w 350"/>
                  <a:gd name="T150" fmla="*/ 774 h 774"/>
                </a:gdLst>
                <a:ahLst/>
                <a:cxnLst>
                  <a:cxn ang="T98">
                    <a:pos x="T0" y="T1"/>
                  </a:cxn>
                  <a:cxn ang="T99">
                    <a:pos x="T2" y="T3"/>
                  </a:cxn>
                  <a:cxn ang="T100">
                    <a:pos x="T4" y="T5"/>
                  </a:cxn>
                  <a:cxn ang="T101">
                    <a:pos x="T6" y="T7"/>
                  </a:cxn>
                  <a:cxn ang="T102">
                    <a:pos x="T8" y="T9"/>
                  </a:cxn>
                  <a:cxn ang="T103">
                    <a:pos x="T10" y="T11"/>
                  </a:cxn>
                  <a:cxn ang="T104">
                    <a:pos x="T12" y="T13"/>
                  </a:cxn>
                  <a:cxn ang="T105">
                    <a:pos x="T14" y="T15"/>
                  </a:cxn>
                  <a:cxn ang="T106">
                    <a:pos x="T16" y="T17"/>
                  </a:cxn>
                  <a:cxn ang="T107">
                    <a:pos x="T18" y="T19"/>
                  </a:cxn>
                  <a:cxn ang="T108">
                    <a:pos x="T20" y="T21"/>
                  </a:cxn>
                  <a:cxn ang="T109">
                    <a:pos x="T22" y="T23"/>
                  </a:cxn>
                  <a:cxn ang="T110">
                    <a:pos x="T24" y="T25"/>
                  </a:cxn>
                  <a:cxn ang="T111">
                    <a:pos x="T26" y="T27"/>
                  </a:cxn>
                  <a:cxn ang="T112">
                    <a:pos x="T28" y="T29"/>
                  </a:cxn>
                  <a:cxn ang="T113">
                    <a:pos x="T30" y="T31"/>
                  </a:cxn>
                  <a:cxn ang="T114">
                    <a:pos x="T32" y="T33"/>
                  </a:cxn>
                  <a:cxn ang="T115">
                    <a:pos x="T34" y="T35"/>
                  </a:cxn>
                  <a:cxn ang="T116">
                    <a:pos x="T36" y="T37"/>
                  </a:cxn>
                  <a:cxn ang="T117">
                    <a:pos x="T38" y="T39"/>
                  </a:cxn>
                  <a:cxn ang="T118">
                    <a:pos x="T40" y="T41"/>
                  </a:cxn>
                  <a:cxn ang="T119">
                    <a:pos x="T42" y="T43"/>
                  </a:cxn>
                  <a:cxn ang="T120">
                    <a:pos x="T44" y="T45"/>
                  </a:cxn>
                  <a:cxn ang="T121">
                    <a:pos x="T46" y="T47"/>
                  </a:cxn>
                  <a:cxn ang="T122">
                    <a:pos x="T48" y="T49"/>
                  </a:cxn>
                  <a:cxn ang="T123">
                    <a:pos x="T50" y="T51"/>
                  </a:cxn>
                  <a:cxn ang="T124">
                    <a:pos x="T52" y="T53"/>
                  </a:cxn>
                  <a:cxn ang="T125">
                    <a:pos x="T54" y="T55"/>
                  </a:cxn>
                  <a:cxn ang="T126">
                    <a:pos x="T56" y="T57"/>
                  </a:cxn>
                  <a:cxn ang="T127">
                    <a:pos x="T58" y="T59"/>
                  </a:cxn>
                  <a:cxn ang="T128">
                    <a:pos x="T60" y="T61"/>
                  </a:cxn>
                  <a:cxn ang="T129">
                    <a:pos x="T62" y="T63"/>
                  </a:cxn>
                  <a:cxn ang="T130">
                    <a:pos x="T64" y="T65"/>
                  </a:cxn>
                  <a:cxn ang="T131">
                    <a:pos x="T66" y="T67"/>
                  </a:cxn>
                  <a:cxn ang="T132">
                    <a:pos x="T68" y="T69"/>
                  </a:cxn>
                  <a:cxn ang="T133">
                    <a:pos x="T70" y="T71"/>
                  </a:cxn>
                  <a:cxn ang="T134">
                    <a:pos x="T72" y="T73"/>
                  </a:cxn>
                  <a:cxn ang="T135">
                    <a:pos x="T74" y="T75"/>
                  </a:cxn>
                  <a:cxn ang="T136">
                    <a:pos x="T76" y="T77"/>
                  </a:cxn>
                  <a:cxn ang="T137">
                    <a:pos x="T78" y="T79"/>
                  </a:cxn>
                  <a:cxn ang="T138">
                    <a:pos x="T80" y="T81"/>
                  </a:cxn>
                  <a:cxn ang="T139">
                    <a:pos x="T82" y="T83"/>
                  </a:cxn>
                  <a:cxn ang="T140">
                    <a:pos x="T84" y="T85"/>
                  </a:cxn>
                  <a:cxn ang="T141">
                    <a:pos x="T86" y="T87"/>
                  </a:cxn>
                  <a:cxn ang="T142">
                    <a:pos x="T88" y="T89"/>
                  </a:cxn>
                  <a:cxn ang="T143">
                    <a:pos x="T90" y="T91"/>
                  </a:cxn>
                  <a:cxn ang="T144">
                    <a:pos x="T92" y="T93"/>
                  </a:cxn>
                  <a:cxn ang="T145">
                    <a:pos x="T94" y="T95"/>
                  </a:cxn>
                  <a:cxn ang="T146">
                    <a:pos x="T96" y="T97"/>
                  </a:cxn>
                </a:cxnLst>
                <a:rect l="T147" t="T148" r="T149" b="T150"/>
                <a:pathLst>
                  <a:path w="350" h="774">
                    <a:moveTo>
                      <a:pt x="344" y="262"/>
                    </a:moveTo>
                    <a:lnTo>
                      <a:pt x="344" y="262"/>
                    </a:lnTo>
                    <a:lnTo>
                      <a:pt x="322" y="164"/>
                    </a:lnTo>
                    <a:lnTo>
                      <a:pt x="300" y="102"/>
                    </a:lnTo>
                    <a:lnTo>
                      <a:pt x="300" y="96"/>
                    </a:lnTo>
                    <a:lnTo>
                      <a:pt x="300" y="88"/>
                    </a:lnTo>
                    <a:lnTo>
                      <a:pt x="296" y="80"/>
                    </a:lnTo>
                    <a:lnTo>
                      <a:pt x="294" y="76"/>
                    </a:lnTo>
                    <a:lnTo>
                      <a:pt x="294" y="72"/>
                    </a:lnTo>
                    <a:lnTo>
                      <a:pt x="292" y="56"/>
                    </a:lnTo>
                    <a:lnTo>
                      <a:pt x="288" y="46"/>
                    </a:lnTo>
                    <a:lnTo>
                      <a:pt x="284" y="40"/>
                    </a:lnTo>
                    <a:lnTo>
                      <a:pt x="280" y="36"/>
                    </a:lnTo>
                    <a:lnTo>
                      <a:pt x="270" y="30"/>
                    </a:lnTo>
                    <a:lnTo>
                      <a:pt x="260" y="26"/>
                    </a:lnTo>
                    <a:lnTo>
                      <a:pt x="258" y="26"/>
                    </a:lnTo>
                    <a:lnTo>
                      <a:pt x="234" y="20"/>
                    </a:lnTo>
                    <a:lnTo>
                      <a:pt x="226" y="18"/>
                    </a:lnTo>
                    <a:lnTo>
                      <a:pt x="212" y="14"/>
                    </a:lnTo>
                    <a:lnTo>
                      <a:pt x="176" y="8"/>
                    </a:lnTo>
                    <a:lnTo>
                      <a:pt x="120" y="0"/>
                    </a:lnTo>
                    <a:lnTo>
                      <a:pt x="112" y="0"/>
                    </a:lnTo>
                    <a:lnTo>
                      <a:pt x="98" y="4"/>
                    </a:lnTo>
                    <a:lnTo>
                      <a:pt x="84" y="8"/>
                    </a:lnTo>
                    <a:lnTo>
                      <a:pt x="76" y="14"/>
                    </a:lnTo>
                    <a:lnTo>
                      <a:pt x="68" y="18"/>
                    </a:lnTo>
                    <a:lnTo>
                      <a:pt x="58" y="22"/>
                    </a:lnTo>
                    <a:lnTo>
                      <a:pt x="42" y="28"/>
                    </a:lnTo>
                    <a:lnTo>
                      <a:pt x="28" y="32"/>
                    </a:lnTo>
                    <a:lnTo>
                      <a:pt x="12" y="36"/>
                    </a:lnTo>
                    <a:lnTo>
                      <a:pt x="8" y="38"/>
                    </a:lnTo>
                    <a:lnTo>
                      <a:pt x="6" y="42"/>
                    </a:lnTo>
                    <a:lnTo>
                      <a:pt x="4" y="48"/>
                    </a:lnTo>
                    <a:lnTo>
                      <a:pt x="0" y="60"/>
                    </a:lnTo>
                    <a:lnTo>
                      <a:pt x="0" y="70"/>
                    </a:lnTo>
                    <a:lnTo>
                      <a:pt x="2" y="80"/>
                    </a:lnTo>
                    <a:lnTo>
                      <a:pt x="6" y="86"/>
                    </a:lnTo>
                    <a:lnTo>
                      <a:pt x="18" y="106"/>
                    </a:lnTo>
                    <a:lnTo>
                      <a:pt x="30" y="158"/>
                    </a:lnTo>
                    <a:lnTo>
                      <a:pt x="42" y="208"/>
                    </a:lnTo>
                    <a:lnTo>
                      <a:pt x="50" y="224"/>
                    </a:lnTo>
                    <a:lnTo>
                      <a:pt x="56" y="240"/>
                    </a:lnTo>
                    <a:lnTo>
                      <a:pt x="60" y="252"/>
                    </a:lnTo>
                    <a:lnTo>
                      <a:pt x="64" y="266"/>
                    </a:lnTo>
                    <a:lnTo>
                      <a:pt x="72" y="284"/>
                    </a:lnTo>
                    <a:lnTo>
                      <a:pt x="80" y="304"/>
                    </a:lnTo>
                    <a:lnTo>
                      <a:pt x="82" y="312"/>
                    </a:lnTo>
                    <a:lnTo>
                      <a:pt x="84" y="318"/>
                    </a:lnTo>
                    <a:lnTo>
                      <a:pt x="82" y="332"/>
                    </a:lnTo>
                    <a:lnTo>
                      <a:pt x="78" y="346"/>
                    </a:lnTo>
                    <a:lnTo>
                      <a:pt x="72" y="364"/>
                    </a:lnTo>
                    <a:lnTo>
                      <a:pt x="64" y="398"/>
                    </a:lnTo>
                    <a:lnTo>
                      <a:pt x="54" y="438"/>
                    </a:lnTo>
                    <a:lnTo>
                      <a:pt x="48" y="464"/>
                    </a:lnTo>
                    <a:lnTo>
                      <a:pt x="42" y="484"/>
                    </a:lnTo>
                    <a:lnTo>
                      <a:pt x="46" y="488"/>
                    </a:lnTo>
                    <a:lnTo>
                      <a:pt x="52" y="492"/>
                    </a:lnTo>
                    <a:lnTo>
                      <a:pt x="58" y="494"/>
                    </a:lnTo>
                    <a:lnTo>
                      <a:pt x="58" y="506"/>
                    </a:lnTo>
                    <a:lnTo>
                      <a:pt x="58" y="524"/>
                    </a:lnTo>
                    <a:lnTo>
                      <a:pt x="58" y="556"/>
                    </a:lnTo>
                    <a:lnTo>
                      <a:pt x="60" y="606"/>
                    </a:lnTo>
                    <a:lnTo>
                      <a:pt x="62" y="656"/>
                    </a:lnTo>
                    <a:lnTo>
                      <a:pt x="62" y="672"/>
                    </a:lnTo>
                    <a:lnTo>
                      <a:pt x="62" y="682"/>
                    </a:lnTo>
                    <a:lnTo>
                      <a:pt x="62" y="710"/>
                    </a:lnTo>
                    <a:lnTo>
                      <a:pt x="62" y="732"/>
                    </a:lnTo>
                    <a:lnTo>
                      <a:pt x="62" y="752"/>
                    </a:lnTo>
                    <a:lnTo>
                      <a:pt x="72" y="756"/>
                    </a:lnTo>
                    <a:lnTo>
                      <a:pt x="108" y="770"/>
                    </a:lnTo>
                    <a:lnTo>
                      <a:pt x="122" y="774"/>
                    </a:lnTo>
                    <a:lnTo>
                      <a:pt x="136" y="774"/>
                    </a:lnTo>
                    <a:lnTo>
                      <a:pt x="152" y="774"/>
                    </a:lnTo>
                    <a:lnTo>
                      <a:pt x="168" y="770"/>
                    </a:lnTo>
                    <a:lnTo>
                      <a:pt x="196" y="764"/>
                    </a:lnTo>
                    <a:lnTo>
                      <a:pt x="214" y="760"/>
                    </a:lnTo>
                    <a:lnTo>
                      <a:pt x="264" y="746"/>
                    </a:lnTo>
                    <a:lnTo>
                      <a:pt x="288" y="738"/>
                    </a:lnTo>
                    <a:lnTo>
                      <a:pt x="310" y="728"/>
                    </a:lnTo>
                    <a:lnTo>
                      <a:pt x="330" y="716"/>
                    </a:lnTo>
                    <a:lnTo>
                      <a:pt x="328" y="676"/>
                    </a:lnTo>
                    <a:lnTo>
                      <a:pt x="326" y="616"/>
                    </a:lnTo>
                    <a:lnTo>
                      <a:pt x="326" y="532"/>
                    </a:lnTo>
                    <a:lnTo>
                      <a:pt x="324" y="468"/>
                    </a:lnTo>
                    <a:lnTo>
                      <a:pt x="326" y="460"/>
                    </a:lnTo>
                    <a:lnTo>
                      <a:pt x="326" y="446"/>
                    </a:lnTo>
                    <a:lnTo>
                      <a:pt x="324" y="434"/>
                    </a:lnTo>
                    <a:lnTo>
                      <a:pt x="316" y="408"/>
                    </a:lnTo>
                    <a:lnTo>
                      <a:pt x="310" y="392"/>
                    </a:lnTo>
                    <a:lnTo>
                      <a:pt x="308" y="384"/>
                    </a:lnTo>
                    <a:lnTo>
                      <a:pt x="324" y="344"/>
                    </a:lnTo>
                    <a:lnTo>
                      <a:pt x="338" y="314"/>
                    </a:lnTo>
                    <a:lnTo>
                      <a:pt x="342" y="298"/>
                    </a:lnTo>
                    <a:lnTo>
                      <a:pt x="344" y="290"/>
                    </a:lnTo>
                    <a:lnTo>
                      <a:pt x="348" y="280"/>
                    </a:lnTo>
                    <a:lnTo>
                      <a:pt x="350" y="276"/>
                    </a:lnTo>
                    <a:lnTo>
                      <a:pt x="348" y="272"/>
                    </a:lnTo>
                    <a:lnTo>
                      <a:pt x="344" y="262"/>
                    </a:lnTo>
                    <a:close/>
                    <a:moveTo>
                      <a:pt x="280" y="246"/>
                    </a:moveTo>
                    <a:lnTo>
                      <a:pt x="276" y="250"/>
                    </a:lnTo>
                    <a:lnTo>
                      <a:pt x="276" y="256"/>
                    </a:lnTo>
                    <a:lnTo>
                      <a:pt x="272" y="258"/>
                    </a:lnTo>
                    <a:lnTo>
                      <a:pt x="274" y="236"/>
                    </a:lnTo>
                    <a:lnTo>
                      <a:pt x="278" y="236"/>
                    </a:lnTo>
                    <a:lnTo>
                      <a:pt x="280" y="238"/>
                    </a:lnTo>
                    <a:lnTo>
                      <a:pt x="282" y="240"/>
                    </a:lnTo>
                    <a:lnTo>
                      <a:pt x="282" y="246"/>
                    </a:lnTo>
                    <a:lnTo>
                      <a:pt x="280" y="246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>
                  <a:solidFill>
                    <a:sysClr val="windowText" lastClr="000000"/>
                  </a:solidFill>
                  <a:latin typeface="+mn-lt"/>
                  <a:cs typeface="+mn-cs"/>
                </a:endParaRPr>
              </a:p>
            </p:txBody>
          </p:sp>
          <p:sp>
            <p:nvSpPr>
              <p:cNvPr id="52" name="Freeform 138"/>
              <p:cNvSpPr>
                <a:spLocks/>
              </p:cNvSpPr>
              <p:nvPr/>
            </p:nvSpPr>
            <p:spPr bwMode="auto">
              <a:xfrm>
                <a:off x="1271395" y="3863738"/>
                <a:ext cx="187779" cy="311030"/>
              </a:xfrm>
              <a:custGeom>
                <a:avLst/>
                <a:gdLst>
                  <a:gd name="T0" fmla="*/ 2147483647 w 120"/>
                  <a:gd name="T1" fmla="*/ 2147483647 h 196"/>
                  <a:gd name="T2" fmla="*/ 2147483647 w 120"/>
                  <a:gd name="T3" fmla="*/ 2147483647 h 196"/>
                  <a:gd name="T4" fmla="*/ 2147483647 w 120"/>
                  <a:gd name="T5" fmla="*/ 2147483647 h 196"/>
                  <a:gd name="T6" fmla="*/ 2147483647 w 120"/>
                  <a:gd name="T7" fmla="*/ 2147483647 h 196"/>
                  <a:gd name="T8" fmla="*/ 2147483647 w 120"/>
                  <a:gd name="T9" fmla="*/ 2147483647 h 196"/>
                  <a:gd name="T10" fmla="*/ 2147483647 w 120"/>
                  <a:gd name="T11" fmla="*/ 2147483647 h 196"/>
                  <a:gd name="T12" fmla="*/ 2147483647 w 120"/>
                  <a:gd name="T13" fmla="*/ 2147483647 h 196"/>
                  <a:gd name="T14" fmla="*/ 2147483647 w 120"/>
                  <a:gd name="T15" fmla="*/ 2147483647 h 196"/>
                  <a:gd name="T16" fmla="*/ 2147483647 w 120"/>
                  <a:gd name="T17" fmla="*/ 2147483647 h 196"/>
                  <a:gd name="T18" fmla="*/ 2147483647 w 120"/>
                  <a:gd name="T19" fmla="*/ 2147483647 h 196"/>
                  <a:gd name="T20" fmla="*/ 2147483647 w 120"/>
                  <a:gd name="T21" fmla="*/ 2147483647 h 196"/>
                  <a:gd name="T22" fmla="*/ 2147483647 w 120"/>
                  <a:gd name="T23" fmla="*/ 2147483647 h 196"/>
                  <a:gd name="T24" fmla="*/ 2147483647 w 120"/>
                  <a:gd name="T25" fmla="*/ 2147483647 h 196"/>
                  <a:gd name="T26" fmla="*/ 2147483647 w 120"/>
                  <a:gd name="T27" fmla="*/ 2147483647 h 196"/>
                  <a:gd name="T28" fmla="*/ 2147483647 w 120"/>
                  <a:gd name="T29" fmla="*/ 2147483647 h 196"/>
                  <a:gd name="T30" fmla="*/ 2147483647 w 120"/>
                  <a:gd name="T31" fmla="*/ 2147483647 h 196"/>
                  <a:gd name="T32" fmla="*/ 2147483647 w 120"/>
                  <a:gd name="T33" fmla="*/ 2147483647 h 196"/>
                  <a:gd name="T34" fmla="*/ 2147483647 w 120"/>
                  <a:gd name="T35" fmla="*/ 2147483647 h 196"/>
                  <a:gd name="T36" fmla="*/ 2147483647 w 120"/>
                  <a:gd name="T37" fmla="*/ 2147483647 h 196"/>
                  <a:gd name="T38" fmla="*/ 2147483647 w 120"/>
                  <a:gd name="T39" fmla="*/ 2147483647 h 196"/>
                  <a:gd name="T40" fmla="*/ 0 w 120"/>
                  <a:gd name="T41" fmla="*/ 2147483647 h 196"/>
                  <a:gd name="T42" fmla="*/ 2147483647 w 120"/>
                  <a:gd name="T43" fmla="*/ 2147483647 h 196"/>
                  <a:gd name="T44" fmla="*/ 2147483647 w 120"/>
                  <a:gd name="T45" fmla="*/ 2147483647 h 196"/>
                  <a:gd name="T46" fmla="*/ 2147483647 w 120"/>
                  <a:gd name="T47" fmla="*/ 2147483647 h 196"/>
                  <a:gd name="T48" fmla="*/ 2147483647 w 120"/>
                  <a:gd name="T49" fmla="*/ 0 h 196"/>
                  <a:gd name="T50" fmla="*/ 2147483647 w 120"/>
                  <a:gd name="T51" fmla="*/ 0 h 196"/>
                  <a:gd name="T52" fmla="*/ 2147483647 w 120"/>
                  <a:gd name="T53" fmla="*/ 2147483647 h 196"/>
                  <a:gd name="T54" fmla="*/ 2147483647 w 120"/>
                  <a:gd name="T55" fmla="*/ 2147483647 h 19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w 120"/>
                  <a:gd name="T85" fmla="*/ 0 h 196"/>
                  <a:gd name="T86" fmla="*/ 120 w 120"/>
                  <a:gd name="T87" fmla="*/ 196 h 196"/>
                </a:gdLst>
                <a:ahLst/>
                <a:cxnLst>
                  <a:cxn ang="T56">
                    <a:pos x="T0" y="T1"/>
                  </a:cxn>
                  <a:cxn ang="T57">
                    <a:pos x="T2" y="T3"/>
                  </a:cxn>
                  <a:cxn ang="T58">
                    <a:pos x="T4" y="T5"/>
                  </a:cxn>
                  <a:cxn ang="T59">
                    <a:pos x="T6" y="T7"/>
                  </a:cxn>
                  <a:cxn ang="T60">
                    <a:pos x="T8" y="T9"/>
                  </a:cxn>
                  <a:cxn ang="T61">
                    <a:pos x="T10" y="T11"/>
                  </a:cxn>
                  <a:cxn ang="T62">
                    <a:pos x="T12" y="T13"/>
                  </a:cxn>
                  <a:cxn ang="T63">
                    <a:pos x="T14" y="T15"/>
                  </a:cxn>
                  <a:cxn ang="T64">
                    <a:pos x="T16" y="T17"/>
                  </a:cxn>
                  <a:cxn ang="T65">
                    <a:pos x="T18" y="T19"/>
                  </a:cxn>
                  <a:cxn ang="T66">
                    <a:pos x="T20" y="T21"/>
                  </a:cxn>
                  <a:cxn ang="T67">
                    <a:pos x="T22" y="T23"/>
                  </a:cxn>
                  <a:cxn ang="T68">
                    <a:pos x="T24" y="T25"/>
                  </a:cxn>
                  <a:cxn ang="T69">
                    <a:pos x="T26" y="T27"/>
                  </a:cxn>
                  <a:cxn ang="T70">
                    <a:pos x="T28" y="T29"/>
                  </a:cxn>
                  <a:cxn ang="T71">
                    <a:pos x="T30" y="T31"/>
                  </a:cxn>
                  <a:cxn ang="T72">
                    <a:pos x="T32" y="T33"/>
                  </a:cxn>
                  <a:cxn ang="T73">
                    <a:pos x="T34" y="T35"/>
                  </a:cxn>
                  <a:cxn ang="T74">
                    <a:pos x="T36" y="T37"/>
                  </a:cxn>
                  <a:cxn ang="T75">
                    <a:pos x="T38" y="T39"/>
                  </a:cxn>
                  <a:cxn ang="T76">
                    <a:pos x="T40" y="T41"/>
                  </a:cxn>
                  <a:cxn ang="T77">
                    <a:pos x="T42" y="T43"/>
                  </a:cxn>
                  <a:cxn ang="T78">
                    <a:pos x="T44" y="T45"/>
                  </a:cxn>
                  <a:cxn ang="T79">
                    <a:pos x="T46" y="T47"/>
                  </a:cxn>
                  <a:cxn ang="T80">
                    <a:pos x="T48" y="T49"/>
                  </a:cxn>
                  <a:cxn ang="T81">
                    <a:pos x="T50" y="T51"/>
                  </a:cxn>
                  <a:cxn ang="T82">
                    <a:pos x="T52" y="T53"/>
                  </a:cxn>
                  <a:cxn ang="T83">
                    <a:pos x="T54" y="T55"/>
                  </a:cxn>
                </a:cxnLst>
                <a:rect l="T84" t="T85" r="T86" b="T87"/>
                <a:pathLst>
                  <a:path w="120" h="196">
                    <a:moveTo>
                      <a:pt x="82" y="2"/>
                    </a:moveTo>
                    <a:lnTo>
                      <a:pt x="82" y="2"/>
                    </a:lnTo>
                    <a:lnTo>
                      <a:pt x="96" y="24"/>
                    </a:lnTo>
                    <a:lnTo>
                      <a:pt x="98" y="34"/>
                    </a:lnTo>
                    <a:lnTo>
                      <a:pt x="102" y="46"/>
                    </a:lnTo>
                    <a:lnTo>
                      <a:pt x="106" y="70"/>
                    </a:lnTo>
                    <a:lnTo>
                      <a:pt x="114" y="120"/>
                    </a:lnTo>
                    <a:lnTo>
                      <a:pt x="118" y="170"/>
                    </a:lnTo>
                    <a:lnTo>
                      <a:pt x="120" y="188"/>
                    </a:lnTo>
                    <a:lnTo>
                      <a:pt x="118" y="196"/>
                    </a:lnTo>
                    <a:lnTo>
                      <a:pt x="106" y="174"/>
                    </a:lnTo>
                    <a:lnTo>
                      <a:pt x="76" y="120"/>
                    </a:lnTo>
                    <a:lnTo>
                      <a:pt x="58" y="90"/>
                    </a:lnTo>
                    <a:lnTo>
                      <a:pt x="38" y="62"/>
                    </a:lnTo>
                    <a:lnTo>
                      <a:pt x="22" y="40"/>
                    </a:lnTo>
                    <a:lnTo>
                      <a:pt x="14" y="32"/>
                    </a:lnTo>
                    <a:lnTo>
                      <a:pt x="8" y="26"/>
                    </a:lnTo>
                    <a:lnTo>
                      <a:pt x="0" y="22"/>
                    </a:lnTo>
                    <a:lnTo>
                      <a:pt x="2" y="12"/>
                    </a:lnTo>
                    <a:lnTo>
                      <a:pt x="36" y="4"/>
                    </a:lnTo>
                    <a:lnTo>
                      <a:pt x="64" y="0"/>
                    </a:lnTo>
                    <a:lnTo>
                      <a:pt x="74" y="0"/>
                    </a:lnTo>
                    <a:lnTo>
                      <a:pt x="82" y="2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>
                  <a:solidFill>
                    <a:sysClr val="windowText" lastClr="000000"/>
                  </a:solidFill>
                  <a:latin typeface="+mn-lt"/>
                  <a:cs typeface="+mn-cs"/>
                </a:endParaRPr>
              </a:p>
            </p:txBody>
          </p:sp>
          <p:sp>
            <p:nvSpPr>
              <p:cNvPr id="53" name="Freeform 139"/>
              <p:cNvSpPr>
                <a:spLocks/>
              </p:cNvSpPr>
              <p:nvPr/>
            </p:nvSpPr>
            <p:spPr bwMode="auto">
              <a:xfrm>
                <a:off x="1165104" y="3580984"/>
                <a:ext cx="318872" cy="342841"/>
              </a:xfrm>
              <a:custGeom>
                <a:avLst/>
                <a:gdLst>
                  <a:gd name="T0" fmla="*/ 2147483647 w 202"/>
                  <a:gd name="T1" fmla="*/ 2147483647 h 216"/>
                  <a:gd name="T2" fmla="*/ 2147483647 w 202"/>
                  <a:gd name="T3" fmla="*/ 2147483647 h 216"/>
                  <a:gd name="T4" fmla="*/ 2147483647 w 202"/>
                  <a:gd name="T5" fmla="*/ 2147483647 h 216"/>
                  <a:gd name="T6" fmla="*/ 2147483647 w 202"/>
                  <a:gd name="T7" fmla="*/ 2147483647 h 216"/>
                  <a:gd name="T8" fmla="*/ 2147483647 w 202"/>
                  <a:gd name="T9" fmla="*/ 2147483647 h 216"/>
                  <a:gd name="T10" fmla="*/ 2147483647 w 202"/>
                  <a:gd name="T11" fmla="*/ 2147483647 h 216"/>
                  <a:gd name="T12" fmla="*/ 2147483647 w 202"/>
                  <a:gd name="T13" fmla="*/ 2147483647 h 216"/>
                  <a:gd name="T14" fmla="*/ 2147483647 w 202"/>
                  <a:gd name="T15" fmla="*/ 2147483647 h 216"/>
                  <a:gd name="T16" fmla="*/ 2147483647 w 202"/>
                  <a:gd name="T17" fmla="*/ 2147483647 h 216"/>
                  <a:gd name="T18" fmla="*/ 2147483647 w 202"/>
                  <a:gd name="T19" fmla="*/ 2147483647 h 216"/>
                  <a:gd name="T20" fmla="*/ 2147483647 w 202"/>
                  <a:gd name="T21" fmla="*/ 2147483647 h 216"/>
                  <a:gd name="T22" fmla="*/ 2147483647 w 202"/>
                  <a:gd name="T23" fmla="*/ 2147483647 h 216"/>
                  <a:gd name="T24" fmla="*/ 2147483647 w 202"/>
                  <a:gd name="T25" fmla="*/ 2147483647 h 216"/>
                  <a:gd name="T26" fmla="*/ 2147483647 w 202"/>
                  <a:gd name="T27" fmla="*/ 2147483647 h 216"/>
                  <a:gd name="T28" fmla="*/ 2147483647 w 202"/>
                  <a:gd name="T29" fmla="*/ 2147483647 h 216"/>
                  <a:gd name="T30" fmla="*/ 2147483647 w 202"/>
                  <a:gd name="T31" fmla="*/ 2147483647 h 216"/>
                  <a:gd name="T32" fmla="*/ 2147483647 w 202"/>
                  <a:gd name="T33" fmla="*/ 2147483647 h 216"/>
                  <a:gd name="T34" fmla="*/ 2147483647 w 202"/>
                  <a:gd name="T35" fmla="*/ 2147483647 h 216"/>
                  <a:gd name="T36" fmla="*/ 2147483647 w 202"/>
                  <a:gd name="T37" fmla="*/ 2147483647 h 216"/>
                  <a:gd name="T38" fmla="*/ 2147483647 w 202"/>
                  <a:gd name="T39" fmla="*/ 2147483647 h 216"/>
                  <a:gd name="T40" fmla="*/ 2147483647 w 202"/>
                  <a:gd name="T41" fmla="*/ 2147483647 h 216"/>
                  <a:gd name="T42" fmla="*/ 2147483647 w 202"/>
                  <a:gd name="T43" fmla="*/ 2147483647 h 216"/>
                  <a:gd name="T44" fmla="*/ 2147483647 w 202"/>
                  <a:gd name="T45" fmla="*/ 2147483647 h 216"/>
                  <a:gd name="T46" fmla="*/ 2147483647 w 202"/>
                  <a:gd name="T47" fmla="*/ 2147483647 h 216"/>
                  <a:gd name="T48" fmla="*/ 2147483647 w 202"/>
                  <a:gd name="T49" fmla="*/ 2147483647 h 216"/>
                  <a:gd name="T50" fmla="*/ 2147483647 w 202"/>
                  <a:gd name="T51" fmla="*/ 2147483647 h 216"/>
                  <a:gd name="T52" fmla="*/ 2147483647 w 202"/>
                  <a:gd name="T53" fmla="*/ 2147483647 h 216"/>
                  <a:gd name="T54" fmla="*/ 2147483647 w 202"/>
                  <a:gd name="T55" fmla="*/ 2147483647 h 216"/>
                  <a:gd name="T56" fmla="*/ 2147483647 w 202"/>
                  <a:gd name="T57" fmla="*/ 2147483647 h 216"/>
                  <a:gd name="T58" fmla="*/ 2147483647 w 202"/>
                  <a:gd name="T59" fmla="*/ 2147483647 h 216"/>
                  <a:gd name="T60" fmla="*/ 2147483647 w 202"/>
                  <a:gd name="T61" fmla="*/ 2147483647 h 216"/>
                  <a:gd name="T62" fmla="*/ 2147483647 w 202"/>
                  <a:gd name="T63" fmla="*/ 2147483647 h 216"/>
                  <a:gd name="T64" fmla="*/ 2147483647 w 202"/>
                  <a:gd name="T65" fmla="*/ 2147483647 h 216"/>
                  <a:gd name="T66" fmla="*/ 2147483647 w 202"/>
                  <a:gd name="T67" fmla="*/ 2147483647 h 216"/>
                  <a:gd name="T68" fmla="*/ 2147483647 w 202"/>
                  <a:gd name="T69" fmla="*/ 2147483647 h 216"/>
                  <a:gd name="T70" fmla="*/ 2147483647 w 202"/>
                  <a:gd name="T71" fmla="*/ 2147483647 h 216"/>
                  <a:gd name="T72" fmla="*/ 2147483647 w 202"/>
                  <a:gd name="T73" fmla="*/ 2147483647 h 216"/>
                  <a:gd name="T74" fmla="*/ 2147483647 w 202"/>
                  <a:gd name="T75" fmla="*/ 2147483647 h 216"/>
                  <a:gd name="T76" fmla="*/ 0 w 202"/>
                  <a:gd name="T77" fmla="*/ 2147483647 h 216"/>
                  <a:gd name="T78" fmla="*/ 2147483647 w 202"/>
                  <a:gd name="T79" fmla="*/ 2147483647 h 216"/>
                  <a:gd name="T80" fmla="*/ 2147483647 w 202"/>
                  <a:gd name="T81" fmla="*/ 2147483647 h 216"/>
                  <a:gd name="T82" fmla="*/ 2147483647 w 202"/>
                  <a:gd name="T83" fmla="*/ 2147483647 h 216"/>
                  <a:gd name="T84" fmla="*/ 2147483647 w 202"/>
                  <a:gd name="T85" fmla="*/ 2147483647 h 216"/>
                  <a:gd name="T86" fmla="*/ 2147483647 w 202"/>
                  <a:gd name="T87" fmla="*/ 2147483647 h 216"/>
                  <a:gd name="T88" fmla="*/ 2147483647 w 202"/>
                  <a:gd name="T89" fmla="*/ 2147483647 h 216"/>
                  <a:gd name="T90" fmla="*/ 2147483647 w 202"/>
                  <a:gd name="T91" fmla="*/ 2147483647 h 216"/>
                  <a:gd name="T92" fmla="*/ 2147483647 w 202"/>
                  <a:gd name="T93" fmla="*/ 2147483647 h 216"/>
                  <a:gd name="T94" fmla="*/ 2147483647 w 202"/>
                  <a:gd name="T95" fmla="*/ 2147483647 h 216"/>
                  <a:gd name="T96" fmla="*/ 2147483647 w 202"/>
                  <a:gd name="T97" fmla="*/ 2147483647 h 216"/>
                  <a:gd name="T98" fmla="*/ 2147483647 w 202"/>
                  <a:gd name="T99" fmla="*/ 2147483647 h 216"/>
                  <a:gd name="T100" fmla="*/ 2147483647 w 202"/>
                  <a:gd name="T101" fmla="*/ 2147483647 h 216"/>
                  <a:gd name="T102" fmla="*/ 2147483647 w 202"/>
                  <a:gd name="T103" fmla="*/ 2147483647 h 216"/>
                  <a:gd name="T104" fmla="*/ 2147483647 w 202"/>
                  <a:gd name="T105" fmla="*/ 2147483647 h 216"/>
                  <a:gd name="T106" fmla="*/ 2147483647 w 202"/>
                  <a:gd name="T107" fmla="*/ 2147483647 h 21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w 202"/>
                  <a:gd name="T163" fmla="*/ 0 h 216"/>
                  <a:gd name="T164" fmla="*/ 202 w 202"/>
                  <a:gd name="T165" fmla="*/ 216 h 216"/>
                </a:gdLst>
                <a:ahLst/>
                <a:cxnLst>
                  <a:cxn ang="T108">
                    <a:pos x="T0" y="T1"/>
                  </a:cxn>
                  <a:cxn ang="T109">
                    <a:pos x="T2" y="T3"/>
                  </a:cxn>
                  <a:cxn ang="T110">
                    <a:pos x="T4" y="T5"/>
                  </a:cxn>
                  <a:cxn ang="T111">
                    <a:pos x="T6" y="T7"/>
                  </a:cxn>
                  <a:cxn ang="T112">
                    <a:pos x="T8" y="T9"/>
                  </a:cxn>
                  <a:cxn ang="T113">
                    <a:pos x="T10" y="T11"/>
                  </a:cxn>
                  <a:cxn ang="T114">
                    <a:pos x="T12" y="T13"/>
                  </a:cxn>
                  <a:cxn ang="T115">
                    <a:pos x="T14" y="T15"/>
                  </a:cxn>
                  <a:cxn ang="T116">
                    <a:pos x="T16" y="T17"/>
                  </a:cxn>
                  <a:cxn ang="T117">
                    <a:pos x="T18" y="T19"/>
                  </a:cxn>
                  <a:cxn ang="T118">
                    <a:pos x="T20" y="T21"/>
                  </a:cxn>
                  <a:cxn ang="T119">
                    <a:pos x="T22" y="T23"/>
                  </a:cxn>
                  <a:cxn ang="T120">
                    <a:pos x="T24" y="T25"/>
                  </a:cxn>
                  <a:cxn ang="T121">
                    <a:pos x="T26" y="T27"/>
                  </a:cxn>
                  <a:cxn ang="T122">
                    <a:pos x="T28" y="T29"/>
                  </a:cxn>
                  <a:cxn ang="T123">
                    <a:pos x="T30" y="T31"/>
                  </a:cxn>
                  <a:cxn ang="T124">
                    <a:pos x="T32" y="T33"/>
                  </a:cxn>
                  <a:cxn ang="T125">
                    <a:pos x="T34" y="T35"/>
                  </a:cxn>
                  <a:cxn ang="T126">
                    <a:pos x="T36" y="T37"/>
                  </a:cxn>
                  <a:cxn ang="T127">
                    <a:pos x="T38" y="T39"/>
                  </a:cxn>
                  <a:cxn ang="T128">
                    <a:pos x="T40" y="T41"/>
                  </a:cxn>
                  <a:cxn ang="T129">
                    <a:pos x="T42" y="T43"/>
                  </a:cxn>
                  <a:cxn ang="T130">
                    <a:pos x="T44" y="T45"/>
                  </a:cxn>
                  <a:cxn ang="T131">
                    <a:pos x="T46" y="T47"/>
                  </a:cxn>
                  <a:cxn ang="T132">
                    <a:pos x="T48" y="T49"/>
                  </a:cxn>
                  <a:cxn ang="T133">
                    <a:pos x="T50" y="T51"/>
                  </a:cxn>
                  <a:cxn ang="T134">
                    <a:pos x="T52" y="T53"/>
                  </a:cxn>
                  <a:cxn ang="T135">
                    <a:pos x="T54" y="T55"/>
                  </a:cxn>
                  <a:cxn ang="T136">
                    <a:pos x="T56" y="T57"/>
                  </a:cxn>
                  <a:cxn ang="T137">
                    <a:pos x="T58" y="T59"/>
                  </a:cxn>
                  <a:cxn ang="T138">
                    <a:pos x="T60" y="T61"/>
                  </a:cxn>
                  <a:cxn ang="T139">
                    <a:pos x="T62" y="T63"/>
                  </a:cxn>
                  <a:cxn ang="T140">
                    <a:pos x="T64" y="T65"/>
                  </a:cxn>
                  <a:cxn ang="T141">
                    <a:pos x="T66" y="T67"/>
                  </a:cxn>
                  <a:cxn ang="T142">
                    <a:pos x="T68" y="T69"/>
                  </a:cxn>
                  <a:cxn ang="T143">
                    <a:pos x="T70" y="T71"/>
                  </a:cxn>
                  <a:cxn ang="T144">
                    <a:pos x="T72" y="T73"/>
                  </a:cxn>
                  <a:cxn ang="T145">
                    <a:pos x="T74" y="T75"/>
                  </a:cxn>
                  <a:cxn ang="T146">
                    <a:pos x="T76" y="T77"/>
                  </a:cxn>
                  <a:cxn ang="T147">
                    <a:pos x="T78" y="T79"/>
                  </a:cxn>
                  <a:cxn ang="T148">
                    <a:pos x="T80" y="T81"/>
                  </a:cxn>
                  <a:cxn ang="T149">
                    <a:pos x="T82" y="T83"/>
                  </a:cxn>
                  <a:cxn ang="T150">
                    <a:pos x="T84" y="T85"/>
                  </a:cxn>
                  <a:cxn ang="T151">
                    <a:pos x="T86" y="T87"/>
                  </a:cxn>
                  <a:cxn ang="T152">
                    <a:pos x="T88" y="T89"/>
                  </a:cxn>
                  <a:cxn ang="T153">
                    <a:pos x="T90" y="T91"/>
                  </a:cxn>
                  <a:cxn ang="T154">
                    <a:pos x="T92" y="T93"/>
                  </a:cxn>
                  <a:cxn ang="T155">
                    <a:pos x="T94" y="T95"/>
                  </a:cxn>
                  <a:cxn ang="T156">
                    <a:pos x="T96" y="T97"/>
                  </a:cxn>
                  <a:cxn ang="T157">
                    <a:pos x="T98" y="T99"/>
                  </a:cxn>
                  <a:cxn ang="T158">
                    <a:pos x="T100" y="T101"/>
                  </a:cxn>
                  <a:cxn ang="T159">
                    <a:pos x="T102" y="T103"/>
                  </a:cxn>
                  <a:cxn ang="T160">
                    <a:pos x="T104" y="T105"/>
                  </a:cxn>
                  <a:cxn ang="T161">
                    <a:pos x="T106" y="T107"/>
                  </a:cxn>
                </a:cxnLst>
                <a:rect l="T162" t="T163" r="T164" b="T165"/>
                <a:pathLst>
                  <a:path w="202" h="216">
                    <a:moveTo>
                      <a:pt x="112" y="4"/>
                    </a:moveTo>
                    <a:lnTo>
                      <a:pt x="112" y="4"/>
                    </a:lnTo>
                    <a:lnTo>
                      <a:pt x="120" y="2"/>
                    </a:lnTo>
                    <a:lnTo>
                      <a:pt x="126" y="2"/>
                    </a:lnTo>
                    <a:lnTo>
                      <a:pt x="130" y="4"/>
                    </a:lnTo>
                    <a:lnTo>
                      <a:pt x="146" y="4"/>
                    </a:lnTo>
                    <a:lnTo>
                      <a:pt x="160" y="6"/>
                    </a:lnTo>
                    <a:lnTo>
                      <a:pt x="166" y="8"/>
                    </a:lnTo>
                    <a:lnTo>
                      <a:pt x="172" y="12"/>
                    </a:lnTo>
                    <a:lnTo>
                      <a:pt x="176" y="18"/>
                    </a:lnTo>
                    <a:lnTo>
                      <a:pt x="180" y="24"/>
                    </a:lnTo>
                    <a:lnTo>
                      <a:pt x="184" y="40"/>
                    </a:lnTo>
                    <a:lnTo>
                      <a:pt x="184" y="54"/>
                    </a:lnTo>
                    <a:lnTo>
                      <a:pt x="184" y="62"/>
                    </a:lnTo>
                    <a:lnTo>
                      <a:pt x="188" y="90"/>
                    </a:lnTo>
                    <a:lnTo>
                      <a:pt x="190" y="108"/>
                    </a:lnTo>
                    <a:lnTo>
                      <a:pt x="188" y="122"/>
                    </a:lnTo>
                    <a:lnTo>
                      <a:pt x="180" y="148"/>
                    </a:lnTo>
                    <a:lnTo>
                      <a:pt x="180" y="156"/>
                    </a:lnTo>
                    <a:lnTo>
                      <a:pt x="182" y="166"/>
                    </a:lnTo>
                    <a:lnTo>
                      <a:pt x="188" y="176"/>
                    </a:lnTo>
                    <a:lnTo>
                      <a:pt x="192" y="178"/>
                    </a:lnTo>
                    <a:lnTo>
                      <a:pt x="196" y="180"/>
                    </a:lnTo>
                    <a:lnTo>
                      <a:pt x="192" y="180"/>
                    </a:lnTo>
                    <a:lnTo>
                      <a:pt x="188" y="180"/>
                    </a:lnTo>
                    <a:lnTo>
                      <a:pt x="184" y="180"/>
                    </a:lnTo>
                    <a:lnTo>
                      <a:pt x="188" y="190"/>
                    </a:lnTo>
                    <a:lnTo>
                      <a:pt x="194" y="194"/>
                    </a:lnTo>
                    <a:lnTo>
                      <a:pt x="198" y="196"/>
                    </a:lnTo>
                    <a:lnTo>
                      <a:pt x="202" y="194"/>
                    </a:lnTo>
                    <a:lnTo>
                      <a:pt x="200" y="204"/>
                    </a:lnTo>
                    <a:lnTo>
                      <a:pt x="196" y="212"/>
                    </a:lnTo>
                    <a:lnTo>
                      <a:pt x="192" y="214"/>
                    </a:lnTo>
                    <a:lnTo>
                      <a:pt x="188" y="216"/>
                    </a:lnTo>
                    <a:lnTo>
                      <a:pt x="180" y="216"/>
                    </a:lnTo>
                    <a:lnTo>
                      <a:pt x="170" y="214"/>
                    </a:lnTo>
                    <a:lnTo>
                      <a:pt x="166" y="212"/>
                    </a:lnTo>
                    <a:lnTo>
                      <a:pt x="162" y="208"/>
                    </a:lnTo>
                    <a:lnTo>
                      <a:pt x="158" y="202"/>
                    </a:lnTo>
                    <a:lnTo>
                      <a:pt x="158" y="196"/>
                    </a:lnTo>
                    <a:lnTo>
                      <a:pt x="156" y="192"/>
                    </a:lnTo>
                    <a:lnTo>
                      <a:pt x="154" y="190"/>
                    </a:lnTo>
                    <a:lnTo>
                      <a:pt x="144" y="188"/>
                    </a:lnTo>
                    <a:lnTo>
                      <a:pt x="140" y="186"/>
                    </a:lnTo>
                    <a:lnTo>
                      <a:pt x="136" y="184"/>
                    </a:lnTo>
                    <a:lnTo>
                      <a:pt x="134" y="180"/>
                    </a:lnTo>
                    <a:lnTo>
                      <a:pt x="134" y="176"/>
                    </a:lnTo>
                    <a:lnTo>
                      <a:pt x="78" y="180"/>
                    </a:lnTo>
                    <a:lnTo>
                      <a:pt x="70" y="190"/>
                    </a:lnTo>
                    <a:lnTo>
                      <a:pt x="70" y="194"/>
                    </a:lnTo>
                    <a:lnTo>
                      <a:pt x="70" y="200"/>
                    </a:lnTo>
                    <a:lnTo>
                      <a:pt x="70" y="206"/>
                    </a:lnTo>
                    <a:lnTo>
                      <a:pt x="68" y="208"/>
                    </a:lnTo>
                    <a:lnTo>
                      <a:pt x="64" y="212"/>
                    </a:lnTo>
                    <a:lnTo>
                      <a:pt x="60" y="212"/>
                    </a:lnTo>
                    <a:lnTo>
                      <a:pt x="56" y="214"/>
                    </a:lnTo>
                    <a:lnTo>
                      <a:pt x="48" y="212"/>
                    </a:lnTo>
                    <a:lnTo>
                      <a:pt x="42" y="214"/>
                    </a:lnTo>
                    <a:lnTo>
                      <a:pt x="28" y="216"/>
                    </a:lnTo>
                    <a:lnTo>
                      <a:pt x="22" y="214"/>
                    </a:lnTo>
                    <a:lnTo>
                      <a:pt x="14" y="210"/>
                    </a:lnTo>
                    <a:lnTo>
                      <a:pt x="8" y="204"/>
                    </a:lnTo>
                    <a:lnTo>
                      <a:pt x="6" y="196"/>
                    </a:lnTo>
                    <a:lnTo>
                      <a:pt x="0" y="188"/>
                    </a:lnTo>
                    <a:lnTo>
                      <a:pt x="6" y="190"/>
                    </a:lnTo>
                    <a:lnTo>
                      <a:pt x="12" y="190"/>
                    </a:lnTo>
                    <a:lnTo>
                      <a:pt x="14" y="190"/>
                    </a:lnTo>
                    <a:lnTo>
                      <a:pt x="14" y="188"/>
                    </a:lnTo>
                    <a:lnTo>
                      <a:pt x="18" y="182"/>
                    </a:lnTo>
                    <a:lnTo>
                      <a:pt x="24" y="178"/>
                    </a:lnTo>
                    <a:lnTo>
                      <a:pt x="26" y="172"/>
                    </a:lnTo>
                    <a:lnTo>
                      <a:pt x="26" y="166"/>
                    </a:lnTo>
                    <a:lnTo>
                      <a:pt x="24" y="158"/>
                    </a:lnTo>
                    <a:lnTo>
                      <a:pt x="22" y="146"/>
                    </a:lnTo>
                    <a:lnTo>
                      <a:pt x="18" y="134"/>
                    </a:lnTo>
                    <a:lnTo>
                      <a:pt x="18" y="124"/>
                    </a:lnTo>
                    <a:lnTo>
                      <a:pt x="18" y="114"/>
                    </a:lnTo>
                    <a:lnTo>
                      <a:pt x="22" y="106"/>
                    </a:lnTo>
                    <a:lnTo>
                      <a:pt x="30" y="88"/>
                    </a:lnTo>
                    <a:lnTo>
                      <a:pt x="32" y="78"/>
                    </a:lnTo>
                    <a:lnTo>
                      <a:pt x="36" y="68"/>
                    </a:lnTo>
                    <a:lnTo>
                      <a:pt x="40" y="56"/>
                    </a:lnTo>
                    <a:lnTo>
                      <a:pt x="48" y="42"/>
                    </a:lnTo>
                    <a:lnTo>
                      <a:pt x="60" y="30"/>
                    </a:lnTo>
                    <a:lnTo>
                      <a:pt x="72" y="18"/>
                    </a:lnTo>
                    <a:lnTo>
                      <a:pt x="84" y="10"/>
                    </a:lnTo>
                    <a:lnTo>
                      <a:pt x="94" y="2"/>
                    </a:lnTo>
                    <a:lnTo>
                      <a:pt x="104" y="0"/>
                    </a:lnTo>
                    <a:lnTo>
                      <a:pt x="108" y="2"/>
                    </a:lnTo>
                    <a:lnTo>
                      <a:pt x="112" y="4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>
                  <a:solidFill>
                    <a:sysClr val="windowText" lastClr="000000"/>
                  </a:solidFill>
                  <a:latin typeface="+mn-lt"/>
                  <a:cs typeface="+mn-cs"/>
                </a:endParaRPr>
              </a:p>
            </p:txBody>
          </p:sp>
          <p:sp>
            <p:nvSpPr>
              <p:cNvPr id="54" name="Freeform 140"/>
              <p:cNvSpPr>
                <a:spLocks/>
              </p:cNvSpPr>
              <p:nvPr/>
            </p:nvSpPr>
            <p:spPr bwMode="auto">
              <a:xfrm>
                <a:off x="1260765" y="3761241"/>
                <a:ext cx="145265" cy="222668"/>
              </a:xfrm>
              <a:custGeom>
                <a:avLst/>
                <a:gdLst>
                  <a:gd name="T0" fmla="*/ 2147483647 w 90"/>
                  <a:gd name="T1" fmla="*/ 2147483647 h 140"/>
                  <a:gd name="T2" fmla="*/ 2147483647 w 90"/>
                  <a:gd name="T3" fmla="*/ 2147483647 h 140"/>
                  <a:gd name="T4" fmla="*/ 2147483647 w 90"/>
                  <a:gd name="T5" fmla="*/ 2147483647 h 140"/>
                  <a:gd name="T6" fmla="*/ 2147483647 w 90"/>
                  <a:gd name="T7" fmla="*/ 2147483647 h 140"/>
                  <a:gd name="T8" fmla="*/ 2147483647 w 90"/>
                  <a:gd name="T9" fmla="*/ 2147483647 h 140"/>
                  <a:gd name="T10" fmla="*/ 2147483647 w 90"/>
                  <a:gd name="T11" fmla="*/ 2147483647 h 140"/>
                  <a:gd name="T12" fmla="*/ 2147483647 w 90"/>
                  <a:gd name="T13" fmla="*/ 2147483647 h 140"/>
                  <a:gd name="T14" fmla="*/ 2147483647 w 90"/>
                  <a:gd name="T15" fmla="*/ 2147483647 h 140"/>
                  <a:gd name="T16" fmla="*/ 2147483647 w 90"/>
                  <a:gd name="T17" fmla="*/ 2147483647 h 140"/>
                  <a:gd name="T18" fmla="*/ 2147483647 w 90"/>
                  <a:gd name="T19" fmla="*/ 2147483647 h 140"/>
                  <a:gd name="T20" fmla="*/ 2147483647 w 90"/>
                  <a:gd name="T21" fmla="*/ 2147483647 h 140"/>
                  <a:gd name="T22" fmla="*/ 2147483647 w 90"/>
                  <a:gd name="T23" fmla="*/ 2147483647 h 140"/>
                  <a:gd name="T24" fmla="*/ 2147483647 w 90"/>
                  <a:gd name="T25" fmla="*/ 2147483647 h 140"/>
                  <a:gd name="T26" fmla="*/ 2147483647 w 90"/>
                  <a:gd name="T27" fmla="*/ 2147483647 h 140"/>
                  <a:gd name="T28" fmla="*/ 2147483647 w 90"/>
                  <a:gd name="T29" fmla="*/ 2147483647 h 140"/>
                  <a:gd name="T30" fmla="*/ 2147483647 w 90"/>
                  <a:gd name="T31" fmla="*/ 2147483647 h 140"/>
                  <a:gd name="T32" fmla="*/ 2147483647 w 90"/>
                  <a:gd name="T33" fmla="*/ 2147483647 h 140"/>
                  <a:gd name="T34" fmla="*/ 2147483647 w 90"/>
                  <a:gd name="T35" fmla="*/ 2147483647 h 140"/>
                  <a:gd name="T36" fmla="*/ 2147483647 w 90"/>
                  <a:gd name="T37" fmla="*/ 2147483647 h 140"/>
                  <a:gd name="T38" fmla="*/ 2147483647 w 90"/>
                  <a:gd name="T39" fmla="*/ 2147483647 h 140"/>
                  <a:gd name="T40" fmla="*/ 2147483647 w 90"/>
                  <a:gd name="T41" fmla="*/ 2147483647 h 140"/>
                  <a:gd name="T42" fmla="*/ 2147483647 w 90"/>
                  <a:gd name="T43" fmla="*/ 2147483647 h 140"/>
                  <a:gd name="T44" fmla="*/ 2147483647 w 90"/>
                  <a:gd name="T45" fmla="*/ 2147483647 h 140"/>
                  <a:gd name="T46" fmla="*/ 2147483647 w 90"/>
                  <a:gd name="T47" fmla="*/ 2147483647 h 140"/>
                  <a:gd name="T48" fmla="*/ 2147483647 w 90"/>
                  <a:gd name="T49" fmla="*/ 2147483647 h 140"/>
                  <a:gd name="T50" fmla="*/ 2147483647 w 90"/>
                  <a:gd name="T51" fmla="*/ 2147483647 h 140"/>
                  <a:gd name="T52" fmla="*/ 2147483647 w 90"/>
                  <a:gd name="T53" fmla="*/ 2147483647 h 140"/>
                  <a:gd name="T54" fmla="*/ 2147483647 w 90"/>
                  <a:gd name="T55" fmla="*/ 2147483647 h 140"/>
                  <a:gd name="T56" fmla="*/ 2147483647 w 90"/>
                  <a:gd name="T57" fmla="*/ 2147483647 h 140"/>
                  <a:gd name="T58" fmla="*/ 2147483647 w 90"/>
                  <a:gd name="T59" fmla="*/ 2147483647 h 140"/>
                  <a:gd name="T60" fmla="*/ 2147483647 w 90"/>
                  <a:gd name="T61" fmla="*/ 2147483647 h 140"/>
                  <a:gd name="T62" fmla="*/ 2147483647 w 90"/>
                  <a:gd name="T63" fmla="*/ 2147483647 h 140"/>
                  <a:gd name="T64" fmla="*/ 2147483647 w 90"/>
                  <a:gd name="T65" fmla="*/ 2147483647 h 140"/>
                  <a:gd name="T66" fmla="*/ 2147483647 w 90"/>
                  <a:gd name="T67" fmla="*/ 2147483647 h 140"/>
                  <a:gd name="T68" fmla="*/ 2147483647 w 90"/>
                  <a:gd name="T69" fmla="*/ 2147483647 h 140"/>
                  <a:gd name="T70" fmla="*/ 2147483647 w 90"/>
                  <a:gd name="T71" fmla="*/ 2147483647 h 140"/>
                  <a:gd name="T72" fmla="*/ 0 w 90"/>
                  <a:gd name="T73" fmla="*/ 2147483647 h 140"/>
                  <a:gd name="T74" fmla="*/ 0 w 90"/>
                  <a:gd name="T75" fmla="*/ 2147483647 h 140"/>
                  <a:gd name="T76" fmla="*/ 2147483647 w 90"/>
                  <a:gd name="T77" fmla="*/ 2147483647 h 140"/>
                  <a:gd name="T78" fmla="*/ 2147483647 w 90"/>
                  <a:gd name="T79" fmla="*/ 2147483647 h 140"/>
                  <a:gd name="T80" fmla="*/ 2147483647 w 90"/>
                  <a:gd name="T81" fmla="*/ 2147483647 h 140"/>
                  <a:gd name="T82" fmla="*/ 2147483647 w 90"/>
                  <a:gd name="T83" fmla="*/ 0 h 140"/>
                  <a:gd name="T84" fmla="*/ 2147483647 w 90"/>
                  <a:gd name="T85" fmla="*/ 2147483647 h 140"/>
                  <a:gd name="T86" fmla="*/ 2147483647 w 90"/>
                  <a:gd name="T87" fmla="*/ 2147483647 h 140"/>
                  <a:gd name="T88" fmla="*/ 2147483647 w 90"/>
                  <a:gd name="T89" fmla="*/ 2147483647 h 140"/>
                  <a:gd name="T90" fmla="*/ 2147483647 w 90"/>
                  <a:gd name="T91" fmla="*/ 2147483647 h 140"/>
                  <a:gd name="T92" fmla="*/ 2147483647 w 90"/>
                  <a:gd name="T93" fmla="*/ 2147483647 h 140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w 90"/>
                  <a:gd name="T142" fmla="*/ 0 h 140"/>
                  <a:gd name="T143" fmla="*/ 90 w 90"/>
                  <a:gd name="T144" fmla="*/ 140 h 140"/>
                </a:gdLst>
                <a:ahLst/>
                <a:cxnLst>
                  <a:cxn ang="T94">
                    <a:pos x="T0" y="T1"/>
                  </a:cxn>
                  <a:cxn ang="T95">
                    <a:pos x="T2" y="T3"/>
                  </a:cxn>
                  <a:cxn ang="T96">
                    <a:pos x="T4" y="T5"/>
                  </a:cxn>
                  <a:cxn ang="T97">
                    <a:pos x="T6" y="T7"/>
                  </a:cxn>
                  <a:cxn ang="T98">
                    <a:pos x="T8" y="T9"/>
                  </a:cxn>
                  <a:cxn ang="T99">
                    <a:pos x="T10" y="T11"/>
                  </a:cxn>
                  <a:cxn ang="T100">
                    <a:pos x="T12" y="T13"/>
                  </a:cxn>
                  <a:cxn ang="T101">
                    <a:pos x="T14" y="T15"/>
                  </a:cxn>
                  <a:cxn ang="T102">
                    <a:pos x="T16" y="T17"/>
                  </a:cxn>
                  <a:cxn ang="T103">
                    <a:pos x="T18" y="T19"/>
                  </a:cxn>
                  <a:cxn ang="T104">
                    <a:pos x="T20" y="T21"/>
                  </a:cxn>
                  <a:cxn ang="T105">
                    <a:pos x="T22" y="T23"/>
                  </a:cxn>
                  <a:cxn ang="T106">
                    <a:pos x="T24" y="T25"/>
                  </a:cxn>
                  <a:cxn ang="T107">
                    <a:pos x="T26" y="T27"/>
                  </a:cxn>
                  <a:cxn ang="T108">
                    <a:pos x="T28" y="T29"/>
                  </a:cxn>
                  <a:cxn ang="T109">
                    <a:pos x="T30" y="T31"/>
                  </a:cxn>
                  <a:cxn ang="T110">
                    <a:pos x="T32" y="T33"/>
                  </a:cxn>
                  <a:cxn ang="T111">
                    <a:pos x="T34" y="T35"/>
                  </a:cxn>
                  <a:cxn ang="T112">
                    <a:pos x="T36" y="T37"/>
                  </a:cxn>
                  <a:cxn ang="T113">
                    <a:pos x="T38" y="T39"/>
                  </a:cxn>
                  <a:cxn ang="T114">
                    <a:pos x="T40" y="T41"/>
                  </a:cxn>
                  <a:cxn ang="T115">
                    <a:pos x="T42" y="T43"/>
                  </a:cxn>
                  <a:cxn ang="T116">
                    <a:pos x="T44" y="T45"/>
                  </a:cxn>
                  <a:cxn ang="T117">
                    <a:pos x="T46" y="T47"/>
                  </a:cxn>
                  <a:cxn ang="T118">
                    <a:pos x="T48" y="T49"/>
                  </a:cxn>
                  <a:cxn ang="T119">
                    <a:pos x="T50" y="T51"/>
                  </a:cxn>
                  <a:cxn ang="T120">
                    <a:pos x="T52" y="T53"/>
                  </a:cxn>
                  <a:cxn ang="T121">
                    <a:pos x="T54" y="T55"/>
                  </a:cxn>
                  <a:cxn ang="T122">
                    <a:pos x="T56" y="T57"/>
                  </a:cxn>
                  <a:cxn ang="T123">
                    <a:pos x="T58" y="T59"/>
                  </a:cxn>
                  <a:cxn ang="T124">
                    <a:pos x="T60" y="T61"/>
                  </a:cxn>
                  <a:cxn ang="T125">
                    <a:pos x="T62" y="T63"/>
                  </a:cxn>
                  <a:cxn ang="T126">
                    <a:pos x="T64" y="T65"/>
                  </a:cxn>
                  <a:cxn ang="T127">
                    <a:pos x="T66" y="T67"/>
                  </a:cxn>
                  <a:cxn ang="T128">
                    <a:pos x="T68" y="T69"/>
                  </a:cxn>
                  <a:cxn ang="T129">
                    <a:pos x="T70" y="T71"/>
                  </a:cxn>
                  <a:cxn ang="T130">
                    <a:pos x="T72" y="T73"/>
                  </a:cxn>
                  <a:cxn ang="T131">
                    <a:pos x="T74" y="T75"/>
                  </a:cxn>
                  <a:cxn ang="T132">
                    <a:pos x="T76" y="T77"/>
                  </a:cxn>
                  <a:cxn ang="T133">
                    <a:pos x="T78" y="T79"/>
                  </a:cxn>
                  <a:cxn ang="T134">
                    <a:pos x="T80" y="T81"/>
                  </a:cxn>
                  <a:cxn ang="T135">
                    <a:pos x="T82" y="T83"/>
                  </a:cxn>
                  <a:cxn ang="T136">
                    <a:pos x="T84" y="T85"/>
                  </a:cxn>
                  <a:cxn ang="T137">
                    <a:pos x="T86" y="T87"/>
                  </a:cxn>
                  <a:cxn ang="T138">
                    <a:pos x="T88" y="T89"/>
                  </a:cxn>
                  <a:cxn ang="T139">
                    <a:pos x="T90" y="T91"/>
                  </a:cxn>
                  <a:cxn ang="T140">
                    <a:pos x="T92" y="T93"/>
                  </a:cxn>
                </a:cxnLst>
                <a:rect l="T141" t="T142" r="T143" b="T144"/>
                <a:pathLst>
                  <a:path w="90" h="140">
                    <a:moveTo>
                      <a:pt x="78" y="48"/>
                    </a:moveTo>
                    <a:lnTo>
                      <a:pt x="78" y="48"/>
                    </a:lnTo>
                    <a:lnTo>
                      <a:pt x="76" y="54"/>
                    </a:lnTo>
                    <a:lnTo>
                      <a:pt x="72" y="68"/>
                    </a:lnTo>
                    <a:lnTo>
                      <a:pt x="72" y="78"/>
                    </a:lnTo>
                    <a:lnTo>
                      <a:pt x="74" y="84"/>
                    </a:lnTo>
                    <a:lnTo>
                      <a:pt x="76" y="90"/>
                    </a:lnTo>
                    <a:lnTo>
                      <a:pt x="82" y="94"/>
                    </a:lnTo>
                    <a:lnTo>
                      <a:pt x="90" y="96"/>
                    </a:lnTo>
                    <a:lnTo>
                      <a:pt x="90" y="102"/>
                    </a:lnTo>
                    <a:lnTo>
                      <a:pt x="90" y="108"/>
                    </a:lnTo>
                    <a:lnTo>
                      <a:pt x="88" y="112"/>
                    </a:lnTo>
                    <a:lnTo>
                      <a:pt x="84" y="118"/>
                    </a:lnTo>
                    <a:lnTo>
                      <a:pt x="82" y="128"/>
                    </a:lnTo>
                    <a:lnTo>
                      <a:pt x="78" y="140"/>
                    </a:lnTo>
                    <a:lnTo>
                      <a:pt x="74" y="138"/>
                    </a:lnTo>
                    <a:lnTo>
                      <a:pt x="78" y="134"/>
                    </a:lnTo>
                    <a:lnTo>
                      <a:pt x="78" y="128"/>
                    </a:lnTo>
                    <a:lnTo>
                      <a:pt x="74" y="122"/>
                    </a:lnTo>
                    <a:lnTo>
                      <a:pt x="68" y="118"/>
                    </a:lnTo>
                    <a:lnTo>
                      <a:pt x="58" y="112"/>
                    </a:lnTo>
                    <a:lnTo>
                      <a:pt x="38" y="102"/>
                    </a:lnTo>
                    <a:lnTo>
                      <a:pt x="28" y="96"/>
                    </a:lnTo>
                    <a:lnTo>
                      <a:pt x="22" y="90"/>
                    </a:lnTo>
                    <a:lnTo>
                      <a:pt x="14" y="82"/>
                    </a:lnTo>
                    <a:lnTo>
                      <a:pt x="8" y="76"/>
                    </a:lnTo>
                    <a:lnTo>
                      <a:pt x="6" y="48"/>
                    </a:lnTo>
                    <a:lnTo>
                      <a:pt x="4" y="28"/>
                    </a:lnTo>
                    <a:lnTo>
                      <a:pt x="0" y="14"/>
                    </a:lnTo>
                    <a:lnTo>
                      <a:pt x="4" y="10"/>
                    </a:lnTo>
                    <a:lnTo>
                      <a:pt x="8" y="2"/>
                    </a:lnTo>
                    <a:lnTo>
                      <a:pt x="10" y="0"/>
                    </a:lnTo>
                    <a:lnTo>
                      <a:pt x="12" y="2"/>
                    </a:lnTo>
                    <a:lnTo>
                      <a:pt x="20" y="6"/>
                    </a:lnTo>
                    <a:lnTo>
                      <a:pt x="44" y="22"/>
                    </a:lnTo>
                    <a:lnTo>
                      <a:pt x="78" y="48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>
                  <a:solidFill>
                    <a:sysClr val="windowText" lastClr="000000"/>
                  </a:solidFill>
                  <a:latin typeface="+mn-lt"/>
                  <a:cs typeface="+mn-cs"/>
                </a:endParaRPr>
              </a:p>
            </p:txBody>
          </p:sp>
          <p:sp>
            <p:nvSpPr>
              <p:cNvPr id="55" name="Freeform 141"/>
              <p:cNvSpPr>
                <a:spLocks/>
              </p:cNvSpPr>
              <p:nvPr/>
            </p:nvSpPr>
            <p:spPr bwMode="auto">
              <a:xfrm>
                <a:off x="1274937" y="3619863"/>
                <a:ext cx="166523" cy="236805"/>
              </a:xfrm>
              <a:custGeom>
                <a:avLst/>
                <a:gdLst>
                  <a:gd name="T0" fmla="*/ 2147483647 w 106"/>
                  <a:gd name="T1" fmla="*/ 2147483647 h 150"/>
                  <a:gd name="T2" fmla="*/ 2147483647 w 106"/>
                  <a:gd name="T3" fmla="*/ 2147483647 h 150"/>
                  <a:gd name="T4" fmla="*/ 2147483647 w 106"/>
                  <a:gd name="T5" fmla="*/ 2147483647 h 150"/>
                  <a:gd name="T6" fmla="*/ 2147483647 w 106"/>
                  <a:gd name="T7" fmla="*/ 2147483647 h 150"/>
                  <a:gd name="T8" fmla="*/ 2147483647 w 106"/>
                  <a:gd name="T9" fmla="*/ 2147483647 h 150"/>
                  <a:gd name="T10" fmla="*/ 2147483647 w 106"/>
                  <a:gd name="T11" fmla="*/ 2147483647 h 150"/>
                  <a:gd name="T12" fmla="*/ 2147483647 w 106"/>
                  <a:gd name="T13" fmla="*/ 2147483647 h 150"/>
                  <a:gd name="T14" fmla="*/ 2147483647 w 106"/>
                  <a:gd name="T15" fmla="*/ 2147483647 h 150"/>
                  <a:gd name="T16" fmla="*/ 2147483647 w 106"/>
                  <a:gd name="T17" fmla="*/ 2147483647 h 150"/>
                  <a:gd name="T18" fmla="*/ 2147483647 w 106"/>
                  <a:gd name="T19" fmla="*/ 2147483647 h 150"/>
                  <a:gd name="T20" fmla="*/ 2147483647 w 106"/>
                  <a:gd name="T21" fmla="*/ 2147483647 h 150"/>
                  <a:gd name="T22" fmla="*/ 2147483647 w 106"/>
                  <a:gd name="T23" fmla="*/ 2147483647 h 150"/>
                  <a:gd name="T24" fmla="*/ 2147483647 w 106"/>
                  <a:gd name="T25" fmla="*/ 2147483647 h 150"/>
                  <a:gd name="T26" fmla="*/ 2147483647 w 106"/>
                  <a:gd name="T27" fmla="*/ 2147483647 h 150"/>
                  <a:gd name="T28" fmla="*/ 2147483647 w 106"/>
                  <a:gd name="T29" fmla="*/ 2147483647 h 150"/>
                  <a:gd name="T30" fmla="*/ 2147483647 w 106"/>
                  <a:gd name="T31" fmla="*/ 2147483647 h 150"/>
                  <a:gd name="T32" fmla="*/ 2147483647 w 106"/>
                  <a:gd name="T33" fmla="*/ 2147483647 h 150"/>
                  <a:gd name="T34" fmla="*/ 2147483647 w 106"/>
                  <a:gd name="T35" fmla="*/ 2147483647 h 150"/>
                  <a:gd name="T36" fmla="*/ 2147483647 w 106"/>
                  <a:gd name="T37" fmla="*/ 2147483647 h 150"/>
                  <a:gd name="T38" fmla="*/ 2147483647 w 106"/>
                  <a:gd name="T39" fmla="*/ 2147483647 h 150"/>
                  <a:gd name="T40" fmla="*/ 2147483647 w 106"/>
                  <a:gd name="T41" fmla="*/ 2147483647 h 150"/>
                  <a:gd name="T42" fmla="*/ 2147483647 w 106"/>
                  <a:gd name="T43" fmla="*/ 2147483647 h 150"/>
                  <a:gd name="T44" fmla="*/ 2147483647 w 106"/>
                  <a:gd name="T45" fmla="*/ 2147483647 h 150"/>
                  <a:gd name="T46" fmla="*/ 2147483647 w 106"/>
                  <a:gd name="T47" fmla="*/ 2147483647 h 150"/>
                  <a:gd name="T48" fmla="*/ 2147483647 w 106"/>
                  <a:gd name="T49" fmla="*/ 2147483647 h 150"/>
                  <a:gd name="T50" fmla="*/ 2147483647 w 106"/>
                  <a:gd name="T51" fmla="*/ 2147483647 h 150"/>
                  <a:gd name="T52" fmla="*/ 2147483647 w 106"/>
                  <a:gd name="T53" fmla="*/ 2147483647 h 150"/>
                  <a:gd name="T54" fmla="*/ 0 w 106"/>
                  <a:gd name="T55" fmla="*/ 2147483647 h 150"/>
                  <a:gd name="T56" fmla="*/ 0 w 106"/>
                  <a:gd name="T57" fmla="*/ 2147483647 h 150"/>
                  <a:gd name="T58" fmla="*/ 0 w 106"/>
                  <a:gd name="T59" fmla="*/ 2147483647 h 150"/>
                  <a:gd name="T60" fmla="*/ 2147483647 w 106"/>
                  <a:gd name="T61" fmla="*/ 2147483647 h 150"/>
                  <a:gd name="T62" fmla="*/ 2147483647 w 106"/>
                  <a:gd name="T63" fmla="*/ 2147483647 h 150"/>
                  <a:gd name="T64" fmla="*/ 2147483647 w 106"/>
                  <a:gd name="T65" fmla="*/ 2147483647 h 150"/>
                  <a:gd name="T66" fmla="*/ 2147483647 w 106"/>
                  <a:gd name="T67" fmla="*/ 2147483647 h 150"/>
                  <a:gd name="T68" fmla="*/ 2147483647 w 106"/>
                  <a:gd name="T69" fmla="*/ 2147483647 h 150"/>
                  <a:gd name="T70" fmla="*/ 2147483647 w 106"/>
                  <a:gd name="T71" fmla="*/ 2147483647 h 150"/>
                  <a:gd name="T72" fmla="*/ 2147483647 w 106"/>
                  <a:gd name="T73" fmla="*/ 2147483647 h 150"/>
                  <a:gd name="T74" fmla="*/ 2147483647 w 106"/>
                  <a:gd name="T75" fmla="*/ 2147483647 h 150"/>
                  <a:gd name="T76" fmla="*/ 2147483647 w 106"/>
                  <a:gd name="T77" fmla="*/ 2147483647 h 150"/>
                  <a:gd name="T78" fmla="*/ 2147483647 w 106"/>
                  <a:gd name="T79" fmla="*/ 2147483647 h 150"/>
                  <a:gd name="T80" fmla="*/ 2147483647 w 106"/>
                  <a:gd name="T81" fmla="*/ 2147483647 h 150"/>
                  <a:gd name="T82" fmla="*/ 2147483647 w 106"/>
                  <a:gd name="T83" fmla="*/ 0 h 150"/>
                  <a:gd name="T84" fmla="*/ 2147483647 w 106"/>
                  <a:gd name="T85" fmla="*/ 0 h 150"/>
                  <a:gd name="T86" fmla="*/ 2147483647 w 106"/>
                  <a:gd name="T87" fmla="*/ 2147483647 h 150"/>
                  <a:gd name="T88" fmla="*/ 2147483647 w 106"/>
                  <a:gd name="T89" fmla="*/ 2147483647 h 150"/>
                  <a:gd name="T90" fmla="*/ 2147483647 w 106"/>
                  <a:gd name="T91" fmla="*/ 2147483647 h 150"/>
                  <a:gd name="T92" fmla="*/ 2147483647 w 106"/>
                  <a:gd name="T93" fmla="*/ 2147483647 h 150"/>
                  <a:gd name="T94" fmla="*/ 2147483647 w 106"/>
                  <a:gd name="T95" fmla="*/ 2147483647 h 150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w 106"/>
                  <a:gd name="T145" fmla="*/ 0 h 150"/>
                  <a:gd name="T146" fmla="*/ 106 w 106"/>
                  <a:gd name="T147" fmla="*/ 150 h 150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T144" t="T145" r="T146" b="T147"/>
                <a:pathLst>
                  <a:path w="106" h="150">
                    <a:moveTo>
                      <a:pt x="92" y="20"/>
                    </a:moveTo>
                    <a:lnTo>
                      <a:pt x="92" y="20"/>
                    </a:lnTo>
                    <a:lnTo>
                      <a:pt x="98" y="34"/>
                    </a:lnTo>
                    <a:lnTo>
                      <a:pt x="104" y="46"/>
                    </a:lnTo>
                    <a:lnTo>
                      <a:pt x="106" y="56"/>
                    </a:lnTo>
                    <a:lnTo>
                      <a:pt x="106" y="74"/>
                    </a:lnTo>
                    <a:lnTo>
                      <a:pt x="102" y="96"/>
                    </a:lnTo>
                    <a:lnTo>
                      <a:pt x="100" y="110"/>
                    </a:lnTo>
                    <a:lnTo>
                      <a:pt x="96" y="120"/>
                    </a:lnTo>
                    <a:lnTo>
                      <a:pt x="80" y="146"/>
                    </a:lnTo>
                    <a:lnTo>
                      <a:pt x="76" y="148"/>
                    </a:lnTo>
                    <a:lnTo>
                      <a:pt x="70" y="150"/>
                    </a:lnTo>
                    <a:lnTo>
                      <a:pt x="64" y="150"/>
                    </a:lnTo>
                    <a:lnTo>
                      <a:pt x="54" y="148"/>
                    </a:lnTo>
                    <a:lnTo>
                      <a:pt x="42" y="144"/>
                    </a:lnTo>
                    <a:lnTo>
                      <a:pt x="26" y="136"/>
                    </a:lnTo>
                    <a:lnTo>
                      <a:pt x="16" y="132"/>
                    </a:lnTo>
                    <a:lnTo>
                      <a:pt x="8" y="126"/>
                    </a:lnTo>
                    <a:lnTo>
                      <a:pt x="4" y="122"/>
                    </a:lnTo>
                    <a:lnTo>
                      <a:pt x="2" y="118"/>
                    </a:lnTo>
                    <a:lnTo>
                      <a:pt x="0" y="104"/>
                    </a:lnTo>
                    <a:lnTo>
                      <a:pt x="0" y="98"/>
                    </a:lnTo>
                    <a:lnTo>
                      <a:pt x="4" y="82"/>
                    </a:lnTo>
                    <a:lnTo>
                      <a:pt x="6" y="66"/>
                    </a:lnTo>
                    <a:lnTo>
                      <a:pt x="8" y="50"/>
                    </a:lnTo>
                    <a:lnTo>
                      <a:pt x="8" y="42"/>
                    </a:lnTo>
                    <a:lnTo>
                      <a:pt x="10" y="34"/>
                    </a:lnTo>
                    <a:lnTo>
                      <a:pt x="16" y="26"/>
                    </a:lnTo>
                    <a:lnTo>
                      <a:pt x="20" y="18"/>
                    </a:lnTo>
                    <a:lnTo>
                      <a:pt x="26" y="12"/>
                    </a:lnTo>
                    <a:lnTo>
                      <a:pt x="34" y="6"/>
                    </a:lnTo>
                    <a:lnTo>
                      <a:pt x="40" y="2"/>
                    </a:lnTo>
                    <a:lnTo>
                      <a:pt x="48" y="0"/>
                    </a:lnTo>
                    <a:lnTo>
                      <a:pt x="62" y="2"/>
                    </a:lnTo>
                    <a:lnTo>
                      <a:pt x="74" y="6"/>
                    </a:lnTo>
                    <a:lnTo>
                      <a:pt x="84" y="12"/>
                    </a:lnTo>
                    <a:lnTo>
                      <a:pt x="92" y="2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>
                  <a:solidFill>
                    <a:sysClr val="windowText" lastClr="000000"/>
                  </a:solidFill>
                  <a:latin typeface="+mn-lt"/>
                  <a:cs typeface="+mn-cs"/>
                </a:endParaRPr>
              </a:p>
            </p:txBody>
          </p:sp>
          <p:sp>
            <p:nvSpPr>
              <p:cNvPr id="56" name="Freeform 142"/>
              <p:cNvSpPr>
                <a:spLocks/>
              </p:cNvSpPr>
              <p:nvPr/>
            </p:nvSpPr>
            <p:spPr bwMode="auto">
              <a:xfrm>
                <a:off x="1179277" y="4425713"/>
                <a:ext cx="198409" cy="141377"/>
              </a:xfrm>
              <a:custGeom>
                <a:avLst/>
                <a:gdLst>
                  <a:gd name="T0" fmla="*/ 2147483647 w 124"/>
                  <a:gd name="T1" fmla="*/ 2147483647 h 88"/>
                  <a:gd name="T2" fmla="*/ 2147483647 w 124"/>
                  <a:gd name="T3" fmla="*/ 2147483647 h 88"/>
                  <a:gd name="T4" fmla="*/ 2147483647 w 124"/>
                  <a:gd name="T5" fmla="*/ 0 h 88"/>
                  <a:gd name="T6" fmla="*/ 2147483647 w 124"/>
                  <a:gd name="T7" fmla="*/ 2147483647 h 88"/>
                  <a:gd name="T8" fmla="*/ 2147483647 w 124"/>
                  <a:gd name="T9" fmla="*/ 2147483647 h 88"/>
                  <a:gd name="T10" fmla="*/ 2147483647 w 124"/>
                  <a:gd name="T11" fmla="*/ 2147483647 h 88"/>
                  <a:gd name="T12" fmla="*/ 2147483647 w 124"/>
                  <a:gd name="T13" fmla="*/ 2147483647 h 88"/>
                  <a:gd name="T14" fmla="*/ 2147483647 w 124"/>
                  <a:gd name="T15" fmla="*/ 2147483647 h 88"/>
                  <a:gd name="T16" fmla="*/ 2147483647 w 124"/>
                  <a:gd name="T17" fmla="*/ 2147483647 h 88"/>
                  <a:gd name="T18" fmla="*/ 2147483647 w 124"/>
                  <a:gd name="T19" fmla="*/ 2147483647 h 88"/>
                  <a:gd name="T20" fmla="*/ 2147483647 w 124"/>
                  <a:gd name="T21" fmla="*/ 2147483647 h 88"/>
                  <a:gd name="T22" fmla="*/ 2147483647 w 124"/>
                  <a:gd name="T23" fmla="*/ 2147483647 h 88"/>
                  <a:gd name="T24" fmla="*/ 2147483647 w 124"/>
                  <a:gd name="T25" fmla="*/ 2147483647 h 88"/>
                  <a:gd name="T26" fmla="*/ 2147483647 w 124"/>
                  <a:gd name="T27" fmla="*/ 2147483647 h 88"/>
                  <a:gd name="T28" fmla="*/ 2147483647 w 124"/>
                  <a:gd name="T29" fmla="*/ 2147483647 h 88"/>
                  <a:gd name="T30" fmla="*/ 2147483647 w 124"/>
                  <a:gd name="T31" fmla="*/ 2147483647 h 88"/>
                  <a:gd name="T32" fmla="*/ 2147483647 w 124"/>
                  <a:gd name="T33" fmla="*/ 2147483647 h 88"/>
                  <a:gd name="T34" fmla="*/ 2147483647 w 124"/>
                  <a:gd name="T35" fmla="*/ 2147483647 h 88"/>
                  <a:gd name="T36" fmla="*/ 2147483647 w 124"/>
                  <a:gd name="T37" fmla="*/ 2147483647 h 88"/>
                  <a:gd name="T38" fmla="*/ 2147483647 w 124"/>
                  <a:gd name="T39" fmla="*/ 2147483647 h 88"/>
                  <a:gd name="T40" fmla="*/ 2147483647 w 124"/>
                  <a:gd name="T41" fmla="*/ 2147483647 h 88"/>
                  <a:gd name="T42" fmla="*/ 2147483647 w 124"/>
                  <a:gd name="T43" fmla="*/ 2147483647 h 88"/>
                  <a:gd name="T44" fmla="*/ 2147483647 w 124"/>
                  <a:gd name="T45" fmla="*/ 2147483647 h 88"/>
                  <a:gd name="T46" fmla="*/ 2147483647 w 124"/>
                  <a:gd name="T47" fmla="*/ 2147483647 h 88"/>
                  <a:gd name="T48" fmla="*/ 2147483647 w 124"/>
                  <a:gd name="T49" fmla="*/ 2147483647 h 88"/>
                  <a:gd name="T50" fmla="*/ 2147483647 w 124"/>
                  <a:gd name="T51" fmla="*/ 2147483647 h 88"/>
                  <a:gd name="T52" fmla="*/ 2147483647 w 124"/>
                  <a:gd name="T53" fmla="*/ 2147483647 h 88"/>
                  <a:gd name="T54" fmla="*/ 2147483647 w 124"/>
                  <a:gd name="T55" fmla="*/ 2147483647 h 88"/>
                  <a:gd name="T56" fmla="*/ 2147483647 w 124"/>
                  <a:gd name="T57" fmla="*/ 2147483647 h 88"/>
                  <a:gd name="T58" fmla="*/ 2147483647 w 124"/>
                  <a:gd name="T59" fmla="*/ 2147483647 h 88"/>
                  <a:gd name="T60" fmla="*/ 0 w 124"/>
                  <a:gd name="T61" fmla="*/ 2147483647 h 88"/>
                  <a:gd name="T62" fmla="*/ 2147483647 w 124"/>
                  <a:gd name="T63" fmla="*/ 2147483647 h 88"/>
                  <a:gd name="T64" fmla="*/ 2147483647 w 124"/>
                  <a:gd name="T65" fmla="*/ 2147483647 h 88"/>
                  <a:gd name="T66" fmla="*/ 2147483647 w 124"/>
                  <a:gd name="T67" fmla="*/ 2147483647 h 88"/>
                  <a:gd name="T68" fmla="*/ 2147483647 w 124"/>
                  <a:gd name="T69" fmla="*/ 2147483647 h 88"/>
                  <a:gd name="T70" fmla="*/ 2147483647 w 124"/>
                  <a:gd name="T71" fmla="*/ 2147483647 h 88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w 124"/>
                  <a:gd name="T109" fmla="*/ 0 h 88"/>
                  <a:gd name="T110" fmla="*/ 124 w 124"/>
                  <a:gd name="T111" fmla="*/ 88 h 88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T108" t="T109" r="T110" b="T111"/>
                <a:pathLst>
                  <a:path w="124" h="88">
                    <a:moveTo>
                      <a:pt x="50" y="16"/>
                    </a:moveTo>
                    <a:lnTo>
                      <a:pt x="50" y="16"/>
                    </a:lnTo>
                    <a:lnTo>
                      <a:pt x="72" y="6"/>
                    </a:lnTo>
                    <a:lnTo>
                      <a:pt x="84" y="2"/>
                    </a:lnTo>
                    <a:lnTo>
                      <a:pt x="98" y="0"/>
                    </a:lnTo>
                    <a:lnTo>
                      <a:pt x="104" y="2"/>
                    </a:lnTo>
                    <a:lnTo>
                      <a:pt x="106" y="4"/>
                    </a:lnTo>
                    <a:lnTo>
                      <a:pt x="106" y="6"/>
                    </a:lnTo>
                    <a:lnTo>
                      <a:pt x="98" y="10"/>
                    </a:lnTo>
                    <a:lnTo>
                      <a:pt x="76" y="20"/>
                    </a:lnTo>
                    <a:lnTo>
                      <a:pt x="66" y="26"/>
                    </a:lnTo>
                    <a:lnTo>
                      <a:pt x="86" y="26"/>
                    </a:lnTo>
                    <a:lnTo>
                      <a:pt x="104" y="28"/>
                    </a:lnTo>
                    <a:lnTo>
                      <a:pt x="120" y="30"/>
                    </a:lnTo>
                    <a:lnTo>
                      <a:pt x="122" y="32"/>
                    </a:lnTo>
                    <a:lnTo>
                      <a:pt x="124" y="34"/>
                    </a:lnTo>
                    <a:lnTo>
                      <a:pt x="124" y="36"/>
                    </a:lnTo>
                    <a:lnTo>
                      <a:pt x="120" y="38"/>
                    </a:lnTo>
                    <a:lnTo>
                      <a:pt x="112" y="40"/>
                    </a:lnTo>
                    <a:lnTo>
                      <a:pt x="104" y="40"/>
                    </a:lnTo>
                    <a:lnTo>
                      <a:pt x="92" y="40"/>
                    </a:lnTo>
                    <a:lnTo>
                      <a:pt x="70" y="44"/>
                    </a:lnTo>
                    <a:lnTo>
                      <a:pt x="96" y="44"/>
                    </a:lnTo>
                    <a:lnTo>
                      <a:pt x="110" y="44"/>
                    </a:lnTo>
                    <a:lnTo>
                      <a:pt x="114" y="46"/>
                    </a:lnTo>
                    <a:lnTo>
                      <a:pt x="118" y="48"/>
                    </a:lnTo>
                    <a:lnTo>
                      <a:pt x="118" y="50"/>
                    </a:lnTo>
                    <a:lnTo>
                      <a:pt x="116" y="54"/>
                    </a:lnTo>
                    <a:lnTo>
                      <a:pt x="114" y="56"/>
                    </a:lnTo>
                    <a:lnTo>
                      <a:pt x="110" y="56"/>
                    </a:lnTo>
                    <a:lnTo>
                      <a:pt x="62" y="60"/>
                    </a:lnTo>
                    <a:lnTo>
                      <a:pt x="58" y="62"/>
                    </a:lnTo>
                    <a:lnTo>
                      <a:pt x="76" y="66"/>
                    </a:lnTo>
                    <a:lnTo>
                      <a:pt x="88" y="64"/>
                    </a:lnTo>
                    <a:lnTo>
                      <a:pt x="94" y="64"/>
                    </a:lnTo>
                    <a:lnTo>
                      <a:pt x="96" y="66"/>
                    </a:lnTo>
                    <a:lnTo>
                      <a:pt x="98" y="68"/>
                    </a:lnTo>
                    <a:lnTo>
                      <a:pt x="96" y="72"/>
                    </a:lnTo>
                    <a:lnTo>
                      <a:pt x="92" y="74"/>
                    </a:lnTo>
                    <a:lnTo>
                      <a:pt x="86" y="74"/>
                    </a:lnTo>
                    <a:lnTo>
                      <a:pt x="54" y="76"/>
                    </a:lnTo>
                    <a:lnTo>
                      <a:pt x="40" y="80"/>
                    </a:lnTo>
                    <a:lnTo>
                      <a:pt x="26" y="86"/>
                    </a:lnTo>
                    <a:lnTo>
                      <a:pt x="14" y="88"/>
                    </a:lnTo>
                    <a:lnTo>
                      <a:pt x="0" y="88"/>
                    </a:lnTo>
                    <a:lnTo>
                      <a:pt x="12" y="68"/>
                    </a:lnTo>
                    <a:lnTo>
                      <a:pt x="22" y="50"/>
                    </a:lnTo>
                    <a:lnTo>
                      <a:pt x="24" y="42"/>
                    </a:lnTo>
                    <a:lnTo>
                      <a:pt x="26" y="32"/>
                    </a:lnTo>
                    <a:lnTo>
                      <a:pt x="32" y="26"/>
                    </a:lnTo>
                    <a:lnTo>
                      <a:pt x="40" y="20"/>
                    </a:lnTo>
                    <a:lnTo>
                      <a:pt x="50" y="16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>
                  <a:solidFill>
                    <a:sysClr val="windowText" lastClr="000000"/>
                  </a:solidFill>
                  <a:latin typeface="+mn-lt"/>
                  <a:cs typeface="+mn-cs"/>
                </a:endParaRPr>
              </a:p>
            </p:txBody>
          </p:sp>
          <p:sp>
            <p:nvSpPr>
              <p:cNvPr id="57" name="Freeform 143"/>
              <p:cNvSpPr>
                <a:spLocks noEditPoints="1"/>
              </p:cNvSpPr>
              <p:nvPr/>
            </p:nvSpPr>
            <p:spPr bwMode="auto">
              <a:xfrm>
                <a:off x="1161560" y="5030099"/>
                <a:ext cx="524367" cy="646801"/>
              </a:xfrm>
              <a:custGeom>
                <a:avLst/>
                <a:gdLst>
                  <a:gd name="T0" fmla="*/ 2147483647 w 330"/>
                  <a:gd name="T1" fmla="*/ 2147483647 h 408"/>
                  <a:gd name="T2" fmla="*/ 2147483647 w 330"/>
                  <a:gd name="T3" fmla="*/ 2147483647 h 408"/>
                  <a:gd name="T4" fmla="*/ 2147483647 w 330"/>
                  <a:gd name="T5" fmla="*/ 2147483647 h 408"/>
                  <a:gd name="T6" fmla="*/ 2147483647 w 330"/>
                  <a:gd name="T7" fmla="*/ 2147483647 h 408"/>
                  <a:gd name="T8" fmla="*/ 2147483647 w 330"/>
                  <a:gd name="T9" fmla="*/ 2147483647 h 408"/>
                  <a:gd name="T10" fmla="*/ 2147483647 w 330"/>
                  <a:gd name="T11" fmla="*/ 2147483647 h 408"/>
                  <a:gd name="T12" fmla="*/ 2147483647 w 330"/>
                  <a:gd name="T13" fmla="*/ 2147483647 h 408"/>
                  <a:gd name="T14" fmla="*/ 2147483647 w 330"/>
                  <a:gd name="T15" fmla="*/ 2147483647 h 408"/>
                  <a:gd name="T16" fmla="*/ 2147483647 w 330"/>
                  <a:gd name="T17" fmla="*/ 2147483647 h 408"/>
                  <a:gd name="T18" fmla="*/ 0 w 330"/>
                  <a:gd name="T19" fmla="*/ 2147483647 h 408"/>
                  <a:gd name="T20" fmla="*/ 2147483647 w 330"/>
                  <a:gd name="T21" fmla="*/ 2147483647 h 408"/>
                  <a:gd name="T22" fmla="*/ 2147483647 w 330"/>
                  <a:gd name="T23" fmla="*/ 2147483647 h 408"/>
                  <a:gd name="T24" fmla="*/ 2147483647 w 330"/>
                  <a:gd name="T25" fmla="*/ 2147483647 h 408"/>
                  <a:gd name="T26" fmla="*/ 2147483647 w 330"/>
                  <a:gd name="T27" fmla="*/ 2147483647 h 408"/>
                  <a:gd name="T28" fmla="*/ 2147483647 w 330"/>
                  <a:gd name="T29" fmla="*/ 2147483647 h 408"/>
                  <a:gd name="T30" fmla="*/ 2147483647 w 330"/>
                  <a:gd name="T31" fmla="*/ 2147483647 h 408"/>
                  <a:gd name="T32" fmla="*/ 2147483647 w 330"/>
                  <a:gd name="T33" fmla="*/ 2147483647 h 408"/>
                  <a:gd name="T34" fmla="*/ 2147483647 w 330"/>
                  <a:gd name="T35" fmla="*/ 2147483647 h 408"/>
                  <a:gd name="T36" fmla="*/ 2147483647 w 330"/>
                  <a:gd name="T37" fmla="*/ 2147483647 h 408"/>
                  <a:gd name="T38" fmla="*/ 2147483647 w 330"/>
                  <a:gd name="T39" fmla="*/ 2147483647 h 408"/>
                  <a:gd name="T40" fmla="*/ 2147483647 w 330"/>
                  <a:gd name="T41" fmla="*/ 2147483647 h 408"/>
                  <a:gd name="T42" fmla="*/ 2147483647 w 330"/>
                  <a:gd name="T43" fmla="*/ 2147483647 h 408"/>
                  <a:gd name="T44" fmla="*/ 2147483647 w 330"/>
                  <a:gd name="T45" fmla="*/ 2147483647 h 408"/>
                  <a:gd name="T46" fmla="*/ 2147483647 w 330"/>
                  <a:gd name="T47" fmla="*/ 2147483647 h 408"/>
                  <a:gd name="T48" fmla="*/ 2147483647 w 330"/>
                  <a:gd name="T49" fmla="*/ 2147483647 h 408"/>
                  <a:gd name="T50" fmla="*/ 2147483647 w 330"/>
                  <a:gd name="T51" fmla="*/ 2147483647 h 408"/>
                  <a:gd name="T52" fmla="*/ 2147483647 w 330"/>
                  <a:gd name="T53" fmla="*/ 2147483647 h 408"/>
                  <a:gd name="T54" fmla="*/ 2147483647 w 330"/>
                  <a:gd name="T55" fmla="*/ 2147483647 h 408"/>
                  <a:gd name="T56" fmla="*/ 2147483647 w 330"/>
                  <a:gd name="T57" fmla="*/ 2147483647 h 408"/>
                  <a:gd name="T58" fmla="*/ 2147483647 w 330"/>
                  <a:gd name="T59" fmla="*/ 2147483647 h 408"/>
                  <a:gd name="T60" fmla="*/ 2147483647 w 330"/>
                  <a:gd name="T61" fmla="*/ 2147483647 h 408"/>
                  <a:gd name="T62" fmla="*/ 2147483647 w 330"/>
                  <a:gd name="T63" fmla="*/ 2147483647 h 408"/>
                  <a:gd name="T64" fmla="*/ 2147483647 w 330"/>
                  <a:gd name="T65" fmla="*/ 2147483647 h 408"/>
                  <a:gd name="T66" fmla="*/ 2147483647 w 330"/>
                  <a:gd name="T67" fmla="*/ 2147483647 h 408"/>
                  <a:gd name="T68" fmla="*/ 2147483647 w 330"/>
                  <a:gd name="T69" fmla="*/ 2147483647 h 408"/>
                  <a:gd name="T70" fmla="*/ 2147483647 w 330"/>
                  <a:gd name="T71" fmla="*/ 2147483647 h 408"/>
                  <a:gd name="T72" fmla="*/ 2147483647 w 330"/>
                  <a:gd name="T73" fmla="*/ 2147483647 h 408"/>
                  <a:gd name="T74" fmla="*/ 2147483647 w 330"/>
                  <a:gd name="T75" fmla="*/ 2147483647 h 408"/>
                  <a:gd name="T76" fmla="*/ 2147483647 w 330"/>
                  <a:gd name="T77" fmla="*/ 2147483647 h 408"/>
                  <a:gd name="T78" fmla="*/ 2147483647 w 330"/>
                  <a:gd name="T79" fmla="*/ 2147483647 h 408"/>
                  <a:gd name="T80" fmla="*/ 2147483647 w 330"/>
                  <a:gd name="T81" fmla="*/ 2147483647 h 408"/>
                  <a:gd name="T82" fmla="*/ 2147483647 w 330"/>
                  <a:gd name="T83" fmla="*/ 2147483647 h 408"/>
                  <a:gd name="T84" fmla="*/ 2147483647 w 330"/>
                  <a:gd name="T85" fmla="*/ 2147483647 h 408"/>
                  <a:gd name="T86" fmla="*/ 2147483647 w 330"/>
                  <a:gd name="T87" fmla="*/ 2147483647 h 408"/>
                  <a:gd name="T88" fmla="*/ 2147483647 w 330"/>
                  <a:gd name="T89" fmla="*/ 2147483647 h 408"/>
                  <a:gd name="T90" fmla="*/ 2147483647 w 330"/>
                  <a:gd name="T91" fmla="*/ 2147483647 h 408"/>
                  <a:gd name="T92" fmla="*/ 2147483647 w 330"/>
                  <a:gd name="T93" fmla="*/ 2147483647 h 408"/>
                  <a:gd name="T94" fmla="*/ 2147483647 w 330"/>
                  <a:gd name="T95" fmla="*/ 2147483647 h 408"/>
                  <a:gd name="T96" fmla="*/ 2147483647 w 330"/>
                  <a:gd name="T97" fmla="*/ 2147483647 h 408"/>
                  <a:gd name="T98" fmla="*/ 2147483647 w 330"/>
                  <a:gd name="T99" fmla="*/ 2147483647 h 408"/>
                  <a:gd name="T100" fmla="*/ 2147483647 w 330"/>
                  <a:gd name="T101" fmla="*/ 2147483647 h 408"/>
                  <a:gd name="T102" fmla="*/ 2147483647 w 330"/>
                  <a:gd name="T103" fmla="*/ 2147483647 h 408"/>
                  <a:gd name="T104" fmla="*/ 2147483647 w 330"/>
                  <a:gd name="T105" fmla="*/ 2147483647 h 408"/>
                  <a:gd name="T106" fmla="*/ 2147483647 w 330"/>
                  <a:gd name="T107" fmla="*/ 2147483647 h 408"/>
                  <a:gd name="T108" fmla="*/ 2147483647 w 330"/>
                  <a:gd name="T109" fmla="*/ 2147483647 h 408"/>
                  <a:gd name="T110" fmla="*/ 2147483647 w 330"/>
                  <a:gd name="T111" fmla="*/ 2147483647 h 408"/>
                  <a:gd name="T112" fmla="*/ 2147483647 w 330"/>
                  <a:gd name="T113" fmla="*/ 2147483647 h 408"/>
                  <a:gd name="T114" fmla="*/ 2147483647 w 330"/>
                  <a:gd name="T115" fmla="*/ 2147483647 h 408"/>
                  <a:gd name="T116" fmla="*/ 2147483647 w 330"/>
                  <a:gd name="T117" fmla="*/ 2147483647 h 408"/>
                  <a:gd name="T118" fmla="*/ 2147483647 w 330"/>
                  <a:gd name="T119" fmla="*/ 2147483647 h 408"/>
                  <a:gd name="T120" fmla="*/ 2147483647 w 330"/>
                  <a:gd name="T121" fmla="*/ 2147483647 h 408"/>
                  <a:gd name="T122" fmla="*/ 2147483647 w 330"/>
                  <a:gd name="T123" fmla="*/ 2147483647 h 408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w 330"/>
                  <a:gd name="T187" fmla="*/ 0 h 408"/>
                  <a:gd name="T188" fmla="*/ 330 w 330"/>
                  <a:gd name="T189" fmla="*/ 408 h 408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T186" t="T187" r="T188" b="T189"/>
                <a:pathLst>
                  <a:path w="330" h="408">
                    <a:moveTo>
                      <a:pt x="74" y="344"/>
                    </a:moveTo>
                    <a:lnTo>
                      <a:pt x="74" y="344"/>
                    </a:lnTo>
                    <a:lnTo>
                      <a:pt x="60" y="290"/>
                    </a:lnTo>
                    <a:lnTo>
                      <a:pt x="58" y="286"/>
                    </a:lnTo>
                    <a:lnTo>
                      <a:pt x="56" y="274"/>
                    </a:lnTo>
                    <a:lnTo>
                      <a:pt x="56" y="254"/>
                    </a:lnTo>
                    <a:lnTo>
                      <a:pt x="56" y="234"/>
                    </a:lnTo>
                    <a:lnTo>
                      <a:pt x="56" y="220"/>
                    </a:lnTo>
                    <a:lnTo>
                      <a:pt x="92" y="44"/>
                    </a:lnTo>
                    <a:lnTo>
                      <a:pt x="20" y="22"/>
                    </a:lnTo>
                    <a:lnTo>
                      <a:pt x="14" y="32"/>
                    </a:lnTo>
                    <a:lnTo>
                      <a:pt x="10" y="40"/>
                    </a:lnTo>
                    <a:lnTo>
                      <a:pt x="4" y="62"/>
                    </a:lnTo>
                    <a:lnTo>
                      <a:pt x="2" y="88"/>
                    </a:lnTo>
                    <a:lnTo>
                      <a:pt x="0" y="112"/>
                    </a:lnTo>
                    <a:lnTo>
                      <a:pt x="2" y="138"/>
                    </a:lnTo>
                    <a:lnTo>
                      <a:pt x="4" y="160"/>
                    </a:lnTo>
                    <a:lnTo>
                      <a:pt x="10" y="196"/>
                    </a:lnTo>
                    <a:lnTo>
                      <a:pt x="14" y="218"/>
                    </a:lnTo>
                    <a:lnTo>
                      <a:pt x="14" y="238"/>
                    </a:lnTo>
                    <a:lnTo>
                      <a:pt x="14" y="254"/>
                    </a:lnTo>
                    <a:lnTo>
                      <a:pt x="12" y="266"/>
                    </a:lnTo>
                    <a:lnTo>
                      <a:pt x="12" y="264"/>
                    </a:lnTo>
                    <a:lnTo>
                      <a:pt x="6" y="292"/>
                    </a:lnTo>
                    <a:lnTo>
                      <a:pt x="4" y="318"/>
                    </a:lnTo>
                    <a:lnTo>
                      <a:pt x="8" y="322"/>
                    </a:lnTo>
                    <a:lnTo>
                      <a:pt x="12" y="320"/>
                    </a:lnTo>
                    <a:lnTo>
                      <a:pt x="12" y="318"/>
                    </a:lnTo>
                    <a:lnTo>
                      <a:pt x="16" y="336"/>
                    </a:lnTo>
                    <a:lnTo>
                      <a:pt x="16" y="360"/>
                    </a:lnTo>
                    <a:lnTo>
                      <a:pt x="18" y="370"/>
                    </a:lnTo>
                    <a:lnTo>
                      <a:pt x="24" y="386"/>
                    </a:lnTo>
                    <a:lnTo>
                      <a:pt x="28" y="394"/>
                    </a:lnTo>
                    <a:lnTo>
                      <a:pt x="42" y="404"/>
                    </a:lnTo>
                    <a:lnTo>
                      <a:pt x="50" y="406"/>
                    </a:lnTo>
                    <a:lnTo>
                      <a:pt x="58" y="408"/>
                    </a:lnTo>
                    <a:lnTo>
                      <a:pt x="74" y="406"/>
                    </a:lnTo>
                    <a:lnTo>
                      <a:pt x="86" y="404"/>
                    </a:lnTo>
                    <a:lnTo>
                      <a:pt x="92" y="402"/>
                    </a:lnTo>
                    <a:lnTo>
                      <a:pt x="94" y="390"/>
                    </a:lnTo>
                    <a:lnTo>
                      <a:pt x="94" y="384"/>
                    </a:lnTo>
                    <a:lnTo>
                      <a:pt x="92" y="376"/>
                    </a:lnTo>
                    <a:lnTo>
                      <a:pt x="86" y="366"/>
                    </a:lnTo>
                    <a:lnTo>
                      <a:pt x="74" y="344"/>
                    </a:lnTo>
                    <a:close/>
                    <a:moveTo>
                      <a:pt x="326" y="268"/>
                    </a:moveTo>
                    <a:lnTo>
                      <a:pt x="326" y="268"/>
                    </a:lnTo>
                    <a:lnTo>
                      <a:pt x="324" y="266"/>
                    </a:lnTo>
                    <a:lnTo>
                      <a:pt x="318" y="262"/>
                    </a:lnTo>
                    <a:lnTo>
                      <a:pt x="310" y="254"/>
                    </a:lnTo>
                    <a:lnTo>
                      <a:pt x="298" y="246"/>
                    </a:lnTo>
                    <a:lnTo>
                      <a:pt x="292" y="238"/>
                    </a:lnTo>
                    <a:lnTo>
                      <a:pt x="284" y="230"/>
                    </a:lnTo>
                    <a:lnTo>
                      <a:pt x="280" y="224"/>
                    </a:lnTo>
                    <a:lnTo>
                      <a:pt x="274" y="216"/>
                    </a:lnTo>
                    <a:lnTo>
                      <a:pt x="268" y="202"/>
                    </a:lnTo>
                    <a:lnTo>
                      <a:pt x="262" y="184"/>
                    </a:lnTo>
                    <a:lnTo>
                      <a:pt x="260" y="0"/>
                    </a:lnTo>
                    <a:lnTo>
                      <a:pt x="190" y="26"/>
                    </a:lnTo>
                    <a:lnTo>
                      <a:pt x="192" y="42"/>
                    </a:lnTo>
                    <a:lnTo>
                      <a:pt x="192" y="66"/>
                    </a:lnTo>
                    <a:lnTo>
                      <a:pt x="194" y="82"/>
                    </a:lnTo>
                    <a:lnTo>
                      <a:pt x="200" y="112"/>
                    </a:lnTo>
                    <a:lnTo>
                      <a:pt x="212" y="158"/>
                    </a:lnTo>
                    <a:lnTo>
                      <a:pt x="212" y="178"/>
                    </a:lnTo>
                    <a:lnTo>
                      <a:pt x="210" y="186"/>
                    </a:lnTo>
                    <a:lnTo>
                      <a:pt x="206" y="194"/>
                    </a:lnTo>
                    <a:lnTo>
                      <a:pt x="202" y="208"/>
                    </a:lnTo>
                    <a:lnTo>
                      <a:pt x="200" y="222"/>
                    </a:lnTo>
                    <a:lnTo>
                      <a:pt x="202" y="228"/>
                    </a:lnTo>
                    <a:lnTo>
                      <a:pt x="204" y="232"/>
                    </a:lnTo>
                    <a:lnTo>
                      <a:pt x="206" y="238"/>
                    </a:lnTo>
                    <a:lnTo>
                      <a:pt x="208" y="244"/>
                    </a:lnTo>
                    <a:lnTo>
                      <a:pt x="210" y="258"/>
                    </a:lnTo>
                    <a:lnTo>
                      <a:pt x="212" y="276"/>
                    </a:lnTo>
                    <a:lnTo>
                      <a:pt x="218" y="278"/>
                    </a:lnTo>
                    <a:lnTo>
                      <a:pt x="222" y="274"/>
                    </a:lnTo>
                    <a:lnTo>
                      <a:pt x="218" y="232"/>
                    </a:lnTo>
                    <a:lnTo>
                      <a:pt x="224" y="238"/>
                    </a:lnTo>
                    <a:lnTo>
                      <a:pt x="236" y="244"/>
                    </a:lnTo>
                    <a:lnTo>
                      <a:pt x="242" y="250"/>
                    </a:lnTo>
                    <a:lnTo>
                      <a:pt x="244" y="256"/>
                    </a:lnTo>
                    <a:lnTo>
                      <a:pt x="246" y="260"/>
                    </a:lnTo>
                    <a:lnTo>
                      <a:pt x="252" y="276"/>
                    </a:lnTo>
                    <a:lnTo>
                      <a:pt x="258" y="286"/>
                    </a:lnTo>
                    <a:lnTo>
                      <a:pt x="262" y="294"/>
                    </a:lnTo>
                    <a:lnTo>
                      <a:pt x="266" y="298"/>
                    </a:lnTo>
                    <a:lnTo>
                      <a:pt x="274" y="300"/>
                    </a:lnTo>
                    <a:lnTo>
                      <a:pt x="294" y="302"/>
                    </a:lnTo>
                    <a:lnTo>
                      <a:pt x="322" y="304"/>
                    </a:lnTo>
                    <a:lnTo>
                      <a:pt x="324" y="300"/>
                    </a:lnTo>
                    <a:lnTo>
                      <a:pt x="326" y="296"/>
                    </a:lnTo>
                    <a:lnTo>
                      <a:pt x="328" y="288"/>
                    </a:lnTo>
                    <a:lnTo>
                      <a:pt x="330" y="284"/>
                    </a:lnTo>
                    <a:lnTo>
                      <a:pt x="328" y="276"/>
                    </a:lnTo>
                    <a:lnTo>
                      <a:pt x="326" y="268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>
                  <a:solidFill>
                    <a:sysClr val="windowText" lastClr="000000"/>
                  </a:solidFill>
                  <a:latin typeface="+mn-lt"/>
                  <a:cs typeface="+mn-cs"/>
                </a:endParaRPr>
              </a:p>
            </p:txBody>
          </p:sp>
          <p:sp>
            <p:nvSpPr>
              <p:cNvPr id="58" name="Freeform 144"/>
              <p:cNvSpPr>
                <a:spLocks/>
              </p:cNvSpPr>
              <p:nvPr/>
            </p:nvSpPr>
            <p:spPr bwMode="auto">
              <a:xfrm>
                <a:off x="906463" y="3899082"/>
                <a:ext cx="322416" cy="675077"/>
              </a:xfrm>
              <a:custGeom>
                <a:avLst/>
                <a:gdLst>
                  <a:gd name="T0" fmla="*/ 2147483647 w 202"/>
                  <a:gd name="T1" fmla="*/ 2147483647 h 426"/>
                  <a:gd name="T2" fmla="*/ 2147483647 w 202"/>
                  <a:gd name="T3" fmla="*/ 2147483647 h 426"/>
                  <a:gd name="T4" fmla="*/ 2147483647 w 202"/>
                  <a:gd name="T5" fmla="*/ 2147483647 h 426"/>
                  <a:gd name="T6" fmla="*/ 2147483647 w 202"/>
                  <a:gd name="T7" fmla="*/ 2147483647 h 426"/>
                  <a:gd name="T8" fmla="*/ 2147483647 w 202"/>
                  <a:gd name="T9" fmla="*/ 2147483647 h 426"/>
                  <a:gd name="T10" fmla="*/ 2147483647 w 202"/>
                  <a:gd name="T11" fmla="*/ 2147483647 h 426"/>
                  <a:gd name="T12" fmla="*/ 2147483647 w 202"/>
                  <a:gd name="T13" fmla="*/ 2147483647 h 426"/>
                  <a:gd name="T14" fmla="*/ 2147483647 w 202"/>
                  <a:gd name="T15" fmla="*/ 2147483647 h 426"/>
                  <a:gd name="T16" fmla="*/ 2147483647 w 202"/>
                  <a:gd name="T17" fmla="*/ 2147483647 h 426"/>
                  <a:gd name="T18" fmla="*/ 2147483647 w 202"/>
                  <a:gd name="T19" fmla="*/ 2147483647 h 426"/>
                  <a:gd name="T20" fmla="*/ 2147483647 w 202"/>
                  <a:gd name="T21" fmla="*/ 2147483647 h 426"/>
                  <a:gd name="T22" fmla="*/ 2147483647 w 202"/>
                  <a:gd name="T23" fmla="*/ 2147483647 h 426"/>
                  <a:gd name="T24" fmla="*/ 2147483647 w 202"/>
                  <a:gd name="T25" fmla="*/ 2147483647 h 426"/>
                  <a:gd name="T26" fmla="*/ 2147483647 w 202"/>
                  <a:gd name="T27" fmla="*/ 2147483647 h 426"/>
                  <a:gd name="T28" fmla="*/ 2147483647 w 202"/>
                  <a:gd name="T29" fmla="*/ 2147483647 h 426"/>
                  <a:gd name="T30" fmla="*/ 2147483647 w 202"/>
                  <a:gd name="T31" fmla="*/ 2147483647 h 426"/>
                  <a:gd name="T32" fmla="*/ 2147483647 w 202"/>
                  <a:gd name="T33" fmla="*/ 2147483647 h 426"/>
                  <a:gd name="T34" fmla="*/ 2147483647 w 202"/>
                  <a:gd name="T35" fmla="*/ 2147483647 h 426"/>
                  <a:gd name="T36" fmla="*/ 2147483647 w 202"/>
                  <a:gd name="T37" fmla="*/ 2147483647 h 426"/>
                  <a:gd name="T38" fmla="*/ 2147483647 w 202"/>
                  <a:gd name="T39" fmla="*/ 2147483647 h 426"/>
                  <a:gd name="T40" fmla="*/ 2147483647 w 202"/>
                  <a:gd name="T41" fmla="*/ 2147483647 h 426"/>
                  <a:gd name="T42" fmla="*/ 2147483647 w 202"/>
                  <a:gd name="T43" fmla="*/ 2147483647 h 426"/>
                  <a:gd name="T44" fmla="*/ 2147483647 w 202"/>
                  <a:gd name="T45" fmla="*/ 2147483647 h 426"/>
                  <a:gd name="T46" fmla="*/ 0 w 202"/>
                  <a:gd name="T47" fmla="*/ 2147483647 h 426"/>
                  <a:gd name="T48" fmla="*/ 2147483647 w 202"/>
                  <a:gd name="T49" fmla="*/ 2147483647 h 426"/>
                  <a:gd name="T50" fmla="*/ 2147483647 w 202"/>
                  <a:gd name="T51" fmla="*/ 2147483647 h 426"/>
                  <a:gd name="T52" fmla="*/ 2147483647 w 202"/>
                  <a:gd name="T53" fmla="*/ 2147483647 h 426"/>
                  <a:gd name="T54" fmla="*/ 2147483647 w 202"/>
                  <a:gd name="T55" fmla="*/ 2147483647 h 426"/>
                  <a:gd name="T56" fmla="*/ 2147483647 w 202"/>
                  <a:gd name="T57" fmla="*/ 2147483647 h 426"/>
                  <a:gd name="T58" fmla="*/ 2147483647 w 202"/>
                  <a:gd name="T59" fmla="*/ 2147483647 h 426"/>
                  <a:gd name="T60" fmla="*/ 2147483647 w 202"/>
                  <a:gd name="T61" fmla="*/ 2147483647 h 426"/>
                  <a:gd name="T62" fmla="*/ 2147483647 w 202"/>
                  <a:gd name="T63" fmla="*/ 0 h 426"/>
                  <a:gd name="T64" fmla="*/ 2147483647 w 202"/>
                  <a:gd name="T65" fmla="*/ 2147483647 h 426"/>
                  <a:gd name="T66" fmla="*/ 2147483647 w 202"/>
                  <a:gd name="T67" fmla="*/ 2147483647 h 426"/>
                  <a:gd name="T68" fmla="*/ 2147483647 w 202"/>
                  <a:gd name="T69" fmla="*/ 2147483647 h 42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w 202"/>
                  <a:gd name="T106" fmla="*/ 0 h 426"/>
                  <a:gd name="T107" fmla="*/ 202 w 202"/>
                  <a:gd name="T108" fmla="*/ 426 h 426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T105" t="T106" r="T107" b="T108"/>
                <a:pathLst>
                  <a:path w="202" h="426">
                    <a:moveTo>
                      <a:pt x="166" y="184"/>
                    </a:moveTo>
                    <a:lnTo>
                      <a:pt x="166" y="184"/>
                    </a:lnTo>
                    <a:lnTo>
                      <a:pt x="152" y="196"/>
                    </a:lnTo>
                    <a:lnTo>
                      <a:pt x="140" y="210"/>
                    </a:lnTo>
                    <a:lnTo>
                      <a:pt x="130" y="226"/>
                    </a:lnTo>
                    <a:lnTo>
                      <a:pt x="124" y="236"/>
                    </a:lnTo>
                    <a:lnTo>
                      <a:pt x="118" y="242"/>
                    </a:lnTo>
                    <a:lnTo>
                      <a:pt x="104" y="252"/>
                    </a:lnTo>
                    <a:lnTo>
                      <a:pt x="92" y="258"/>
                    </a:lnTo>
                    <a:lnTo>
                      <a:pt x="88" y="258"/>
                    </a:lnTo>
                    <a:lnTo>
                      <a:pt x="86" y="262"/>
                    </a:lnTo>
                    <a:lnTo>
                      <a:pt x="86" y="266"/>
                    </a:lnTo>
                    <a:lnTo>
                      <a:pt x="90" y="268"/>
                    </a:lnTo>
                    <a:lnTo>
                      <a:pt x="92" y="270"/>
                    </a:lnTo>
                    <a:lnTo>
                      <a:pt x="94" y="272"/>
                    </a:lnTo>
                    <a:lnTo>
                      <a:pt x="98" y="282"/>
                    </a:lnTo>
                    <a:lnTo>
                      <a:pt x="104" y="292"/>
                    </a:lnTo>
                    <a:lnTo>
                      <a:pt x="116" y="306"/>
                    </a:lnTo>
                    <a:lnTo>
                      <a:pt x="134" y="324"/>
                    </a:lnTo>
                    <a:lnTo>
                      <a:pt x="142" y="336"/>
                    </a:lnTo>
                    <a:lnTo>
                      <a:pt x="166" y="348"/>
                    </a:lnTo>
                    <a:lnTo>
                      <a:pt x="184" y="356"/>
                    </a:lnTo>
                    <a:lnTo>
                      <a:pt x="196" y="360"/>
                    </a:lnTo>
                    <a:lnTo>
                      <a:pt x="198" y="362"/>
                    </a:lnTo>
                    <a:lnTo>
                      <a:pt x="198" y="370"/>
                    </a:lnTo>
                    <a:lnTo>
                      <a:pt x="192" y="390"/>
                    </a:lnTo>
                    <a:lnTo>
                      <a:pt x="186" y="400"/>
                    </a:lnTo>
                    <a:lnTo>
                      <a:pt x="180" y="412"/>
                    </a:lnTo>
                    <a:lnTo>
                      <a:pt x="172" y="420"/>
                    </a:lnTo>
                    <a:lnTo>
                      <a:pt x="164" y="426"/>
                    </a:lnTo>
                    <a:lnTo>
                      <a:pt x="48" y="334"/>
                    </a:lnTo>
                    <a:lnTo>
                      <a:pt x="34" y="322"/>
                    </a:lnTo>
                    <a:lnTo>
                      <a:pt x="26" y="314"/>
                    </a:lnTo>
                    <a:lnTo>
                      <a:pt x="20" y="306"/>
                    </a:lnTo>
                    <a:lnTo>
                      <a:pt x="6" y="282"/>
                    </a:lnTo>
                    <a:lnTo>
                      <a:pt x="4" y="278"/>
                    </a:lnTo>
                    <a:lnTo>
                      <a:pt x="0" y="270"/>
                    </a:lnTo>
                    <a:lnTo>
                      <a:pt x="0" y="262"/>
                    </a:lnTo>
                    <a:lnTo>
                      <a:pt x="0" y="258"/>
                    </a:lnTo>
                    <a:lnTo>
                      <a:pt x="4" y="252"/>
                    </a:lnTo>
                    <a:lnTo>
                      <a:pt x="82" y="124"/>
                    </a:lnTo>
                    <a:lnTo>
                      <a:pt x="104" y="62"/>
                    </a:lnTo>
                    <a:lnTo>
                      <a:pt x="112" y="48"/>
                    </a:lnTo>
                    <a:lnTo>
                      <a:pt x="118" y="36"/>
                    </a:lnTo>
                    <a:lnTo>
                      <a:pt x="124" y="28"/>
                    </a:lnTo>
                    <a:lnTo>
                      <a:pt x="130" y="24"/>
                    </a:lnTo>
                    <a:lnTo>
                      <a:pt x="134" y="22"/>
                    </a:lnTo>
                    <a:lnTo>
                      <a:pt x="144" y="20"/>
                    </a:lnTo>
                    <a:lnTo>
                      <a:pt x="202" y="0"/>
                    </a:lnTo>
                    <a:lnTo>
                      <a:pt x="200" y="24"/>
                    </a:lnTo>
                    <a:lnTo>
                      <a:pt x="192" y="78"/>
                    </a:lnTo>
                    <a:lnTo>
                      <a:pt x="188" y="108"/>
                    </a:lnTo>
                    <a:lnTo>
                      <a:pt x="182" y="138"/>
                    </a:lnTo>
                    <a:lnTo>
                      <a:pt x="174" y="164"/>
                    </a:lnTo>
                    <a:lnTo>
                      <a:pt x="166" y="184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>
                  <a:solidFill>
                    <a:sysClr val="windowText" lastClr="000000"/>
                  </a:solidFill>
                  <a:latin typeface="+mn-lt"/>
                  <a:cs typeface="+mn-cs"/>
                </a:endParaRPr>
              </a:p>
            </p:txBody>
          </p:sp>
        </p:grpSp>
        <p:grpSp>
          <p:nvGrpSpPr>
            <p:cNvPr id="39" name="Gruppe 35"/>
            <p:cNvGrpSpPr>
              <a:grpSpLocks/>
            </p:cNvGrpSpPr>
            <p:nvPr/>
          </p:nvGrpSpPr>
          <p:grpSpPr bwMode="auto">
            <a:xfrm>
              <a:off x="714375" y="1143000"/>
              <a:ext cx="336550" cy="1179513"/>
              <a:chOff x="4530725" y="1619250"/>
              <a:chExt cx="1212850" cy="4246563"/>
            </a:xfrm>
          </p:grpSpPr>
          <p:grpSp>
            <p:nvGrpSpPr>
              <p:cNvPr id="40" name="Gruppe 73"/>
              <p:cNvGrpSpPr>
                <a:grpSpLocks/>
              </p:cNvGrpSpPr>
              <p:nvPr/>
            </p:nvGrpSpPr>
            <p:grpSpPr bwMode="auto">
              <a:xfrm>
                <a:off x="4530725" y="1619249"/>
                <a:ext cx="1212850" cy="4246561"/>
                <a:chOff x="5654019" y="1734325"/>
                <a:chExt cx="1213506" cy="4245788"/>
              </a:xfrm>
            </p:grpSpPr>
            <p:sp>
              <p:nvSpPr>
                <p:cNvPr id="49" name="Kombinationstegning 38"/>
                <p:cNvSpPr/>
                <p:nvPr/>
              </p:nvSpPr>
              <p:spPr>
                <a:xfrm>
                  <a:off x="5846349" y="2222464"/>
                  <a:ext cx="645329" cy="792346"/>
                </a:xfrm>
                <a:custGeom>
                  <a:avLst/>
                  <a:gdLst>
                    <a:gd name="connsiteX0" fmla="*/ 276225 w 352425"/>
                    <a:gd name="connsiteY0" fmla="*/ 0 h 495300"/>
                    <a:gd name="connsiteX1" fmla="*/ 352425 w 352425"/>
                    <a:gd name="connsiteY1" fmla="*/ 114300 h 495300"/>
                    <a:gd name="connsiteX2" fmla="*/ 266700 w 352425"/>
                    <a:gd name="connsiteY2" fmla="*/ 314325 h 495300"/>
                    <a:gd name="connsiteX3" fmla="*/ 114300 w 352425"/>
                    <a:gd name="connsiteY3" fmla="*/ 495300 h 495300"/>
                    <a:gd name="connsiteX4" fmla="*/ 0 w 352425"/>
                    <a:gd name="connsiteY4" fmla="*/ 438150 h 495300"/>
                    <a:gd name="connsiteX5" fmla="*/ 76200 w 352425"/>
                    <a:gd name="connsiteY5" fmla="*/ 219075 h 495300"/>
                    <a:gd name="connsiteX6" fmla="*/ 104775 w 352425"/>
                    <a:gd name="connsiteY6" fmla="*/ 104775 h 495300"/>
                    <a:gd name="connsiteX7" fmla="*/ 209550 w 352425"/>
                    <a:gd name="connsiteY7" fmla="*/ 38100 h 495300"/>
                    <a:gd name="connsiteX8" fmla="*/ 276225 w 352425"/>
                    <a:gd name="connsiteY8" fmla="*/ 0 h 4953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352425" h="495300">
                      <a:moveTo>
                        <a:pt x="276225" y="0"/>
                      </a:moveTo>
                      <a:lnTo>
                        <a:pt x="352425" y="114300"/>
                      </a:lnTo>
                      <a:lnTo>
                        <a:pt x="266700" y="314325"/>
                      </a:lnTo>
                      <a:lnTo>
                        <a:pt x="114300" y="495300"/>
                      </a:lnTo>
                      <a:lnTo>
                        <a:pt x="0" y="438150"/>
                      </a:lnTo>
                      <a:lnTo>
                        <a:pt x="76200" y="219075"/>
                      </a:lnTo>
                      <a:lnTo>
                        <a:pt x="104775" y="104775"/>
                      </a:lnTo>
                      <a:lnTo>
                        <a:pt x="209550" y="38100"/>
                      </a:lnTo>
                      <a:lnTo>
                        <a:pt x="276225" y="0"/>
                      </a:lnTo>
                      <a:close/>
                    </a:path>
                  </a:pathLst>
                </a:custGeom>
                <a:gradFill rotWithShape="1">
                  <a:gsLst>
                    <a:gs pos="0">
                      <a:srgbClr val="E6E6E6">
                        <a:tint val="100000"/>
                        <a:shade val="100000"/>
                        <a:satMod val="130000"/>
                      </a:srgbClr>
                    </a:gs>
                    <a:gs pos="100000">
                      <a:srgbClr val="E6E6E6">
                        <a:tint val="50000"/>
                        <a:shade val="100000"/>
                        <a:satMod val="350000"/>
                      </a:srgbClr>
                    </a:gs>
                  </a:gsLst>
                  <a:lin ang="16200000" scaled="0"/>
                </a:gradFill>
                <a:ln w="9525" cap="flat" cmpd="sng" algn="ctr">
                  <a:solidFill>
                    <a:srgbClr val="E6E6E6">
                      <a:shade val="95000"/>
                      <a:satMod val="105000"/>
                    </a:srgbClr>
                  </a:solidFill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" lastClr="FFFFFF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50" name="Freeform 9"/>
                <p:cNvSpPr>
                  <a:spLocks noEditPoints="1"/>
                </p:cNvSpPr>
                <p:nvPr/>
              </p:nvSpPr>
              <p:spPr bwMode="auto">
                <a:xfrm>
                  <a:off x="5654881" y="1734325"/>
                  <a:ext cx="1212644" cy="4244710"/>
                </a:xfrm>
                <a:custGeom>
                  <a:avLst/>
                  <a:gdLst>
                    <a:gd name="T0" fmla="*/ 2147483647 w 405"/>
                    <a:gd name="T1" fmla="*/ 2147483647 h 1420"/>
                    <a:gd name="T2" fmla="*/ 2147483647 w 405"/>
                    <a:gd name="T3" fmla="*/ 2147483647 h 1420"/>
                    <a:gd name="T4" fmla="*/ 2147483647 w 405"/>
                    <a:gd name="T5" fmla="*/ 2147483647 h 1420"/>
                    <a:gd name="T6" fmla="*/ 2147483647 w 405"/>
                    <a:gd name="T7" fmla="*/ 2147483647 h 1420"/>
                    <a:gd name="T8" fmla="*/ 2147483647 w 405"/>
                    <a:gd name="T9" fmla="*/ 2147483647 h 1420"/>
                    <a:gd name="T10" fmla="*/ 2147483647 w 405"/>
                    <a:gd name="T11" fmla="*/ 2147483647 h 1420"/>
                    <a:gd name="T12" fmla="*/ 2147483647 w 405"/>
                    <a:gd name="T13" fmla="*/ 2147483647 h 1420"/>
                    <a:gd name="T14" fmla="*/ 2147483647 w 405"/>
                    <a:gd name="T15" fmla="*/ 2147483647 h 1420"/>
                    <a:gd name="T16" fmla="*/ 2147483647 w 405"/>
                    <a:gd name="T17" fmla="*/ 2147483647 h 1420"/>
                    <a:gd name="T18" fmla="*/ 2147483647 w 405"/>
                    <a:gd name="T19" fmla="*/ 2147483647 h 1420"/>
                    <a:gd name="T20" fmla="*/ 2147483647 w 405"/>
                    <a:gd name="T21" fmla="*/ 2147483647 h 1420"/>
                    <a:gd name="T22" fmla="*/ 2147483647 w 405"/>
                    <a:gd name="T23" fmla="*/ 2147483647 h 1420"/>
                    <a:gd name="T24" fmla="*/ 2147483647 w 405"/>
                    <a:gd name="T25" fmla="*/ 2147483647 h 1420"/>
                    <a:gd name="T26" fmla="*/ 2147483647 w 405"/>
                    <a:gd name="T27" fmla="*/ 2147483647 h 1420"/>
                    <a:gd name="T28" fmla="*/ 2147483647 w 405"/>
                    <a:gd name="T29" fmla="*/ 2147483647 h 1420"/>
                    <a:gd name="T30" fmla="*/ 2147483647 w 405"/>
                    <a:gd name="T31" fmla="*/ 2147483647 h 1420"/>
                    <a:gd name="T32" fmla="*/ 2147483647 w 405"/>
                    <a:gd name="T33" fmla="*/ 2147483647 h 1420"/>
                    <a:gd name="T34" fmla="*/ 2147483647 w 405"/>
                    <a:gd name="T35" fmla="*/ 2147483647 h 1420"/>
                    <a:gd name="T36" fmla="*/ 2147483647 w 405"/>
                    <a:gd name="T37" fmla="*/ 2147483647 h 1420"/>
                    <a:gd name="T38" fmla="*/ 2147483647 w 405"/>
                    <a:gd name="T39" fmla="*/ 2147483647 h 1420"/>
                    <a:gd name="T40" fmla="*/ 2147483647 w 405"/>
                    <a:gd name="T41" fmla="*/ 2147483647 h 1420"/>
                    <a:gd name="T42" fmla="*/ 2147483647 w 405"/>
                    <a:gd name="T43" fmla="*/ 2147483647 h 1420"/>
                    <a:gd name="T44" fmla="*/ 2147483647 w 405"/>
                    <a:gd name="T45" fmla="*/ 0 h 1420"/>
                    <a:gd name="T46" fmla="*/ 2147483647 w 405"/>
                    <a:gd name="T47" fmla="*/ 2147483647 h 1420"/>
                    <a:gd name="T48" fmla="*/ 2147483647 w 405"/>
                    <a:gd name="T49" fmla="*/ 2147483647 h 1420"/>
                    <a:gd name="T50" fmla="*/ 2147483647 w 405"/>
                    <a:gd name="T51" fmla="*/ 2147483647 h 1420"/>
                    <a:gd name="T52" fmla="*/ 2147483647 w 405"/>
                    <a:gd name="T53" fmla="*/ 2147483647 h 1420"/>
                    <a:gd name="T54" fmla="*/ 2147483647 w 405"/>
                    <a:gd name="T55" fmla="*/ 2147483647 h 1420"/>
                    <a:gd name="T56" fmla="*/ 2147483647 w 405"/>
                    <a:gd name="T57" fmla="*/ 2147483647 h 1420"/>
                    <a:gd name="T58" fmla="*/ 2147483647 w 405"/>
                    <a:gd name="T59" fmla="*/ 2147483647 h 1420"/>
                    <a:gd name="T60" fmla="*/ 2147483647 w 405"/>
                    <a:gd name="T61" fmla="*/ 2147483647 h 1420"/>
                    <a:gd name="T62" fmla="*/ 2147483647 w 405"/>
                    <a:gd name="T63" fmla="*/ 2147483647 h 1420"/>
                    <a:gd name="T64" fmla="*/ 2147483647 w 405"/>
                    <a:gd name="T65" fmla="*/ 2147483647 h 1420"/>
                    <a:gd name="T66" fmla="*/ 2147483647 w 405"/>
                    <a:gd name="T67" fmla="*/ 2147483647 h 1420"/>
                    <a:gd name="T68" fmla="*/ 2147483647 w 405"/>
                    <a:gd name="T69" fmla="*/ 2147483647 h 1420"/>
                    <a:gd name="T70" fmla="*/ 0 w 405"/>
                    <a:gd name="T71" fmla="*/ 2147483647 h 1420"/>
                    <a:gd name="T72" fmla="*/ 2147483647 w 405"/>
                    <a:gd name="T73" fmla="*/ 2147483647 h 1420"/>
                    <a:gd name="T74" fmla="*/ 2147483647 w 405"/>
                    <a:gd name="T75" fmla="*/ 2147483647 h 1420"/>
                    <a:gd name="T76" fmla="*/ 2147483647 w 405"/>
                    <a:gd name="T77" fmla="*/ 2147483647 h 1420"/>
                    <a:gd name="T78" fmla="*/ 2147483647 w 405"/>
                    <a:gd name="T79" fmla="*/ 2147483647 h 1420"/>
                    <a:gd name="T80" fmla="*/ 2147483647 w 405"/>
                    <a:gd name="T81" fmla="*/ 2147483647 h 1420"/>
                    <a:gd name="T82" fmla="*/ 2147483647 w 405"/>
                    <a:gd name="T83" fmla="*/ 2147483647 h 1420"/>
                    <a:gd name="T84" fmla="*/ 2147483647 w 405"/>
                    <a:gd name="T85" fmla="*/ 2147483647 h 1420"/>
                    <a:gd name="T86" fmla="*/ 2147483647 w 405"/>
                    <a:gd name="T87" fmla="*/ 2147483647 h 1420"/>
                    <a:gd name="T88" fmla="*/ 2147483647 w 405"/>
                    <a:gd name="T89" fmla="*/ 2147483647 h 1420"/>
                    <a:gd name="T90" fmla="*/ 2147483647 w 405"/>
                    <a:gd name="T91" fmla="*/ 2147483647 h 1420"/>
                    <a:gd name="T92" fmla="*/ 2147483647 w 405"/>
                    <a:gd name="T93" fmla="*/ 2147483647 h 1420"/>
                    <a:gd name="T94" fmla="*/ 2147483647 w 405"/>
                    <a:gd name="T95" fmla="*/ 2147483647 h 1420"/>
                    <a:gd name="T96" fmla="*/ 2147483647 w 405"/>
                    <a:gd name="T97" fmla="*/ 2147483647 h 1420"/>
                    <a:gd name="T98" fmla="*/ 2147483647 w 405"/>
                    <a:gd name="T99" fmla="*/ 2147483647 h 1420"/>
                    <a:gd name="T100" fmla="*/ 2147483647 w 405"/>
                    <a:gd name="T101" fmla="*/ 2147483647 h 1420"/>
                    <a:gd name="T102" fmla="*/ 2147483647 w 405"/>
                    <a:gd name="T103" fmla="*/ 2147483647 h 1420"/>
                    <a:gd name="T104" fmla="*/ 2147483647 w 405"/>
                    <a:gd name="T105" fmla="*/ 2147483647 h 1420"/>
                    <a:gd name="T106" fmla="*/ 2147483647 w 405"/>
                    <a:gd name="T107" fmla="*/ 2147483647 h 1420"/>
                    <a:gd name="T108" fmla="*/ 2147483647 w 405"/>
                    <a:gd name="T109" fmla="*/ 2147483647 h 1420"/>
                    <a:gd name="T110" fmla="*/ 2147483647 w 405"/>
                    <a:gd name="T111" fmla="*/ 2147483647 h 1420"/>
                    <a:gd name="T112" fmla="*/ 2147483647 w 405"/>
                    <a:gd name="T113" fmla="*/ 2147483647 h 1420"/>
                    <a:gd name="T114" fmla="*/ 2147483647 w 405"/>
                    <a:gd name="T115" fmla="*/ 2147483647 h 1420"/>
                    <a:gd name="T116" fmla="*/ 2147483647 w 405"/>
                    <a:gd name="T117" fmla="*/ 2147483647 h 1420"/>
                    <a:gd name="T118" fmla="*/ 2147483647 w 405"/>
                    <a:gd name="T119" fmla="*/ 2147483647 h 1420"/>
                    <a:gd name="T120" fmla="*/ 2147483647 w 405"/>
                    <a:gd name="T121" fmla="*/ 2147483647 h 1420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w 405"/>
                    <a:gd name="T184" fmla="*/ 0 h 1420"/>
                    <a:gd name="T185" fmla="*/ 405 w 405"/>
                    <a:gd name="T186" fmla="*/ 1420 h 1420"/>
                  </a:gdLst>
                  <a:ahLst/>
                  <a:cxnLst>
                    <a:cxn ang="T122">
                      <a:pos x="T0" y="T1"/>
                    </a:cxn>
                    <a:cxn ang="T123">
                      <a:pos x="T2" y="T3"/>
                    </a:cxn>
                    <a:cxn ang="T124">
                      <a:pos x="T4" y="T5"/>
                    </a:cxn>
                    <a:cxn ang="T125">
                      <a:pos x="T6" y="T7"/>
                    </a:cxn>
                    <a:cxn ang="T126">
                      <a:pos x="T8" y="T9"/>
                    </a:cxn>
                    <a:cxn ang="T127">
                      <a:pos x="T10" y="T11"/>
                    </a:cxn>
                    <a:cxn ang="T128">
                      <a:pos x="T12" y="T13"/>
                    </a:cxn>
                    <a:cxn ang="T129">
                      <a:pos x="T14" y="T15"/>
                    </a:cxn>
                    <a:cxn ang="T130">
                      <a:pos x="T16" y="T17"/>
                    </a:cxn>
                    <a:cxn ang="T131">
                      <a:pos x="T18" y="T19"/>
                    </a:cxn>
                    <a:cxn ang="T132">
                      <a:pos x="T20" y="T21"/>
                    </a:cxn>
                    <a:cxn ang="T133">
                      <a:pos x="T22" y="T23"/>
                    </a:cxn>
                    <a:cxn ang="T134">
                      <a:pos x="T24" y="T25"/>
                    </a:cxn>
                    <a:cxn ang="T135">
                      <a:pos x="T26" y="T27"/>
                    </a:cxn>
                    <a:cxn ang="T136">
                      <a:pos x="T28" y="T29"/>
                    </a:cxn>
                    <a:cxn ang="T137">
                      <a:pos x="T30" y="T31"/>
                    </a:cxn>
                    <a:cxn ang="T138">
                      <a:pos x="T32" y="T33"/>
                    </a:cxn>
                    <a:cxn ang="T139">
                      <a:pos x="T34" y="T35"/>
                    </a:cxn>
                    <a:cxn ang="T140">
                      <a:pos x="T36" y="T37"/>
                    </a:cxn>
                    <a:cxn ang="T141">
                      <a:pos x="T38" y="T39"/>
                    </a:cxn>
                    <a:cxn ang="T142">
                      <a:pos x="T40" y="T41"/>
                    </a:cxn>
                    <a:cxn ang="T143">
                      <a:pos x="T42" y="T43"/>
                    </a:cxn>
                    <a:cxn ang="T144">
                      <a:pos x="T44" y="T45"/>
                    </a:cxn>
                    <a:cxn ang="T145">
                      <a:pos x="T46" y="T47"/>
                    </a:cxn>
                    <a:cxn ang="T146">
                      <a:pos x="T48" y="T49"/>
                    </a:cxn>
                    <a:cxn ang="T147">
                      <a:pos x="T50" y="T51"/>
                    </a:cxn>
                    <a:cxn ang="T148">
                      <a:pos x="T52" y="T53"/>
                    </a:cxn>
                    <a:cxn ang="T149">
                      <a:pos x="T54" y="T55"/>
                    </a:cxn>
                    <a:cxn ang="T150">
                      <a:pos x="T56" y="T57"/>
                    </a:cxn>
                    <a:cxn ang="T151">
                      <a:pos x="T58" y="T59"/>
                    </a:cxn>
                    <a:cxn ang="T152">
                      <a:pos x="T60" y="T61"/>
                    </a:cxn>
                    <a:cxn ang="T153">
                      <a:pos x="T62" y="T63"/>
                    </a:cxn>
                    <a:cxn ang="T154">
                      <a:pos x="T64" y="T65"/>
                    </a:cxn>
                    <a:cxn ang="T155">
                      <a:pos x="T66" y="T67"/>
                    </a:cxn>
                    <a:cxn ang="T156">
                      <a:pos x="T68" y="T69"/>
                    </a:cxn>
                    <a:cxn ang="T157">
                      <a:pos x="T70" y="T71"/>
                    </a:cxn>
                    <a:cxn ang="T158">
                      <a:pos x="T72" y="T73"/>
                    </a:cxn>
                    <a:cxn ang="T159">
                      <a:pos x="T74" y="T75"/>
                    </a:cxn>
                    <a:cxn ang="T160">
                      <a:pos x="T76" y="T77"/>
                    </a:cxn>
                    <a:cxn ang="T161">
                      <a:pos x="T78" y="T79"/>
                    </a:cxn>
                    <a:cxn ang="T162">
                      <a:pos x="T80" y="T81"/>
                    </a:cxn>
                    <a:cxn ang="T163">
                      <a:pos x="T82" y="T83"/>
                    </a:cxn>
                    <a:cxn ang="T164">
                      <a:pos x="T84" y="T85"/>
                    </a:cxn>
                    <a:cxn ang="T165">
                      <a:pos x="T86" y="T87"/>
                    </a:cxn>
                    <a:cxn ang="T166">
                      <a:pos x="T88" y="T89"/>
                    </a:cxn>
                    <a:cxn ang="T167">
                      <a:pos x="T90" y="T91"/>
                    </a:cxn>
                    <a:cxn ang="T168">
                      <a:pos x="T92" y="T93"/>
                    </a:cxn>
                    <a:cxn ang="T169">
                      <a:pos x="T94" y="T95"/>
                    </a:cxn>
                    <a:cxn ang="T170">
                      <a:pos x="T96" y="T97"/>
                    </a:cxn>
                    <a:cxn ang="T171">
                      <a:pos x="T98" y="T99"/>
                    </a:cxn>
                    <a:cxn ang="T172">
                      <a:pos x="T100" y="T101"/>
                    </a:cxn>
                    <a:cxn ang="T173">
                      <a:pos x="T102" y="T103"/>
                    </a:cxn>
                    <a:cxn ang="T174">
                      <a:pos x="T104" y="T105"/>
                    </a:cxn>
                    <a:cxn ang="T175">
                      <a:pos x="T106" y="T107"/>
                    </a:cxn>
                    <a:cxn ang="T176">
                      <a:pos x="T108" y="T109"/>
                    </a:cxn>
                    <a:cxn ang="T177">
                      <a:pos x="T110" y="T111"/>
                    </a:cxn>
                    <a:cxn ang="T178">
                      <a:pos x="T112" y="T113"/>
                    </a:cxn>
                    <a:cxn ang="T179">
                      <a:pos x="T114" y="T115"/>
                    </a:cxn>
                    <a:cxn ang="T180">
                      <a:pos x="T116" y="T117"/>
                    </a:cxn>
                    <a:cxn ang="T181">
                      <a:pos x="T118" y="T119"/>
                    </a:cxn>
                    <a:cxn ang="T182">
                      <a:pos x="T120" y="T121"/>
                    </a:cxn>
                  </a:cxnLst>
                  <a:rect l="T183" t="T184" r="T185" b="T186"/>
                  <a:pathLst>
                    <a:path w="405" h="1420">
                      <a:moveTo>
                        <a:pt x="249" y="178"/>
                      </a:moveTo>
                      <a:cubicBezTo>
                        <a:pt x="249" y="178"/>
                        <a:pt x="249" y="178"/>
                        <a:pt x="249" y="178"/>
                      </a:cubicBezTo>
                      <a:cubicBezTo>
                        <a:pt x="249" y="178"/>
                        <a:pt x="249" y="178"/>
                        <a:pt x="250" y="179"/>
                      </a:cubicBezTo>
                      <a:cubicBezTo>
                        <a:pt x="250" y="179"/>
                        <a:pt x="250" y="179"/>
                        <a:pt x="250" y="179"/>
                      </a:cubicBezTo>
                      <a:cubicBezTo>
                        <a:pt x="249" y="178"/>
                        <a:pt x="249" y="178"/>
                        <a:pt x="249" y="178"/>
                      </a:cubicBezTo>
                      <a:close/>
                      <a:moveTo>
                        <a:pt x="395" y="1298"/>
                      </a:moveTo>
                      <a:cubicBezTo>
                        <a:pt x="396" y="1292"/>
                        <a:pt x="399" y="1290"/>
                        <a:pt x="399" y="1285"/>
                      </a:cubicBezTo>
                      <a:cubicBezTo>
                        <a:pt x="402" y="1269"/>
                        <a:pt x="399" y="1249"/>
                        <a:pt x="399" y="1231"/>
                      </a:cubicBezTo>
                      <a:cubicBezTo>
                        <a:pt x="399" y="1213"/>
                        <a:pt x="399" y="1196"/>
                        <a:pt x="399" y="1178"/>
                      </a:cubicBezTo>
                      <a:cubicBezTo>
                        <a:pt x="399" y="1177"/>
                        <a:pt x="399" y="1175"/>
                        <a:pt x="399" y="1174"/>
                      </a:cubicBezTo>
                      <a:cubicBezTo>
                        <a:pt x="399" y="1151"/>
                        <a:pt x="400" y="1127"/>
                        <a:pt x="401" y="1105"/>
                      </a:cubicBezTo>
                      <a:cubicBezTo>
                        <a:pt x="401" y="1093"/>
                        <a:pt x="401" y="1082"/>
                        <a:pt x="400" y="1072"/>
                      </a:cubicBezTo>
                      <a:cubicBezTo>
                        <a:pt x="399" y="1047"/>
                        <a:pt x="392" y="1022"/>
                        <a:pt x="387" y="996"/>
                      </a:cubicBezTo>
                      <a:cubicBezTo>
                        <a:pt x="387" y="992"/>
                        <a:pt x="386" y="987"/>
                        <a:pt x="385" y="982"/>
                      </a:cubicBezTo>
                      <a:cubicBezTo>
                        <a:pt x="384" y="982"/>
                        <a:pt x="384" y="982"/>
                        <a:pt x="384" y="982"/>
                      </a:cubicBezTo>
                      <a:cubicBezTo>
                        <a:pt x="377" y="939"/>
                        <a:pt x="370" y="897"/>
                        <a:pt x="362" y="852"/>
                      </a:cubicBezTo>
                      <a:cubicBezTo>
                        <a:pt x="357" y="829"/>
                        <a:pt x="350" y="794"/>
                        <a:pt x="354" y="775"/>
                      </a:cubicBezTo>
                      <a:cubicBezTo>
                        <a:pt x="354" y="772"/>
                        <a:pt x="355" y="769"/>
                        <a:pt x="357" y="767"/>
                      </a:cubicBezTo>
                      <a:cubicBezTo>
                        <a:pt x="359" y="765"/>
                        <a:pt x="360" y="766"/>
                        <a:pt x="361" y="765"/>
                      </a:cubicBezTo>
                      <a:cubicBezTo>
                        <a:pt x="362" y="764"/>
                        <a:pt x="360" y="763"/>
                        <a:pt x="361" y="761"/>
                      </a:cubicBezTo>
                      <a:cubicBezTo>
                        <a:pt x="364" y="748"/>
                        <a:pt x="359" y="732"/>
                        <a:pt x="358" y="717"/>
                      </a:cubicBezTo>
                      <a:cubicBezTo>
                        <a:pt x="357" y="700"/>
                        <a:pt x="357" y="685"/>
                        <a:pt x="355" y="671"/>
                      </a:cubicBezTo>
                      <a:cubicBezTo>
                        <a:pt x="354" y="658"/>
                        <a:pt x="352" y="643"/>
                        <a:pt x="350" y="628"/>
                      </a:cubicBezTo>
                      <a:cubicBezTo>
                        <a:pt x="348" y="613"/>
                        <a:pt x="343" y="596"/>
                        <a:pt x="345" y="585"/>
                      </a:cubicBezTo>
                      <a:cubicBezTo>
                        <a:pt x="347" y="574"/>
                        <a:pt x="364" y="555"/>
                        <a:pt x="369" y="547"/>
                      </a:cubicBezTo>
                      <a:cubicBezTo>
                        <a:pt x="377" y="535"/>
                        <a:pt x="388" y="521"/>
                        <a:pt x="392" y="509"/>
                      </a:cubicBezTo>
                      <a:cubicBezTo>
                        <a:pt x="398" y="491"/>
                        <a:pt x="398" y="466"/>
                        <a:pt x="396" y="442"/>
                      </a:cubicBezTo>
                      <a:cubicBezTo>
                        <a:pt x="394" y="416"/>
                        <a:pt x="394" y="394"/>
                        <a:pt x="391" y="372"/>
                      </a:cubicBezTo>
                      <a:cubicBezTo>
                        <a:pt x="389" y="350"/>
                        <a:pt x="387" y="329"/>
                        <a:pt x="383" y="306"/>
                      </a:cubicBezTo>
                      <a:cubicBezTo>
                        <a:pt x="381" y="289"/>
                        <a:pt x="377" y="259"/>
                        <a:pt x="370" y="245"/>
                      </a:cubicBezTo>
                      <a:cubicBezTo>
                        <a:pt x="362" y="230"/>
                        <a:pt x="338" y="223"/>
                        <a:pt x="320" y="218"/>
                      </a:cubicBezTo>
                      <a:cubicBezTo>
                        <a:pt x="304" y="212"/>
                        <a:pt x="284" y="209"/>
                        <a:pt x="269" y="201"/>
                      </a:cubicBezTo>
                      <a:cubicBezTo>
                        <a:pt x="262" y="196"/>
                        <a:pt x="258" y="188"/>
                        <a:pt x="251" y="180"/>
                      </a:cubicBezTo>
                      <a:cubicBezTo>
                        <a:pt x="250" y="180"/>
                        <a:pt x="250" y="179"/>
                        <a:pt x="250" y="179"/>
                      </a:cubicBezTo>
                      <a:cubicBezTo>
                        <a:pt x="241" y="196"/>
                        <a:pt x="228" y="215"/>
                        <a:pt x="217" y="232"/>
                      </a:cubicBezTo>
                      <a:cubicBezTo>
                        <a:pt x="207" y="249"/>
                        <a:pt x="199" y="267"/>
                        <a:pt x="186" y="282"/>
                      </a:cubicBezTo>
                      <a:cubicBezTo>
                        <a:pt x="179" y="271"/>
                        <a:pt x="171" y="262"/>
                        <a:pt x="164" y="251"/>
                      </a:cubicBezTo>
                      <a:cubicBezTo>
                        <a:pt x="187" y="223"/>
                        <a:pt x="214" y="196"/>
                        <a:pt x="238" y="169"/>
                      </a:cubicBezTo>
                      <a:cubicBezTo>
                        <a:pt x="238" y="168"/>
                        <a:pt x="238" y="168"/>
                        <a:pt x="238" y="168"/>
                      </a:cubicBezTo>
                      <a:cubicBezTo>
                        <a:pt x="238" y="167"/>
                        <a:pt x="238" y="167"/>
                        <a:pt x="238" y="167"/>
                      </a:cubicBezTo>
                      <a:cubicBezTo>
                        <a:pt x="236" y="165"/>
                        <a:pt x="234" y="162"/>
                        <a:pt x="233" y="158"/>
                      </a:cubicBezTo>
                      <a:cubicBezTo>
                        <a:pt x="229" y="136"/>
                        <a:pt x="247" y="119"/>
                        <a:pt x="248" y="97"/>
                      </a:cubicBezTo>
                      <a:cubicBezTo>
                        <a:pt x="249" y="89"/>
                        <a:pt x="245" y="82"/>
                        <a:pt x="244" y="72"/>
                      </a:cubicBezTo>
                      <a:cubicBezTo>
                        <a:pt x="243" y="58"/>
                        <a:pt x="244" y="47"/>
                        <a:pt x="240" y="39"/>
                      </a:cubicBezTo>
                      <a:cubicBezTo>
                        <a:pt x="231" y="19"/>
                        <a:pt x="212" y="5"/>
                        <a:pt x="185" y="1"/>
                      </a:cubicBezTo>
                      <a:cubicBezTo>
                        <a:pt x="185" y="0"/>
                        <a:pt x="185" y="0"/>
                        <a:pt x="185" y="0"/>
                      </a:cubicBezTo>
                      <a:cubicBezTo>
                        <a:pt x="179" y="0"/>
                        <a:pt x="179" y="0"/>
                        <a:pt x="179" y="0"/>
                      </a:cubicBezTo>
                      <a:cubicBezTo>
                        <a:pt x="164" y="5"/>
                        <a:pt x="153" y="1"/>
                        <a:pt x="142" y="6"/>
                      </a:cubicBezTo>
                      <a:cubicBezTo>
                        <a:pt x="116" y="17"/>
                        <a:pt x="108" y="44"/>
                        <a:pt x="110" y="80"/>
                      </a:cubicBezTo>
                      <a:cubicBezTo>
                        <a:pt x="111" y="112"/>
                        <a:pt x="116" y="145"/>
                        <a:pt x="127" y="167"/>
                      </a:cubicBezTo>
                      <a:cubicBezTo>
                        <a:pt x="132" y="177"/>
                        <a:pt x="138" y="183"/>
                        <a:pt x="139" y="191"/>
                      </a:cubicBezTo>
                      <a:cubicBezTo>
                        <a:pt x="140" y="201"/>
                        <a:pt x="136" y="211"/>
                        <a:pt x="131" y="219"/>
                      </a:cubicBezTo>
                      <a:cubicBezTo>
                        <a:pt x="126" y="227"/>
                        <a:pt x="122" y="237"/>
                        <a:pt x="117" y="241"/>
                      </a:cubicBezTo>
                      <a:cubicBezTo>
                        <a:pt x="106" y="250"/>
                        <a:pt x="89" y="252"/>
                        <a:pt x="77" y="260"/>
                      </a:cubicBezTo>
                      <a:cubicBezTo>
                        <a:pt x="68" y="265"/>
                        <a:pt x="51" y="277"/>
                        <a:pt x="47" y="286"/>
                      </a:cubicBezTo>
                      <a:cubicBezTo>
                        <a:pt x="43" y="297"/>
                        <a:pt x="43" y="316"/>
                        <a:pt x="41" y="331"/>
                      </a:cubicBezTo>
                      <a:cubicBezTo>
                        <a:pt x="39" y="346"/>
                        <a:pt x="36" y="361"/>
                        <a:pt x="34" y="376"/>
                      </a:cubicBezTo>
                      <a:cubicBezTo>
                        <a:pt x="30" y="443"/>
                        <a:pt x="31" y="510"/>
                        <a:pt x="31" y="578"/>
                      </a:cubicBezTo>
                      <a:cubicBezTo>
                        <a:pt x="31" y="611"/>
                        <a:pt x="48" y="631"/>
                        <a:pt x="66" y="646"/>
                      </a:cubicBezTo>
                      <a:cubicBezTo>
                        <a:pt x="62" y="665"/>
                        <a:pt x="66" y="683"/>
                        <a:pt x="66" y="702"/>
                      </a:cubicBezTo>
                      <a:cubicBezTo>
                        <a:pt x="67" y="721"/>
                        <a:pt x="67" y="741"/>
                        <a:pt x="70" y="760"/>
                      </a:cubicBezTo>
                      <a:cubicBezTo>
                        <a:pt x="74" y="794"/>
                        <a:pt x="84" y="828"/>
                        <a:pt x="89" y="862"/>
                      </a:cubicBezTo>
                      <a:cubicBezTo>
                        <a:pt x="94" y="897"/>
                        <a:pt x="99" y="932"/>
                        <a:pt x="104" y="968"/>
                      </a:cubicBezTo>
                      <a:cubicBezTo>
                        <a:pt x="109" y="1004"/>
                        <a:pt x="116" y="1042"/>
                        <a:pt x="115" y="1078"/>
                      </a:cubicBezTo>
                      <a:cubicBezTo>
                        <a:pt x="115" y="1105"/>
                        <a:pt x="109" y="1133"/>
                        <a:pt x="106" y="1159"/>
                      </a:cubicBezTo>
                      <a:cubicBezTo>
                        <a:pt x="103" y="1178"/>
                        <a:pt x="97" y="1198"/>
                        <a:pt x="94" y="1215"/>
                      </a:cubicBezTo>
                      <a:cubicBezTo>
                        <a:pt x="92" y="1221"/>
                        <a:pt x="92" y="1229"/>
                        <a:pt x="90" y="1235"/>
                      </a:cubicBezTo>
                      <a:cubicBezTo>
                        <a:pt x="89" y="1240"/>
                        <a:pt x="83" y="1245"/>
                        <a:pt x="79" y="1251"/>
                      </a:cubicBezTo>
                      <a:cubicBezTo>
                        <a:pt x="75" y="1256"/>
                        <a:pt x="73" y="1263"/>
                        <a:pt x="68" y="1266"/>
                      </a:cubicBezTo>
                      <a:cubicBezTo>
                        <a:pt x="59" y="1274"/>
                        <a:pt x="44" y="1278"/>
                        <a:pt x="33" y="1284"/>
                      </a:cubicBezTo>
                      <a:cubicBezTo>
                        <a:pt x="21" y="1290"/>
                        <a:pt x="9" y="1295"/>
                        <a:pt x="0" y="1304"/>
                      </a:cubicBezTo>
                      <a:cubicBezTo>
                        <a:pt x="0" y="1307"/>
                        <a:pt x="0" y="1307"/>
                        <a:pt x="0" y="1307"/>
                      </a:cubicBezTo>
                      <a:cubicBezTo>
                        <a:pt x="1" y="1312"/>
                        <a:pt x="2" y="1317"/>
                        <a:pt x="4" y="1321"/>
                      </a:cubicBezTo>
                      <a:cubicBezTo>
                        <a:pt x="24" y="1330"/>
                        <a:pt x="58" y="1329"/>
                        <a:pt x="79" y="1321"/>
                      </a:cubicBezTo>
                      <a:cubicBezTo>
                        <a:pt x="94" y="1315"/>
                        <a:pt x="103" y="1302"/>
                        <a:pt x="117" y="1298"/>
                      </a:cubicBezTo>
                      <a:cubicBezTo>
                        <a:pt x="139" y="1305"/>
                        <a:pt x="169" y="1300"/>
                        <a:pt x="182" y="1288"/>
                      </a:cubicBezTo>
                      <a:cubicBezTo>
                        <a:pt x="185" y="1277"/>
                        <a:pt x="184" y="1264"/>
                        <a:pt x="189" y="1254"/>
                      </a:cubicBezTo>
                      <a:cubicBezTo>
                        <a:pt x="190" y="1250"/>
                        <a:pt x="195" y="1247"/>
                        <a:pt x="197" y="1243"/>
                      </a:cubicBezTo>
                      <a:cubicBezTo>
                        <a:pt x="203" y="1225"/>
                        <a:pt x="192" y="1201"/>
                        <a:pt x="195" y="1179"/>
                      </a:cubicBezTo>
                      <a:cubicBezTo>
                        <a:pt x="196" y="1174"/>
                        <a:pt x="199" y="1170"/>
                        <a:pt x="199" y="1166"/>
                      </a:cubicBezTo>
                      <a:cubicBezTo>
                        <a:pt x="199" y="1162"/>
                        <a:pt x="197" y="1159"/>
                        <a:pt x="197" y="1156"/>
                      </a:cubicBezTo>
                      <a:cubicBezTo>
                        <a:pt x="197" y="1150"/>
                        <a:pt x="199" y="1145"/>
                        <a:pt x="200" y="1140"/>
                      </a:cubicBezTo>
                      <a:cubicBezTo>
                        <a:pt x="200" y="1134"/>
                        <a:pt x="200" y="1128"/>
                        <a:pt x="201" y="1122"/>
                      </a:cubicBezTo>
                      <a:cubicBezTo>
                        <a:pt x="202" y="1045"/>
                        <a:pt x="210" y="972"/>
                        <a:pt x="213" y="903"/>
                      </a:cubicBezTo>
                      <a:cubicBezTo>
                        <a:pt x="218" y="907"/>
                        <a:pt x="219" y="914"/>
                        <a:pt x="220" y="919"/>
                      </a:cubicBezTo>
                      <a:cubicBezTo>
                        <a:pt x="227" y="937"/>
                        <a:pt x="232" y="954"/>
                        <a:pt x="238" y="973"/>
                      </a:cubicBezTo>
                      <a:cubicBezTo>
                        <a:pt x="245" y="996"/>
                        <a:pt x="256" y="1020"/>
                        <a:pt x="261" y="1044"/>
                      </a:cubicBezTo>
                      <a:cubicBezTo>
                        <a:pt x="264" y="1054"/>
                        <a:pt x="264" y="1065"/>
                        <a:pt x="265" y="1076"/>
                      </a:cubicBezTo>
                      <a:cubicBezTo>
                        <a:pt x="267" y="1086"/>
                        <a:pt x="268" y="1097"/>
                        <a:pt x="270" y="1107"/>
                      </a:cubicBezTo>
                      <a:cubicBezTo>
                        <a:pt x="275" y="1135"/>
                        <a:pt x="277" y="1164"/>
                        <a:pt x="279" y="1192"/>
                      </a:cubicBezTo>
                      <a:cubicBezTo>
                        <a:pt x="279" y="1204"/>
                        <a:pt x="280" y="1215"/>
                        <a:pt x="281" y="1227"/>
                      </a:cubicBezTo>
                      <a:cubicBezTo>
                        <a:pt x="281" y="1236"/>
                        <a:pt x="282" y="1244"/>
                        <a:pt x="282" y="1253"/>
                      </a:cubicBezTo>
                      <a:cubicBezTo>
                        <a:pt x="283" y="1253"/>
                        <a:pt x="283" y="1253"/>
                        <a:pt x="283" y="1253"/>
                      </a:cubicBezTo>
                      <a:cubicBezTo>
                        <a:pt x="284" y="1268"/>
                        <a:pt x="285" y="1284"/>
                        <a:pt x="287" y="1299"/>
                      </a:cubicBezTo>
                      <a:cubicBezTo>
                        <a:pt x="292" y="1302"/>
                        <a:pt x="301" y="1300"/>
                        <a:pt x="305" y="1303"/>
                      </a:cubicBezTo>
                      <a:cubicBezTo>
                        <a:pt x="307" y="1309"/>
                        <a:pt x="305" y="1318"/>
                        <a:pt x="306" y="1326"/>
                      </a:cubicBezTo>
                      <a:cubicBezTo>
                        <a:pt x="297" y="1345"/>
                        <a:pt x="284" y="1360"/>
                        <a:pt x="269" y="1375"/>
                      </a:cubicBezTo>
                      <a:cubicBezTo>
                        <a:pt x="261" y="1382"/>
                        <a:pt x="249" y="1393"/>
                        <a:pt x="250" y="1404"/>
                      </a:cubicBezTo>
                      <a:cubicBezTo>
                        <a:pt x="252" y="1417"/>
                        <a:pt x="274" y="1417"/>
                        <a:pt x="288" y="1419"/>
                      </a:cubicBezTo>
                      <a:cubicBezTo>
                        <a:pt x="288" y="1420"/>
                        <a:pt x="288" y="1420"/>
                        <a:pt x="288" y="1420"/>
                      </a:cubicBezTo>
                      <a:cubicBezTo>
                        <a:pt x="298" y="1420"/>
                        <a:pt x="298" y="1420"/>
                        <a:pt x="298" y="1420"/>
                      </a:cubicBezTo>
                      <a:cubicBezTo>
                        <a:pt x="334" y="1416"/>
                        <a:pt x="359" y="1401"/>
                        <a:pt x="374" y="1377"/>
                      </a:cubicBezTo>
                      <a:cubicBezTo>
                        <a:pt x="387" y="1376"/>
                        <a:pt x="394" y="1367"/>
                        <a:pt x="402" y="1359"/>
                      </a:cubicBezTo>
                      <a:cubicBezTo>
                        <a:pt x="402" y="1356"/>
                        <a:pt x="402" y="1352"/>
                        <a:pt x="403" y="1349"/>
                      </a:cubicBezTo>
                      <a:cubicBezTo>
                        <a:pt x="403" y="1343"/>
                        <a:pt x="403" y="1343"/>
                        <a:pt x="403" y="1343"/>
                      </a:cubicBezTo>
                      <a:cubicBezTo>
                        <a:pt x="405" y="1326"/>
                        <a:pt x="395" y="1311"/>
                        <a:pt x="395" y="1298"/>
                      </a:cubicBezTo>
                      <a:close/>
                      <a:moveTo>
                        <a:pt x="113" y="340"/>
                      </a:moveTo>
                      <a:cubicBezTo>
                        <a:pt x="109" y="350"/>
                        <a:pt x="106" y="361"/>
                        <a:pt x="101" y="369"/>
                      </a:cubicBezTo>
                      <a:cubicBezTo>
                        <a:pt x="100" y="341"/>
                        <a:pt x="108" y="321"/>
                        <a:pt x="114" y="299"/>
                      </a:cubicBezTo>
                      <a:cubicBezTo>
                        <a:pt x="122" y="289"/>
                        <a:pt x="133" y="280"/>
                        <a:pt x="142" y="270"/>
                      </a:cubicBezTo>
                      <a:cubicBezTo>
                        <a:pt x="145" y="274"/>
                        <a:pt x="145" y="281"/>
                        <a:pt x="149" y="285"/>
                      </a:cubicBezTo>
                      <a:cubicBezTo>
                        <a:pt x="135" y="301"/>
                        <a:pt x="124" y="321"/>
                        <a:pt x="113" y="340"/>
                      </a:cubicBezTo>
                      <a:close/>
                      <a:moveTo>
                        <a:pt x="114" y="293"/>
                      </a:moveTo>
                      <a:cubicBezTo>
                        <a:pt x="121" y="267"/>
                        <a:pt x="125" y="238"/>
                        <a:pt x="135" y="215"/>
                      </a:cubicBezTo>
                      <a:cubicBezTo>
                        <a:pt x="137" y="215"/>
                        <a:pt x="137" y="215"/>
                        <a:pt x="137" y="215"/>
                      </a:cubicBezTo>
                      <a:cubicBezTo>
                        <a:pt x="145" y="225"/>
                        <a:pt x="153" y="236"/>
                        <a:pt x="159" y="249"/>
                      </a:cubicBezTo>
                      <a:cubicBezTo>
                        <a:pt x="145" y="265"/>
                        <a:pt x="130" y="280"/>
                        <a:pt x="114" y="293"/>
                      </a:cubicBezTo>
                      <a:close/>
                      <a:moveTo>
                        <a:pt x="163" y="333"/>
                      </a:moveTo>
                      <a:cubicBezTo>
                        <a:pt x="159" y="320"/>
                        <a:pt x="164" y="301"/>
                        <a:pt x="161" y="289"/>
                      </a:cubicBezTo>
                      <a:cubicBezTo>
                        <a:pt x="166" y="283"/>
                        <a:pt x="172" y="280"/>
                        <a:pt x="175" y="273"/>
                      </a:cubicBezTo>
                      <a:cubicBezTo>
                        <a:pt x="180" y="275"/>
                        <a:pt x="181" y="281"/>
                        <a:pt x="185" y="285"/>
                      </a:cubicBezTo>
                      <a:cubicBezTo>
                        <a:pt x="178" y="301"/>
                        <a:pt x="171" y="318"/>
                        <a:pt x="163" y="333"/>
                      </a:cubicBezTo>
                      <a:close/>
                    </a:path>
                  </a:pathLst>
                </a:custGeom>
                <a:solidFill>
                  <a:srgbClr val="080808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Text" lastClr="000000"/>
                    </a:solidFill>
                    <a:latin typeface="+mn-lt"/>
                    <a:cs typeface="+mn-cs"/>
                  </a:endParaRPr>
                </a:p>
              </p:txBody>
            </p:sp>
          </p:grpSp>
          <p:sp>
            <p:nvSpPr>
              <p:cNvPr id="48" name="Kombinationstegning 37"/>
              <p:cNvSpPr/>
              <p:nvPr/>
            </p:nvSpPr>
            <p:spPr bwMode="auto">
              <a:xfrm>
                <a:off x="4843444" y="2362208"/>
                <a:ext cx="219715" cy="495307"/>
              </a:xfrm>
              <a:custGeom>
                <a:avLst/>
                <a:gdLst>
                  <a:gd name="connsiteX0" fmla="*/ 186267 w 241300"/>
                  <a:gd name="connsiteY0" fmla="*/ 279400 h 537633"/>
                  <a:gd name="connsiteX1" fmla="*/ 186267 w 241300"/>
                  <a:gd name="connsiteY1" fmla="*/ 165100 h 537633"/>
                  <a:gd name="connsiteX2" fmla="*/ 182034 w 241300"/>
                  <a:gd name="connsiteY2" fmla="*/ 131233 h 537633"/>
                  <a:gd name="connsiteX3" fmla="*/ 241300 w 241300"/>
                  <a:gd name="connsiteY3" fmla="*/ 71966 h 537633"/>
                  <a:gd name="connsiteX4" fmla="*/ 203200 w 241300"/>
                  <a:gd name="connsiteY4" fmla="*/ 8466 h 537633"/>
                  <a:gd name="connsiteX5" fmla="*/ 186267 w 241300"/>
                  <a:gd name="connsiteY5" fmla="*/ 0 h 537633"/>
                  <a:gd name="connsiteX6" fmla="*/ 127000 w 241300"/>
                  <a:gd name="connsiteY6" fmla="*/ 46566 h 537633"/>
                  <a:gd name="connsiteX7" fmla="*/ 148167 w 241300"/>
                  <a:gd name="connsiteY7" fmla="*/ 118533 h 537633"/>
                  <a:gd name="connsiteX8" fmla="*/ 93134 w 241300"/>
                  <a:gd name="connsiteY8" fmla="*/ 203200 h 537633"/>
                  <a:gd name="connsiteX9" fmla="*/ 42334 w 241300"/>
                  <a:gd name="connsiteY9" fmla="*/ 262466 h 537633"/>
                  <a:gd name="connsiteX10" fmla="*/ 4234 w 241300"/>
                  <a:gd name="connsiteY10" fmla="*/ 355600 h 537633"/>
                  <a:gd name="connsiteX11" fmla="*/ 0 w 241300"/>
                  <a:gd name="connsiteY11" fmla="*/ 385233 h 537633"/>
                  <a:gd name="connsiteX12" fmla="*/ 46567 w 241300"/>
                  <a:gd name="connsiteY12" fmla="*/ 537633 h 537633"/>
                  <a:gd name="connsiteX13" fmla="*/ 186267 w 241300"/>
                  <a:gd name="connsiteY13" fmla="*/ 279400 h 5376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41300" h="537633">
                    <a:moveTo>
                      <a:pt x="186267" y="279400"/>
                    </a:moveTo>
                    <a:lnTo>
                      <a:pt x="186267" y="165100"/>
                    </a:lnTo>
                    <a:lnTo>
                      <a:pt x="182034" y="131233"/>
                    </a:lnTo>
                    <a:lnTo>
                      <a:pt x="241300" y="71966"/>
                    </a:lnTo>
                    <a:lnTo>
                      <a:pt x="203200" y="8466"/>
                    </a:lnTo>
                    <a:lnTo>
                      <a:pt x="186267" y="0"/>
                    </a:lnTo>
                    <a:lnTo>
                      <a:pt x="127000" y="46566"/>
                    </a:lnTo>
                    <a:lnTo>
                      <a:pt x="148167" y="118533"/>
                    </a:lnTo>
                    <a:lnTo>
                      <a:pt x="93134" y="203200"/>
                    </a:lnTo>
                    <a:lnTo>
                      <a:pt x="42334" y="262466"/>
                    </a:lnTo>
                    <a:lnTo>
                      <a:pt x="4234" y="355600"/>
                    </a:lnTo>
                    <a:lnTo>
                      <a:pt x="0" y="385233"/>
                    </a:lnTo>
                    <a:lnTo>
                      <a:pt x="46567" y="537633"/>
                    </a:lnTo>
                    <a:lnTo>
                      <a:pt x="186267" y="27940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FB0036"/>
                  </a:gs>
                  <a:gs pos="100000">
                    <a:srgbClr val="D60015"/>
                  </a:gs>
                </a:gsLst>
                <a:lin ang="2700000" scaled="1"/>
                <a:tileRect/>
              </a:gradFill>
              <a:ln w="9525" cap="flat" cmpd="sng" algn="ctr">
                <a:solidFill>
                  <a:srgbClr val="C00000"/>
                </a:solidFill>
                <a:prstDash val="solid"/>
              </a:ln>
              <a:effectLst/>
            </p:spPr>
            <p:txBody>
              <a:bodyPr anchor="ctr"/>
              <a:lstStyle/>
              <a:p>
                <a:pPr indent="-342900" algn="ctr" fontAlgn="auto">
                  <a:spcBef>
                    <a:spcPts val="0"/>
                  </a:spcBef>
                  <a:spcAft>
                    <a:spcPts val="0"/>
                  </a:spcAft>
                  <a:buFont typeface="+mj-lt"/>
                  <a:buAutoNum type="arabicPeriod"/>
                  <a:defRPr/>
                </a:pPr>
                <a:endParaRPr lang="da-DK" kern="0" noProof="1">
                  <a:solidFill>
                    <a:sysClr val="window" lastClr="FFFFFF"/>
                  </a:solidFill>
                  <a:latin typeface="Calibri"/>
                  <a:cs typeface="+mn-cs"/>
                </a:endParaRPr>
              </a:p>
            </p:txBody>
          </p:sp>
        </p:grpSp>
      </p:grpSp>
      <p:grpSp>
        <p:nvGrpSpPr>
          <p:cNvPr id="59" name="Gruppe 376"/>
          <p:cNvGrpSpPr/>
          <p:nvPr/>
        </p:nvGrpSpPr>
        <p:grpSpPr>
          <a:xfrm>
            <a:off x="6536699" y="1697753"/>
            <a:ext cx="894745" cy="878693"/>
            <a:chOff x="2360448" y="750203"/>
            <a:chExt cx="4325435" cy="4247827"/>
          </a:xfrm>
          <a:solidFill>
            <a:schemeClr val="tx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60" name="Blokbue 41"/>
            <p:cNvSpPr/>
            <p:nvPr/>
          </p:nvSpPr>
          <p:spPr bwMode="auto">
            <a:xfrm rot="10843925">
              <a:off x="2516174" y="1020923"/>
              <a:ext cx="3842697" cy="3842328"/>
            </a:xfrm>
            <a:prstGeom prst="blockArc">
              <a:avLst>
                <a:gd name="adj1" fmla="val 12299351"/>
                <a:gd name="adj2" fmla="val 15897654"/>
                <a:gd name="adj3" fmla="val 26577"/>
              </a:avLst>
            </a:prstGeom>
            <a:solidFill>
              <a:schemeClr val="accent3">
                <a:lumMod val="60000"/>
                <a:lumOff val="40000"/>
              </a:schemeClr>
            </a:solidFill>
            <a:ln w="3175" cap="flat" cmpd="sng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Text" lastClr="000000">
                    <a:lumMod val="95000"/>
                    <a:lumOff val="5000"/>
                  </a:sysClr>
                </a:solidFill>
                <a:latin typeface="Calibri"/>
                <a:cs typeface="+mn-cs"/>
              </a:endParaRPr>
            </a:p>
          </p:txBody>
        </p:sp>
        <p:sp>
          <p:nvSpPr>
            <p:cNvPr id="61" name="Blokbue 42"/>
            <p:cNvSpPr/>
            <p:nvPr/>
          </p:nvSpPr>
          <p:spPr bwMode="auto">
            <a:xfrm rot="14446858">
              <a:off x="2411090" y="1028057"/>
              <a:ext cx="3842697" cy="3842328"/>
            </a:xfrm>
            <a:prstGeom prst="blockArc">
              <a:avLst>
                <a:gd name="adj1" fmla="val 12299351"/>
                <a:gd name="adj2" fmla="val 15897654"/>
                <a:gd name="adj3" fmla="val 26577"/>
              </a:avLst>
            </a:prstGeom>
            <a:solidFill>
              <a:schemeClr val="accent3">
                <a:lumMod val="60000"/>
                <a:lumOff val="40000"/>
              </a:schemeClr>
            </a:solidFill>
            <a:ln w="3175" cap="flat" cmpd="sng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Text" lastClr="000000">
                    <a:lumMod val="95000"/>
                    <a:lumOff val="5000"/>
                  </a:sysClr>
                </a:solidFill>
                <a:latin typeface="Calibri"/>
                <a:cs typeface="+mn-cs"/>
              </a:endParaRPr>
            </a:p>
          </p:txBody>
        </p:sp>
        <p:sp>
          <p:nvSpPr>
            <p:cNvPr id="62" name="Blokbue 43"/>
            <p:cNvSpPr/>
            <p:nvPr/>
          </p:nvSpPr>
          <p:spPr bwMode="auto">
            <a:xfrm rot="18033862">
              <a:off x="2382907" y="921207"/>
              <a:ext cx="3842328" cy="3842697"/>
            </a:xfrm>
            <a:prstGeom prst="blockArc">
              <a:avLst>
                <a:gd name="adj1" fmla="val 12299351"/>
                <a:gd name="adj2" fmla="val 15897654"/>
                <a:gd name="adj3" fmla="val 26577"/>
              </a:avLst>
            </a:prstGeom>
            <a:solidFill>
              <a:schemeClr val="accent3">
                <a:lumMod val="60000"/>
                <a:lumOff val="40000"/>
              </a:schemeClr>
            </a:solidFill>
            <a:ln w="3175" cap="flat" cmpd="sng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Text" lastClr="000000">
                    <a:lumMod val="95000"/>
                    <a:lumOff val="5000"/>
                  </a:sysClr>
                </a:solidFill>
                <a:latin typeface="Calibri"/>
                <a:cs typeface="+mn-cs"/>
              </a:endParaRPr>
            </a:p>
          </p:txBody>
        </p:sp>
        <p:sp>
          <p:nvSpPr>
            <p:cNvPr id="63" name="Blokbue 44"/>
            <p:cNvSpPr/>
            <p:nvPr/>
          </p:nvSpPr>
          <p:spPr bwMode="auto">
            <a:xfrm rot="14285">
              <a:off x="2443889" y="844858"/>
              <a:ext cx="3842697" cy="3842328"/>
            </a:xfrm>
            <a:prstGeom prst="blockArc">
              <a:avLst>
                <a:gd name="adj1" fmla="val 12299351"/>
                <a:gd name="adj2" fmla="val 15897654"/>
                <a:gd name="adj3" fmla="val 26577"/>
              </a:avLst>
            </a:prstGeom>
            <a:solidFill>
              <a:schemeClr val="accent3">
                <a:lumMod val="60000"/>
                <a:lumOff val="40000"/>
              </a:schemeClr>
            </a:solidFill>
            <a:ln w="3175" cap="flat" cmpd="sng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Text" lastClr="000000">
                    <a:lumMod val="95000"/>
                    <a:lumOff val="5000"/>
                  </a:sysClr>
                </a:solidFill>
                <a:latin typeface="Calibri"/>
                <a:cs typeface="+mn-cs"/>
              </a:endParaRPr>
            </a:p>
          </p:txBody>
        </p:sp>
        <p:sp>
          <p:nvSpPr>
            <p:cNvPr id="64" name="Blokbue 45"/>
            <p:cNvSpPr/>
            <p:nvPr/>
          </p:nvSpPr>
          <p:spPr bwMode="auto">
            <a:xfrm rot="3730573">
              <a:off x="2518962" y="839770"/>
              <a:ext cx="3842697" cy="3842328"/>
            </a:xfrm>
            <a:prstGeom prst="blockArc">
              <a:avLst>
                <a:gd name="adj1" fmla="val 12299351"/>
                <a:gd name="adj2" fmla="val 15897654"/>
                <a:gd name="adj3" fmla="val 26577"/>
              </a:avLst>
            </a:prstGeom>
            <a:solidFill>
              <a:schemeClr val="accent3">
                <a:lumMod val="60000"/>
                <a:lumOff val="40000"/>
              </a:schemeClr>
            </a:solidFill>
            <a:ln w="3175" cap="flat" cmpd="sng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Text" lastClr="000000">
                    <a:lumMod val="95000"/>
                    <a:lumOff val="5000"/>
                  </a:sysClr>
                </a:solidFill>
                <a:latin typeface="Calibri"/>
                <a:cs typeface="+mn-cs"/>
              </a:endParaRPr>
            </a:p>
          </p:txBody>
        </p:sp>
        <p:sp>
          <p:nvSpPr>
            <p:cNvPr id="65" name="Cirkulær pil 46"/>
            <p:cNvSpPr/>
            <p:nvPr/>
          </p:nvSpPr>
          <p:spPr>
            <a:xfrm rot="14216451" flipH="1" flipV="1">
              <a:off x="2399252" y="711399"/>
              <a:ext cx="4247827" cy="4325435"/>
            </a:xfrm>
            <a:prstGeom prst="circularArrow">
              <a:avLst>
                <a:gd name="adj1" fmla="val 25269"/>
                <a:gd name="adj2" fmla="val 1142319"/>
                <a:gd name="adj3" fmla="val 20391973"/>
                <a:gd name="adj4" fmla="val 16090810"/>
                <a:gd name="adj5" fmla="val 17581"/>
              </a:avLst>
            </a:prstGeom>
            <a:solidFill>
              <a:srgbClr val="92D050"/>
            </a:solidFill>
            <a:ln w="9525" cap="flat" cmpd="sng" algn="ctr">
              <a:solidFill>
                <a:schemeClr val="bg1">
                  <a:lumMod val="50000"/>
                </a:schemeClr>
              </a:solidFill>
              <a:prstDash val="solid"/>
            </a:ln>
            <a:effectLst/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" lastClr="FFFFFF"/>
                </a:solidFill>
                <a:latin typeface="Calibri"/>
                <a:cs typeface="+mn-cs"/>
              </a:endParaRPr>
            </a:p>
          </p:txBody>
        </p:sp>
      </p:grpSp>
      <p:grpSp>
        <p:nvGrpSpPr>
          <p:cNvPr id="66" name="Grupper 37"/>
          <p:cNvGrpSpPr>
            <a:grpSpLocks/>
          </p:cNvGrpSpPr>
          <p:nvPr/>
        </p:nvGrpSpPr>
        <p:grpSpPr bwMode="auto">
          <a:xfrm>
            <a:off x="5226579" y="1743066"/>
            <a:ext cx="824644" cy="818082"/>
            <a:chOff x="3008280" y="1875774"/>
            <a:chExt cx="3063119" cy="3038744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pic>
          <p:nvPicPr>
            <p:cNvPr id="67" name="Billede 38" descr="e1.png"/>
            <p:cNvPicPr>
              <a:picLocks noChangeAspect="1"/>
            </p:cNvPicPr>
            <p:nvPr/>
          </p:nvPicPr>
          <p:blipFill>
            <a:blip r:embed="rId6" cstate="print"/>
            <a:srcRect l="13483" t="5675" r="20357" b="12283"/>
            <a:stretch>
              <a:fillRect/>
            </a:stretch>
          </p:blipFill>
          <p:spPr bwMode="auto">
            <a:xfrm>
              <a:off x="3008280" y="1875774"/>
              <a:ext cx="3063119" cy="30387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68" name="Ellipse 39"/>
            <p:cNvSpPr/>
            <p:nvPr/>
          </p:nvSpPr>
          <p:spPr>
            <a:xfrm>
              <a:off x="3047999" y="1905001"/>
              <a:ext cx="2988734" cy="2988734"/>
            </a:xfrm>
            <a:prstGeom prst="ellipse">
              <a:avLst/>
            </a:prstGeom>
            <a:gradFill flip="none" rotWithShape="1">
              <a:gsLst>
                <a:gs pos="0">
                  <a:srgbClr val="78C5DD">
                    <a:alpha val="0"/>
                  </a:srgbClr>
                </a:gs>
                <a:gs pos="100000">
                  <a:srgbClr val="0081BE">
                    <a:alpha val="25000"/>
                  </a:srgbClr>
                </a:gs>
              </a:gsLst>
              <a:path path="circle">
                <a:fillToRect l="50000" t="50000" r="50000" b="50000"/>
              </a:path>
              <a:tileRect/>
            </a:gradFill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>
                <a:solidFill>
                  <a:srgbClr val="FFFFFF"/>
                </a:solidFill>
                <a:latin typeface="Calibri"/>
                <a:cs typeface="ＭＳ Ｐゴシック" charset="-128"/>
              </a:endParaRPr>
            </a:p>
          </p:txBody>
        </p:sp>
        <p:sp>
          <p:nvSpPr>
            <p:cNvPr id="69" name="Ellipse 40"/>
            <p:cNvSpPr/>
            <p:nvPr/>
          </p:nvSpPr>
          <p:spPr>
            <a:xfrm>
              <a:off x="3425701" y="1958040"/>
              <a:ext cx="2187652" cy="1616872"/>
            </a:xfrm>
            <a:prstGeom prst="ellipse">
              <a:avLst/>
            </a:prstGeom>
            <a:gradFill flip="none" rotWithShape="1">
              <a:gsLst>
                <a:gs pos="0">
                  <a:srgbClr val="FFFFFF">
                    <a:lumMod val="40000"/>
                    <a:lumOff val="60000"/>
                    <a:alpha val="0"/>
                  </a:srgbClr>
                </a:gs>
                <a:gs pos="100000">
                  <a:srgbClr val="FFFCF9">
                    <a:alpha val="77000"/>
                  </a:srgbClr>
                </a:gs>
              </a:gsLst>
              <a:lin ang="16200000" scaled="0"/>
              <a:tileRect/>
            </a:gradFill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>
                <a:solidFill>
                  <a:srgbClr val="FFFFFF"/>
                </a:solidFill>
                <a:latin typeface="Calibri"/>
                <a:cs typeface="ＭＳ Ｐゴシック" charset="-128"/>
              </a:endParaRPr>
            </a:p>
          </p:txBody>
        </p:sp>
      </p:grpSp>
      <p:grpSp>
        <p:nvGrpSpPr>
          <p:cNvPr id="70" name="Gruppe 51"/>
          <p:cNvGrpSpPr/>
          <p:nvPr/>
        </p:nvGrpSpPr>
        <p:grpSpPr>
          <a:xfrm>
            <a:off x="3960749" y="1619795"/>
            <a:ext cx="733585" cy="892209"/>
            <a:chOff x="544185" y="1026430"/>
            <a:chExt cx="5195568" cy="498735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grpSp>
          <p:nvGrpSpPr>
            <p:cNvPr id="71" name="Gruppe 56"/>
            <p:cNvGrpSpPr>
              <a:grpSpLocks/>
            </p:cNvGrpSpPr>
            <p:nvPr/>
          </p:nvGrpSpPr>
          <p:grpSpPr bwMode="auto">
            <a:xfrm>
              <a:off x="544185" y="1026430"/>
              <a:ext cx="5195568" cy="4987349"/>
              <a:chOff x="543539" y="1027095"/>
              <a:chExt cx="5196840" cy="4986342"/>
            </a:xfrm>
          </p:grpSpPr>
          <p:grpSp>
            <p:nvGrpSpPr>
              <p:cNvPr id="74" name="Gruppe 25"/>
              <p:cNvGrpSpPr>
                <a:grpSpLocks/>
              </p:cNvGrpSpPr>
              <p:nvPr/>
            </p:nvGrpSpPr>
            <p:grpSpPr bwMode="auto">
              <a:xfrm>
                <a:off x="543539" y="1027095"/>
                <a:ext cx="5196840" cy="4986342"/>
                <a:chOff x="543539" y="1027095"/>
                <a:chExt cx="5196840" cy="4986342"/>
              </a:xfrm>
            </p:grpSpPr>
            <p:sp>
              <p:nvSpPr>
                <p:cNvPr id="79" name="Rektangel 60"/>
                <p:cNvSpPr/>
                <p:nvPr/>
              </p:nvSpPr>
              <p:spPr>
                <a:xfrm rot="16200000">
                  <a:off x="2619785" y="2821356"/>
                  <a:ext cx="4137778" cy="1391816"/>
                </a:xfrm>
                <a:prstGeom prst="rect">
                  <a:avLst/>
                </a:prstGeom>
                <a:solidFill>
                  <a:schemeClr val="accent1">
                    <a:lumMod val="20000"/>
                    <a:lumOff val="80000"/>
                  </a:schemeClr>
                </a:solidFill>
                <a:ln w="9525" cap="flat" cmpd="sng" algn="ctr">
                  <a:solidFill>
                    <a:sysClr val="window" lastClr="FFFFFF">
                      <a:lumMod val="95000"/>
                    </a:sysClr>
                  </a:solidFill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 dirty="0">
                    <a:solidFill>
                      <a:sysClr val="window" lastClr="FFFFFF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80" name="Venstre-opadgående pil 61"/>
                <p:cNvSpPr/>
                <p:nvPr/>
              </p:nvSpPr>
              <p:spPr>
                <a:xfrm flipH="1">
                  <a:off x="543539" y="1027095"/>
                  <a:ext cx="5196840" cy="4986342"/>
                </a:xfrm>
                <a:prstGeom prst="leftUpArrow">
                  <a:avLst>
                    <a:gd name="adj1" fmla="val 3074"/>
                    <a:gd name="adj2" fmla="val 4126"/>
                    <a:gd name="adj3" fmla="val 4936"/>
                  </a:avLst>
                </a:prstGeom>
                <a:gradFill flip="none" rotWithShape="1">
                  <a:gsLst>
                    <a:gs pos="51000">
                      <a:srgbClr val="FFFFFF">
                        <a:lumMod val="50000"/>
                      </a:srgbClr>
                    </a:gs>
                    <a:gs pos="69000">
                      <a:srgbClr val="FFFFFF">
                        <a:lumMod val="65000"/>
                      </a:srgbClr>
                    </a:gs>
                    <a:gs pos="100000">
                      <a:sysClr val="window" lastClr="FFFFFF">
                        <a:lumMod val="85000"/>
                        <a:alpha val="63000"/>
                      </a:sysClr>
                    </a:gs>
                  </a:gsLst>
                  <a:lin ang="2700000" scaled="1"/>
                  <a:tileRect/>
                </a:gradFill>
                <a:ln w="25400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 dirty="0" err="1">
                    <a:solidFill>
                      <a:sysClr val="window" lastClr="FFFFFF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81" name="Rektangel 62"/>
                <p:cNvSpPr/>
                <p:nvPr/>
              </p:nvSpPr>
              <p:spPr>
                <a:xfrm rot="16200000">
                  <a:off x="1120401" y="2782074"/>
                  <a:ext cx="4137777" cy="1470385"/>
                </a:xfrm>
                <a:prstGeom prst="rect">
                  <a:avLst/>
                </a:prstGeom>
                <a:solidFill>
                  <a:schemeClr val="accent1">
                    <a:lumMod val="20000"/>
                    <a:lumOff val="80000"/>
                  </a:schemeClr>
                </a:solidFill>
                <a:ln w="9525" cap="flat" cmpd="sng" algn="ctr">
                  <a:solidFill>
                    <a:sysClr val="window" lastClr="FFFFFF">
                      <a:lumMod val="95000"/>
                    </a:sysClr>
                  </a:solidFill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 dirty="0">
                    <a:solidFill>
                      <a:sysClr val="window" lastClr="FFFFFF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82" name="Rektangel 63"/>
                <p:cNvSpPr/>
                <p:nvPr/>
              </p:nvSpPr>
              <p:spPr>
                <a:xfrm rot="16200000">
                  <a:off x="-354035" y="2846301"/>
                  <a:ext cx="4137778" cy="1341926"/>
                </a:xfrm>
                <a:prstGeom prst="rect">
                  <a:avLst/>
                </a:prstGeom>
                <a:solidFill>
                  <a:schemeClr val="accent1">
                    <a:lumMod val="20000"/>
                    <a:lumOff val="80000"/>
                  </a:schemeClr>
                </a:solidFill>
                <a:ln w="9525" cap="flat" cmpd="sng" algn="ctr">
                  <a:solidFill>
                    <a:sysClr val="window" lastClr="FFFFFF">
                      <a:lumMod val="95000"/>
                    </a:sysClr>
                  </a:solidFill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 dirty="0">
                    <a:solidFill>
                      <a:sysClr val="window" lastClr="FFFFFF"/>
                    </a:solidFill>
                    <a:latin typeface="Calibri"/>
                    <a:cs typeface="+mn-cs"/>
                  </a:endParaRPr>
                </a:p>
              </p:txBody>
            </p:sp>
          </p:grpSp>
          <p:grpSp>
            <p:nvGrpSpPr>
              <p:cNvPr id="75" name="Gruppe 55"/>
              <p:cNvGrpSpPr>
                <a:grpSpLocks/>
              </p:cNvGrpSpPr>
              <p:nvPr/>
            </p:nvGrpSpPr>
            <p:grpSpPr bwMode="auto">
              <a:xfrm>
                <a:off x="897966" y="2443540"/>
                <a:ext cx="4542950" cy="2150627"/>
                <a:chOff x="898000" y="2443540"/>
                <a:chExt cx="4263183" cy="2150627"/>
              </a:xfrm>
            </p:grpSpPr>
            <p:cxnSp>
              <p:nvCxnSpPr>
                <p:cNvPr id="76" name="Lige forbindelse 57"/>
                <p:cNvCxnSpPr/>
                <p:nvPr/>
              </p:nvCxnSpPr>
              <p:spPr bwMode="auto">
                <a:xfrm flipH="1" flipV="1">
                  <a:off x="898000" y="4592580"/>
                  <a:ext cx="4263183" cy="1587"/>
                </a:xfrm>
                <a:prstGeom prst="line">
                  <a:avLst/>
                </a:prstGeom>
                <a:noFill/>
                <a:ln w="6350" cap="flat" cmpd="sng" algn="ctr">
                  <a:solidFill>
                    <a:srgbClr val="FFFFFF">
                      <a:lumMod val="75000"/>
                    </a:srgbClr>
                  </a:solidFill>
                  <a:prstDash val="sysDash"/>
                </a:ln>
                <a:effectLst/>
              </p:spPr>
            </p:cxnSp>
            <p:cxnSp>
              <p:nvCxnSpPr>
                <p:cNvPr id="77" name="Lige forbindelse 58"/>
                <p:cNvCxnSpPr/>
                <p:nvPr/>
              </p:nvCxnSpPr>
              <p:spPr bwMode="auto">
                <a:xfrm flipH="1" flipV="1">
                  <a:off x="898000" y="3510124"/>
                  <a:ext cx="4263183" cy="1587"/>
                </a:xfrm>
                <a:prstGeom prst="line">
                  <a:avLst/>
                </a:prstGeom>
                <a:noFill/>
                <a:ln w="6350" cap="flat" cmpd="sng" algn="ctr">
                  <a:solidFill>
                    <a:srgbClr val="FFFFFF">
                      <a:lumMod val="75000"/>
                    </a:srgbClr>
                  </a:solidFill>
                  <a:prstDash val="sysDash"/>
                </a:ln>
                <a:effectLst/>
              </p:spPr>
            </p:cxnSp>
            <p:cxnSp>
              <p:nvCxnSpPr>
                <p:cNvPr id="78" name="Lige forbindelse 59"/>
                <p:cNvCxnSpPr/>
                <p:nvPr/>
              </p:nvCxnSpPr>
              <p:spPr bwMode="auto">
                <a:xfrm flipH="1" flipV="1">
                  <a:off x="898000" y="2443540"/>
                  <a:ext cx="4263183" cy="1587"/>
                </a:xfrm>
                <a:prstGeom prst="line">
                  <a:avLst/>
                </a:prstGeom>
                <a:noFill/>
                <a:ln w="6350" cap="flat" cmpd="sng" algn="ctr">
                  <a:solidFill>
                    <a:srgbClr val="FFFFFF">
                      <a:lumMod val="75000"/>
                    </a:srgbClr>
                  </a:solidFill>
                  <a:prstDash val="sysDash"/>
                </a:ln>
                <a:effectLst/>
              </p:spPr>
            </p:cxnSp>
          </p:grpSp>
        </p:grpSp>
        <p:sp>
          <p:nvSpPr>
            <p:cNvPr id="72" name="Kombinationstegning 53"/>
            <p:cNvSpPr/>
            <p:nvPr/>
          </p:nvSpPr>
          <p:spPr>
            <a:xfrm>
              <a:off x="1082673" y="1463675"/>
              <a:ext cx="3163106" cy="3900487"/>
            </a:xfrm>
            <a:custGeom>
              <a:avLst/>
              <a:gdLst>
                <a:gd name="connsiteX0" fmla="*/ 0 w 2804160"/>
                <a:gd name="connsiteY0" fmla="*/ 3901440 h 3901440"/>
                <a:gd name="connsiteX1" fmla="*/ 1844040 w 2804160"/>
                <a:gd name="connsiteY1" fmla="*/ 2453640 h 3901440"/>
                <a:gd name="connsiteX2" fmla="*/ 2804160 w 2804160"/>
                <a:gd name="connsiteY2" fmla="*/ 0 h 39014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804160" h="3901440">
                  <a:moveTo>
                    <a:pt x="0" y="3901440"/>
                  </a:moveTo>
                  <a:cubicBezTo>
                    <a:pt x="688340" y="3502660"/>
                    <a:pt x="1376680" y="3103880"/>
                    <a:pt x="1844040" y="2453640"/>
                  </a:cubicBezTo>
                  <a:cubicBezTo>
                    <a:pt x="2311400" y="1803400"/>
                    <a:pt x="2557780" y="901700"/>
                    <a:pt x="2804160" y="0"/>
                  </a:cubicBezTo>
                </a:path>
              </a:pathLst>
            </a:custGeom>
            <a:noFill/>
            <a:ln w="25400" cap="flat" cmpd="sng" algn="ctr">
              <a:solidFill>
                <a:srgbClr val="FF0000"/>
              </a:solidFill>
              <a:prstDash val="solid"/>
              <a:tailEnd type="triangle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" lastClr="FFFFFF"/>
                </a:solidFill>
                <a:latin typeface="Calibri"/>
                <a:cs typeface="+mn-cs"/>
              </a:endParaRPr>
            </a:p>
          </p:txBody>
        </p:sp>
        <p:sp>
          <p:nvSpPr>
            <p:cNvPr id="73" name="Kombinationstegning 54"/>
            <p:cNvSpPr/>
            <p:nvPr/>
          </p:nvSpPr>
          <p:spPr>
            <a:xfrm>
              <a:off x="1084263" y="1463675"/>
              <a:ext cx="4356100" cy="3930650"/>
            </a:xfrm>
            <a:custGeom>
              <a:avLst/>
              <a:gdLst>
                <a:gd name="connsiteX0" fmla="*/ 27940 w 4356100"/>
                <a:gd name="connsiteY0" fmla="*/ 3931920 h 3931920"/>
                <a:gd name="connsiteX1" fmla="*/ 378460 w 4356100"/>
                <a:gd name="connsiteY1" fmla="*/ 2712720 h 3931920"/>
                <a:gd name="connsiteX2" fmla="*/ 2298700 w 4356100"/>
                <a:gd name="connsiteY2" fmla="*/ 2133600 h 3931920"/>
                <a:gd name="connsiteX3" fmla="*/ 3548380 w 4356100"/>
                <a:gd name="connsiteY3" fmla="*/ 792480 h 3931920"/>
                <a:gd name="connsiteX4" fmla="*/ 4356100 w 4356100"/>
                <a:gd name="connsiteY4" fmla="*/ 0 h 39319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356100" h="3931920">
                  <a:moveTo>
                    <a:pt x="27940" y="3931920"/>
                  </a:moveTo>
                  <a:cubicBezTo>
                    <a:pt x="13970" y="3472180"/>
                    <a:pt x="0" y="3012440"/>
                    <a:pt x="378460" y="2712720"/>
                  </a:cubicBezTo>
                  <a:cubicBezTo>
                    <a:pt x="756920" y="2413000"/>
                    <a:pt x="1770380" y="2453640"/>
                    <a:pt x="2298700" y="2133600"/>
                  </a:cubicBezTo>
                  <a:cubicBezTo>
                    <a:pt x="2827020" y="1813560"/>
                    <a:pt x="3205480" y="1148080"/>
                    <a:pt x="3548380" y="792480"/>
                  </a:cubicBezTo>
                  <a:cubicBezTo>
                    <a:pt x="3891280" y="436880"/>
                    <a:pt x="4123690" y="218440"/>
                    <a:pt x="4356100" y="0"/>
                  </a:cubicBezTo>
                </a:path>
              </a:pathLst>
            </a:custGeom>
            <a:noFill/>
            <a:ln w="25400" cap="flat" cmpd="sng" algn="ctr">
              <a:solidFill>
                <a:srgbClr val="FF0000"/>
              </a:solidFill>
              <a:prstDash val="sysDash"/>
              <a:tailEnd type="triangle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" lastClr="FFFFFF"/>
                </a:solidFill>
                <a:latin typeface="Calibri"/>
                <a:cs typeface="+mn-cs"/>
              </a:endParaRPr>
            </a:p>
          </p:txBody>
        </p:sp>
      </p:grpSp>
      <p:grpSp>
        <p:nvGrpSpPr>
          <p:cNvPr id="83" name="Gruppe 130"/>
          <p:cNvGrpSpPr>
            <a:grpSpLocks/>
          </p:cNvGrpSpPr>
          <p:nvPr/>
        </p:nvGrpSpPr>
        <p:grpSpPr bwMode="auto">
          <a:xfrm>
            <a:off x="1789889" y="5010566"/>
            <a:ext cx="573717" cy="572223"/>
            <a:chOff x="-2446697" y="642918"/>
            <a:chExt cx="3661446" cy="3643320"/>
          </a:xfrm>
        </p:grpSpPr>
        <p:sp>
          <p:nvSpPr>
            <p:cNvPr id="84" name="Freeform 225"/>
            <p:cNvSpPr>
              <a:spLocks/>
            </p:cNvSpPr>
            <p:nvPr/>
          </p:nvSpPr>
          <p:spPr bwMode="auto">
            <a:xfrm>
              <a:off x="550130" y="1579426"/>
              <a:ext cx="18126" cy="18126"/>
            </a:xfrm>
            <a:custGeom>
              <a:avLst/>
              <a:gdLst>
                <a:gd name="T0" fmla="*/ 2147483647 w 6"/>
                <a:gd name="T1" fmla="*/ 0 h 6"/>
                <a:gd name="T2" fmla="*/ 0 w 6"/>
                <a:gd name="T3" fmla="*/ 2147483647 h 6"/>
                <a:gd name="T4" fmla="*/ 2147483647 w 6"/>
                <a:gd name="T5" fmla="*/ 2147483647 h 6"/>
                <a:gd name="T6" fmla="*/ 2147483647 w 6"/>
                <a:gd name="T7" fmla="*/ 0 h 6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6"/>
                <a:gd name="T13" fmla="*/ 0 h 6"/>
                <a:gd name="T14" fmla="*/ 6 w 6"/>
                <a:gd name="T15" fmla="*/ 6 h 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6" h="6">
                  <a:moveTo>
                    <a:pt x="6" y="0"/>
                  </a:moveTo>
                  <a:lnTo>
                    <a:pt x="0" y="4"/>
                  </a:lnTo>
                  <a:lnTo>
                    <a:pt x="6" y="6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A1C6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latin typeface="Calibri" pitchFamily="-112" charset="0"/>
              </a:endParaRPr>
            </a:p>
          </p:txBody>
        </p:sp>
        <p:sp>
          <p:nvSpPr>
            <p:cNvPr id="85" name="Freeform 226"/>
            <p:cNvSpPr>
              <a:spLocks/>
            </p:cNvSpPr>
            <p:nvPr/>
          </p:nvSpPr>
          <p:spPr bwMode="auto">
            <a:xfrm>
              <a:off x="84897" y="1869442"/>
              <a:ext cx="205428" cy="72504"/>
            </a:xfrm>
            <a:custGeom>
              <a:avLst/>
              <a:gdLst>
                <a:gd name="T0" fmla="*/ 2147483647 w 68"/>
                <a:gd name="T1" fmla="*/ 2147483647 h 24"/>
                <a:gd name="T2" fmla="*/ 2147483647 w 68"/>
                <a:gd name="T3" fmla="*/ 2147483647 h 24"/>
                <a:gd name="T4" fmla="*/ 2147483647 w 68"/>
                <a:gd name="T5" fmla="*/ 0 h 24"/>
                <a:gd name="T6" fmla="*/ 2147483647 w 68"/>
                <a:gd name="T7" fmla="*/ 0 h 24"/>
                <a:gd name="T8" fmla="*/ 2147483647 w 68"/>
                <a:gd name="T9" fmla="*/ 2147483647 h 24"/>
                <a:gd name="T10" fmla="*/ 0 w 68"/>
                <a:gd name="T11" fmla="*/ 2147483647 h 24"/>
                <a:gd name="T12" fmla="*/ 0 w 68"/>
                <a:gd name="T13" fmla="*/ 2147483647 h 24"/>
                <a:gd name="T14" fmla="*/ 2147483647 w 68"/>
                <a:gd name="T15" fmla="*/ 2147483647 h 24"/>
                <a:gd name="T16" fmla="*/ 2147483647 w 68"/>
                <a:gd name="T17" fmla="*/ 2147483647 h 24"/>
                <a:gd name="T18" fmla="*/ 2147483647 w 68"/>
                <a:gd name="T19" fmla="*/ 2147483647 h 24"/>
                <a:gd name="T20" fmla="*/ 2147483647 w 68"/>
                <a:gd name="T21" fmla="*/ 2147483647 h 24"/>
                <a:gd name="T22" fmla="*/ 2147483647 w 68"/>
                <a:gd name="T23" fmla="*/ 2147483647 h 24"/>
                <a:gd name="T24" fmla="*/ 2147483647 w 68"/>
                <a:gd name="T25" fmla="*/ 2147483647 h 24"/>
                <a:gd name="T26" fmla="*/ 2147483647 w 68"/>
                <a:gd name="T27" fmla="*/ 2147483647 h 24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68"/>
                <a:gd name="T43" fmla="*/ 0 h 24"/>
                <a:gd name="T44" fmla="*/ 68 w 68"/>
                <a:gd name="T45" fmla="*/ 24 h 24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68" h="24">
                  <a:moveTo>
                    <a:pt x="38" y="8"/>
                  </a:moveTo>
                  <a:lnTo>
                    <a:pt x="38" y="6"/>
                  </a:lnTo>
                  <a:lnTo>
                    <a:pt x="38" y="0"/>
                  </a:lnTo>
                  <a:lnTo>
                    <a:pt x="24" y="0"/>
                  </a:lnTo>
                  <a:lnTo>
                    <a:pt x="8" y="8"/>
                  </a:lnTo>
                  <a:lnTo>
                    <a:pt x="0" y="12"/>
                  </a:lnTo>
                  <a:lnTo>
                    <a:pt x="0" y="24"/>
                  </a:lnTo>
                  <a:lnTo>
                    <a:pt x="22" y="18"/>
                  </a:lnTo>
                  <a:lnTo>
                    <a:pt x="38" y="24"/>
                  </a:lnTo>
                  <a:lnTo>
                    <a:pt x="54" y="24"/>
                  </a:lnTo>
                  <a:lnTo>
                    <a:pt x="68" y="18"/>
                  </a:lnTo>
                  <a:lnTo>
                    <a:pt x="44" y="12"/>
                  </a:lnTo>
                  <a:lnTo>
                    <a:pt x="54" y="2"/>
                  </a:lnTo>
                  <a:lnTo>
                    <a:pt x="38" y="8"/>
                  </a:lnTo>
                  <a:close/>
                </a:path>
              </a:pathLst>
            </a:custGeom>
            <a:solidFill>
              <a:srgbClr val="A1C6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latin typeface="Calibri" pitchFamily="-112" charset="0"/>
              </a:endParaRPr>
            </a:p>
          </p:txBody>
        </p:sp>
        <p:sp>
          <p:nvSpPr>
            <p:cNvPr id="86" name="Freeform 228"/>
            <p:cNvSpPr>
              <a:spLocks/>
            </p:cNvSpPr>
            <p:nvPr/>
          </p:nvSpPr>
          <p:spPr bwMode="auto">
            <a:xfrm>
              <a:off x="544088" y="1591510"/>
              <a:ext cx="6042" cy="6042"/>
            </a:xfrm>
            <a:custGeom>
              <a:avLst/>
              <a:gdLst>
                <a:gd name="T0" fmla="*/ 2147483647 w 2"/>
                <a:gd name="T1" fmla="*/ 0 h 2"/>
                <a:gd name="T2" fmla="*/ 0 w 2"/>
                <a:gd name="T3" fmla="*/ 0 h 2"/>
                <a:gd name="T4" fmla="*/ 0 w 2"/>
                <a:gd name="T5" fmla="*/ 2147483647 h 2"/>
                <a:gd name="T6" fmla="*/ 2147483647 w 2"/>
                <a:gd name="T7" fmla="*/ 0 h 2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"/>
                <a:gd name="T13" fmla="*/ 0 h 2"/>
                <a:gd name="T14" fmla="*/ 2 w 2"/>
                <a:gd name="T15" fmla="*/ 2 h 2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" h="2">
                  <a:moveTo>
                    <a:pt x="2" y="0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A1C6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latin typeface="Calibri" pitchFamily="-112" charset="0"/>
              </a:endParaRPr>
            </a:p>
          </p:txBody>
        </p:sp>
        <p:sp>
          <p:nvSpPr>
            <p:cNvPr id="87" name="Freeform 256"/>
            <p:cNvSpPr>
              <a:spLocks/>
            </p:cNvSpPr>
            <p:nvPr/>
          </p:nvSpPr>
          <p:spPr bwMode="auto">
            <a:xfrm>
              <a:off x="-138657" y="642918"/>
              <a:ext cx="610241" cy="827753"/>
            </a:xfrm>
            <a:custGeom>
              <a:avLst/>
              <a:gdLst>
                <a:gd name="T0" fmla="*/ 2147483647 w 202"/>
                <a:gd name="T1" fmla="*/ 2147483647 h 274"/>
                <a:gd name="T2" fmla="*/ 0 w 202"/>
                <a:gd name="T3" fmla="*/ 2147483647 h 274"/>
                <a:gd name="T4" fmla="*/ 0 w 202"/>
                <a:gd name="T5" fmla="*/ 2147483647 h 274"/>
                <a:gd name="T6" fmla="*/ 0 w 202"/>
                <a:gd name="T7" fmla="*/ 2147483647 h 274"/>
                <a:gd name="T8" fmla="*/ 2147483647 w 202"/>
                <a:gd name="T9" fmla="*/ 2147483647 h 274"/>
                <a:gd name="T10" fmla="*/ 2147483647 w 202"/>
                <a:gd name="T11" fmla="*/ 2147483647 h 274"/>
                <a:gd name="T12" fmla="*/ 2147483647 w 202"/>
                <a:gd name="T13" fmla="*/ 2147483647 h 274"/>
                <a:gd name="T14" fmla="*/ 2147483647 w 202"/>
                <a:gd name="T15" fmla="*/ 2147483647 h 274"/>
                <a:gd name="T16" fmla="*/ 2147483647 w 202"/>
                <a:gd name="T17" fmla="*/ 2147483647 h 274"/>
                <a:gd name="T18" fmla="*/ 2147483647 w 202"/>
                <a:gd name="T19" fmla="*/ 2147483647 h 274"/>
                <a:gd name="T20" fmla="*/ 2147483647 w 202"/>
                <a:gd name="T21" fmla="*/ 2147483647 h 274"/>
                <a:gd name="T22" fmla="*/ 2147483647 w 202"/>
                <a:gd name="T23" fmla="*/ 2147483647 h 274"/>
                <a:gd name="T24" fmla="*/ 2147483647 w 202"/>
                <a:gd name="T25" fmla="*/ 2147483647 h 274"/>
                <a:gd name="T26" fmla="*/ 2147483647 w 202"/>
                <a:gd name="T27" fmla="*/ 2147483647 h 274"/>
                <a:gd name="T28" fmla="*/ 2147483647 w 202"/>
                <a:gd name="T29" fmla="*/ 2147483647 h 274"/>
                <a:gd name="T30" fmla="*/ 2147483647 w 202"/>
                <a:gd name="T31" fmla="*/ 2147483647 h 274"/>
                <a:gd name="T32" fmla="*/ 2147483647 w 202"/>
                <a:gd name="T33" fmla="*/ 2147483647 h 274"/>
                <a:gd name="T34" fmla="*/ 2147483647 w 202"/>
                <a:gd name="T35" fmla="*/ 2147483647 h 274"/>
                <a:gd name="T36" fmla="*/ 2147483647 w 202"/>
                <a:gd name="T37" fmla="*/ 2147483647 h 274"/>
                <a:gd name="T38" fmla="*/ 2147483647 w 202"/>
                <a:gd name="T39" fmla="*/ 2147483647 h 274"/>
                <a:gd name="T40" fmla="*/ 2147483647 w 202"/>
                <a:gd name="T41" fmla="*/ 2147483647 h 274"/>
                <a:gd name="T42" fmla="*/ 2147483647 w 202"/>
                <a:gd name="T43" fmla="*/ 2147483647 h 274"/>
                <a:gd name="T44" fmla="*/ 2147483647 w 202"/>
                <a:gd name="T45" fmla="*/ 2147483647 h 274"/>
                <a:gd name="T46" fmla="*/ 2147483647 w 202"/>
                <a:gd name="T47" fmla="*/ 2147483647 h 274"/>
                <a:gd name="T48" fmla="*/ 2147483647 w 202"/>
                <a:gd name="T49" fmla="*/ 2147483647 h 274"/>
                <a:gd name="T50" fmla="*/ 2147483647 w 202"/>
                <a:gd name="T51" fmla="*/ 2147483647 h 274"/>
                <a:gd name="T52" fmla="*/ 2147483647 w 202"/>
                <a:gd name="T53" fmla="*/ 2147483647 h 274"/>
                <a:gd name="T54" fmla="*/ 2147483647 w 202"/>
                <a:gd name="T55" fmla="*/ 2147483647 h 274"/>
                <a:gd name="T56" fmla="*/ 2147483647 w 202"/>
                <a:gd name="T57" fmla="*/ 2147483647 h 274"/>
                <a:gd name="T58" fmla="*/ 2147483647 w 202"/>
                <a:gd name="T59" fmla="*/ 2147483647 h 274"/>
                <a:gd name="T60" fmla="*/ 2147483647 w 202"/>
                <a:gd name="T61" fmla="*/ 2147483647 h 274"/>
                <a:gd name="T62" fmla="*/ 2147483647 w 202"/>
                <a:gd name="T63" fmla="*/ 2147483647 h 274"/>
                <a:gd name="T64" fmla="*/ 2147483647 w 202"/>
                <a:gd name="T65" fmla="*/ 2147483647 h 274"/>
                <a:gd name="T66" fmla="*/ 2147483647 w 202"/>
                <a:gd name="T67" fmla="*/ 2147483647 h 274"/>
                <a:gd name="T68" fmla="*/ 2147483647 w 202"/>
                <a:gd name="T69" fmla="*/ 2147483647 h 274"/>
                <a:gd name="T70" fmla="*/ 2147483647 w 202"/>
                <a:gd name="T71" fmla="*/ 2147483647 h 274"/>
                <a:gd name="T72" fmla="*/ 2147483647 w 202"/>
                <a:gd name="T73" fmla="*/ 2147483647 h 274"/>
                <a:gd name="T74" fmla="*/ 2147483647 w 202"/>
                <a:gd name="T75" fmla="*/ 2147483647 h 274"/>
                <a:gd name="T76" fmla="*/ 2147483647 w 202"/>
                <a:gd name="T77" fmla="*/ 2147483647 h 274"/>
                <a:gd name="T78" fmla="*/ 2147483647 w 202"/>
                <a:gd name="T79" fmla="*/ 2147483647 h 274"/>
                <a:gd name="T80" fmla="*/ 2147483647 w 202"/>
                <a:gd name="T81" fmla="*/ 2147483647 h 274"/>
                <a:gd name="T82" fmla="*/ 2147483647 w 202"/>
                <a:gd name="T83" fmla="*/ 2147483647 h 274"/>
                <a:gd name="T84" fmla="*/ 2147483647 w 202"/>
                <a:gd name="T85" fmla="*/ 2147483647 h 274"/>
                <a:gd name="T86" fmla="*/ 2147483647 w 202"/>
                <a:gd name="T87" fmla="*/ 2147483647 h 274"/>
                <a:gd name="T88" fmla="*/ 2147483647 w 202"/>
                <a:gd name="T89" fmla="*/ 2147483647 h 274"/>
                <a:gd name="T90" fmla="*/ 2147483647 w 202"/>
                <a:gd name="T91" fmla="*/ 2147483647 h 274"/>
                <a:gd name="T92" fmla="*/ 2147483647 w 202"/>
                <a:gd name="T93" fmla="*/ 2147483647 h 274"/>
                <a:gd name="T94" fmla="*/ 2147483647 w 202"/>
                <a:gd name="T95" fmla="*/ 2147483647 h 274"/>
                <a:gd name="T96" fmla="*/ 2147483647 w 202"/>
                <a:gd name="T97" fmla="*/ 2147483647 h 274"/>
                <a:gd name="T98" fmla="*/ 2147483647 w 202"/>
                <a:gd name="T99" fmla="*/ 2147483647 h 274"/>
                <a:gd name="T100" fmla="*/ 2147483647 w 202"/>
                <a:gd name="T101" fmla="*/ 2147483647 h 274"/>
                <a:gd name="T102" fmla="*/ 2147483647 w 202"/>
                <a:gd name="T103" fmla="*/ 2147483647 h 274"/>
                <a:gd name="T104" fmla="*/ 2147483647 w 202"/>
                <a:gd name="T105" fmla="*/ 2147483647 h 274"/>
                <a:gd name="T106" fmla="*/ 2147483647 w 202"/>
                <a:gd name="T107" fmla="*/ 2147483647 h 274"/>
                <a:gd name="T108" fmla="*/ 2147483647 w 202"/>
                <a:gd name="T109" fmla="*/ 2147483647 h 274"/>
                <a:gd name="T110" fmla="*/ 2147483647 w 202"/>
                <a:gd name="T111" fmla="*/ 2147483647 h 274"/>
                <a:gd name="T112" fmla="*/ 2147483647 w 202"/>
                <a:gd name="T113" fmla="*/ 2147483647 h 274"/>
                <a:gd name="T114" fmla="*/ 2147483647 w 202"/>
                <a:gd name="T115" fmla="*/ 0 h 274"/>
                <a:gd name="T116" fmla="*/ 2147483647 w 202"/>
                <a:gd name="T117" fmla="*/ 2147483647 h 274"/>
                <a:gd name="T118" fmla="*/ 2147483647 w 202"/>
                <a:gd name="T119" fmla="*/ 2147483647 h 274"/>
                <a:gd name="T120" fmla="*/ 2147483647 w 202"/>
                <a:gd name="T121" fmla="*/ 2147483647 h 274"/>
                <a:gd name="T122" fmla="*/ 2147483647 w 202"/>
                <a:gd name="T123" fmla="*/ 2147483647 h 274"/>
                <a:gd name="T124" fmla="*/ 2147483647 w 202"/>
                <a:gd name="T125" fmla="*/ 2147483647 h 274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202"/>
                <a:gd name="T190" fmla="*/ 0 h 274"/>
                <a:gd name="T191" fmla="*/ 202 w 202"/>
                <a:gd name="T192" fmla="*/ 274 h 274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202" h="274">
                  <a:moveTo>
                    <a:pt x="6" y="46"/>
                  </a:moveTo>
                  <a:lnTo>
                    <a:pt x="4" y="50"/>
                  </a:lnTo>
                  <a:lnTo>
                    <a:pt x="2" y="52"/>
                  </a:lnTo>
                  <a:lnTo>
                    <a:pt x="0" y="58"/>
                  </a:lnTo>
                  <a:lnTo>
                    <a:pt x="0" y="62"/>
                  </a:lnTo>
                  <a:lnTo>
                    <a:pt x="0" y="64"/>
                  </a:lnTo>
                  <a:lnTo>
                    <a:pt x="0" y="68"/>
                  </a:lnTo>
                  <a:lnTo>
                    <a:pt x="0" y="72"/>
                  </a:lnTo>
                  <a:lnTo>
                    <a:pt x="2" y="74"/>
                  </a:lnTo>
                  <a:lnTo>
                    <a:pt x="2" y="78"/>
                  </a:lnTo>
                  <a:lnTo>
                    <a:pt x="4" y="80"/>
                  </a:lnTo>
                  <a:lnTo>
                    <a:pt x="8" y="84"/>
                  </a:lnTo>
                  <a:lnTo>
                    <a:pt x="12" y="86"/>
                  </a:lnTo>
                  <a:lnTo>
                    <a:pt x="14" y="88"/>
                  </a:lnTo>
                  <a:lnTo>
                    <a:pt x="14" y="90"/>
                  </a:lnTo>
                  <a:lnTo>
                    <a:pt x="16" y="94"/>
                  </a:lnTo>
                  <a:lnTo>
                    <a:pt x="12" y="114"/>
                  </a:lnTo>
                  <a:lnTo>
                    <a:pt x="12" y="118"/>
                  </a:lnTo>
                  <a:lnTo>
                    <a:pt x="10" y="120"/>
                  </a:lnTo>
                  <a:lnTo>
                    <a:pt x="10" y="124"/>
                  </a:lnTo>
                  <a:lnTo>
                    <a:pt x="10" y="126"/>
                  </a:lnTo>
                  <a:lnTo>
                    <a:pt x="10" y="130"/>
                  </a:lnTo>
                  <a:lnTo>
                    <a:pt x="10" y="132"/>
                  </a:lnTo>
                  <a:lnTo>
                    <a:pt x="12" y="136"/>
                  </a:lnTo>
                  <a:lnTo>
                    <a:pt x="14" y="140"/>
                  </a:lnTo>
                  <a:lnTo>
                    <a:pt x="14" y="144"/>
                  </a:lnTo>
                  <a:lnTo>
                    <a:pt x="14" y="146"/>
                  </a:lnTo>
                  <a:lnTo>
                    <a:pt x="14" y="150"/>
                  </a:lnTo>
                  <a:lnTo>
                    <a:pt x="8" y="164"/>
                  </a:lnTo>
                  <a:lnTo>
                    <a:pt x="8" y="168"/>
                  </a:lnTo>
                  <a:lnTo>
                    <a:pt x="6" y="176"/>
                  </a:lnTo>
                  <a:lnTo>
                    <a:pt x="6" y="180"/>
                  </a:lnTo>
                  <a:lnTo>
                    <a:pt x="10" y="182"/>
                  </a:lnTo>
                  <a:lnTo>
                    <a:pt x="12" y="182"/>
                  </a:lnTo>
                  <a:lnTo>
                    <a:pt x="16" y="184"/>
                  </a:lnTo>
                  <a:lnTo>
                    <a:pt x="18" y="184"/>
                  </a:lnTo>
                  <a:lnTo>
                    <a:pt x="22" y="186"/>
                  </a:lnTo>
                  <a:lnTo>
                    <a:pt x="22" y="192"/>
                  </a:lnTo>
                  <a:lnTo>
                    <a:pt x="24" y="196"/>
                  </a:lnTo>
                  <a:lnTo>
                    <a:pt x="24" y="198"/>
                  </a:lnTo>
                  <a:lnTo>
                    <a:pt x="26" y="200"/>
                  </a:lnTo>
                  <a:lnTo>
                    <a:pt x="26" y="204"/>
                  </a:lnTo>
                  <a:lnTo>
                    <a:pt x="26" y="206"/>
                  </a:lnTo>
                  <a:lnTo>
                    <a:pt x="28" y="210"/>
                  </a:lnTo>
                  <a:lnTo>
                    <a:pt x="32" y="214"/>
                  </a:lnTo>
                  <a:lnTo>
                    <a:pt x="34" y="218"/>
                  </a:lnTo>
                  <a:lnTo>
                    <a:pt x="34" y="220"/>
                  </a:lnTo>
                  <a:lnTo>
                    <a:pt x="36" y="224"/>
                  </a:lnTo>
                  <a:lnTo>
                    <a:pt x="36" y="228"/>
                  </a:lnTo>
                  <a:lnTo>
                    <a:pt x="36" y="232"/>
                  </a:lnTo>
                  <a:lnTo>
                    <a:pt x="36" y="234"/>
                  </a:lnTo>
                  <a:lnTo>
                    <a:pt x="38" y="238"/>
                  </a:lnTo>
                  <a:lnTo>
                    <a:pt x="40" y="240"/>
                  </a:lnTo>
                  <a:lnTo>
                    <a:pt x="46" y="244"/>
                  </a:lnTo>
                  <a:lnTo>
                    <a:pt x="50" y="244"/>
                  </a:lnTo>
                  <a:lnTo>
                    <a:pt x="54" y="244"/>
                  </a:lnTo>
                  <a:lnTo>
                    <a:pt x="64" y="244"/>
                  </a:lnTo>
                  <a:lnTo>
                    <a:pt x="68" y="244"/>
                  </a:lnTo>
                  <a:lnTo>
                    <a:pt x="72" y="244"/>
                  </a:lnTo>
                  <a:lnTo>
                    <a:pt x="76" y="242"/>
                  </a:lnTo>
                  <a:lnTo>
                    <a:pt x="80" y="242"/>
                  </a:lnTo>
                  <a:lnTo>
                    <a:pt x="86" y="242"/>
                  </a:lnTo>
                  <a:lnTo>
                    <a:pt x="90" y="242"/>
                  </a:lnTo>
                  <a:lnTo>
                    <a:pt x="92" y="244"/>
                  </a:lnTo>
                  <a:lnTo>
                    <a:pt x="94" y="244"/>
                  </a:lnTo>
                  <a:lnTo>
                    <a:pt x="96" y="248"/>
                  </a:lnTo>
                  <a:lnTo>
                    <a:pt x="104" y="266"/>
                  </a:lnTo>
                  <a:lnTo>
                    <a:pt x="106" y="270"/>
                  </a:lnTo>
                  <a:lnTo>
                    <a:pt x="106" y="274"/>
                  </a:lnTo>
                  <a:lnTo>
                    <a:pt x="108" y="274"/>
                  </a:lnTo>
                  <a:lnTo>
                    <a:pt x="110" y="274"/>
                  </a:lnTo>
                  <a:lnTo>
                    <a:pt x="144" y="256"/>
                  </a:lnTo>
                  <a:lnTo>
                    <a:pt x="152" y="250"/>
                  </a:lnTo>
                  <a:lnTo>
                    <a:pt x="160" y="244"/>
                  </a:lnTo>
                  <a:lnTo>
                    <a:pt x="178" y="226"/>
                  </a:lnTo>
                  <a:lnTo>
                    <a:pt x="180" y="222"/>
                  </a:lnTo>
                  <a:lnTo>
                    <a:pt x="188" y="210"/>
                  </a:lnTo>
                  <a:lnTo>
                    <a:pt x="190" y="206"/>
                  </a:lnTo>
                  <a:lnTo>
                    <a:pt x="192" y="202"/>
                  </a:lnTo>
                  <a:lnTo>
                    <a:pt x="192" y="198"/>
                  </a:lnTo>
                  <a:lnTo>
                    <a:pt x="192" y="196"/>
                  </a:lnTo>
                  <a:lnTo>
                    <a:pt x="192" y="192"/>
                  </a:lnTo>
                  <a:lnTo>
                    <a:pt x="192" y="182"/>
                  </a:lnTo>
                  <a:lnTo>
                    <a:pt x="190" y="178"/>
                  </a:lnTo>
                  <a:lnTo>
                    <a:pt x="190" y="166"/>
                  </a:lnTo>
                  <a:lnTo>
                    <a:pt x="190" y="156"/>
                  </a:lnTo>
                  <a:lnTo>
                    <a:pt x="192" y="150"/>
                  </a:lnTo>
                  <a:lnTo>
                    <a:pt x="198" y="136"/>
                  </a:lnTo>
                  <a:lnTo>
                    <a:pt x="200" y="132"/>
                  </a:lnTo>
                  <a:lnTo>
                    <a:pt x="202" y="118"/>
                  </a:lnTo>
                  <a:lnTo>
                    <a:pt x="202" y="114"/>
                  </a:lnTo>
                  <a:lnTo>
                    <a:pt x="196" y="72"/>
                  </a:lnTo>
                  <a:lnTo>
                    <a:pt x="196" y="68"/>
                  </a:lnTo>
                  <a:lnTo>
                    <a:pt x="192" y="60"/>
                  </a:lnTo>
                  <a:lnTo>
                    <a:pt x="186" y="46"/>
                  </a:lnTo>
                  <a:lnTo>
                    <a:pt x="174" y="28"/>
                  </a:lnTo>
                  <a:lnTo>
                    <a:pt x="166" y="20"/>
                  </a:lnTo>
                  <a:lnTo>
                    <a:pt x="158" y="14"/>
                  </a:lnTo>
                  <a:lnTo>
                    <a:pt x="154" y="12"/>
                  </a:lnTo>
                  <a:lnTo>
                    <a:pt x="150" y="10"/>
                  </a:lnTo>
                  <a:lnTo>
                    <a:pt x="146" y="10"/>
                  </a:lnTo>
                  <a:lnTo>
                    <a:pt x="142" y="8"/>
                  </a:lnTo>
                  <a:lnTo>
                    <a:pt x="140" y="6"/>
                  </a:lnTo>
                  <a:lnTo>
                    <a:pt x="136" y="4"/>
                  </a:lnTo>
                  <a:lnTo>
                    <a:pt x="132" y="2"/>
                  </a:lnTo>
                  <a:lnTo>
                    <a:pt x="128" y="2"/>
                  </a:lnTo>
                  <a:lnTo>
                    <a:pt x="112" y="0"/>
                  </a:lnTo>
                  <a:lnTo>
                    <a:pt x="102" y="0"/>
                  </a:lnTo>
                  <a:lnTo>
                    <a:pt x="88" y="2"/>
                  </a:lnTo>
                  <a:lnTo>
                    <a:pt x="74" y="8"/>
                  </a:lnTo>
                  <a:lnTo>
                    <a:pt x="56" y="14"/>
                  </a:lnTo>
                  <a:lnTo>
                    <a:pt x="46" y="20"/>
                  </a:lnTo>
                  <a:lnTo>
                    <a:pt x="42" y="22"/>
                  </a:lnTo>
                  <a:lnTo>
                    <a:pt x="36" y="26"/>
                  </a:lnTo>
                  <a:lnTo>
                    <a:pt x="34" y="28"/>
                  </a:lnTo>
                  <a:lnTo>
                    <a:pt x="26" y="34"/>
                  </a:lnTo>
                  <a:lnTo>
                    <a:pt x="24" y="36"/>
                  </a:lnTo>
                  <a:lnTo>
                    <a:pt x="16" y="40"/>
                  </a:lnTo>
                  <a:lnTo>
                    <a:pt x="6" y="4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latin typeface="Calibri" pitchFamily="-112" charset="0"/>
              </a:endParaRPr>
            </a:p>
          </p:txBody>
        </p:sp>
        <p:sp>
          <p:nvSpPr>
            <p:cNvPr id="88" name="Freeform 257"/>
            <p:cNvSpPr>
              <a:spLocks/>
            </p:cNvSpPr>
            <p:nvPr/>
          </p:nvSpPr>
          <p:spPr bwMode="auto">
            <a:xfrm>
              <a:off x="-289706" y="1247117"/>
              <a:ext cx="1226524" cy="2422838"/>
            </a:xfrm>
            <a:custGeom>
              <a:avLst/>
              <a:gdLst>
                <a:gd name="T0" fmla="*/ 2147483647 w 406"/>
                <a:gd name="T1" fmla="*/ 2147483647 h 802"/>
                <a:gd name="T2" fmla="*/ 2147483647 w 406"/>
                <a:gd name="T3" fmla="*/ 2147483647 h 802"/>
                <a:gd name="T4" fmla="*/ 2147483647 w 406"/>
                <a:gd name="T5" fmla="*/ 0 h 802"/>
                <a:gd name="T6" fmla="*/ 2147483647 w 406"/>
                <a:gd name="T7" fmla="*/ 2147483647 h 802"/>
                <a:gd name="T8" fmla="*/ 2147483647 w 406"/>
                <a:gd name="T9" fmla="*/ 2147483647 h 802"/>
                <a:gd name="T10" fmla="*/ 2147483647 w 406"/>
                <a:gd name="T11" fmla="*/ 2147483647 h 802"/>
                <a:gd name="T12" fmla="*/ 2147483647 w 406"/>
                <a:gd name="T13" fmla="*/ 2147483647 h 802"/>
                <a:gd name="T14" fmla="*/ 2147483647 w 406"/>
                <a:gd name="T15" fmla="*/ 2147483647 h 802"/>
                <a:gd name="T16" fmla="*/ 2147483647 w 406"/>
                <a:gd name="T17" fmla="*/ 2147483647 h 802"/>
                <a:gd name="T18" fmla="*/ 2147483647 w 406"/>
                <a:gd name="T19" fmla="*/ 2147483647 h 802"/>
                <a:gd name="T20" fmla="*/ 2147483647 w 406"/>
                <a:gd name="T21" fmla="*/ 2147483647 h 802"/>
                <a:gd name="T22" fmla="*/ 2147483647 w 406"/>
                <a:gd name="T23" fmla="*/ 2147483647 h 802"/>
                <a:gd name="T24" fmla="*/ 2147483647 w 406"/>
                <a:gd name="T25" fmla="*/ 2147483647 h 802"/>
                <a:gd name="T26" fmla="*/ 2147483647 w 406"/>
                <a:gd name="T27" fmla="*/ 2147483647 h 802"/>
                <a:gd name="T28" fmla="*/ 2147483647 w 406"/>
                <a:gd name="T29" fmla="*/ 2147483647 h 802"/>
                <a:gd name="T30" fmla="*/ 2147483647 w 406"/>
                <a:gd name="T31" fmla="*/ 2147483647 h 802"/>
                <a:gd name="T32" fmla="*/ 2147483647 w 406"/>
                <a:gd name="T33" fmla="*/ 2147483647 h 802"/>
                <a:gd name="T34" fmla="*/ 2147483647 w 406"/>
                <a:gd name="T35" fmla="*/ 2147483647 h 802"/>
                <a:gd name="T36" fmla="*/ 2147483647 w 406"/>
                <a:gd name="T37" fmla="*/ 2147483647 h 802"/>
                <a:gd name="T38" fmla="*/ 2147483647 w 406"/>
                <a:gd name="T39" fmla="*/ 2147483647 h 802"/>
                <a:gd name="T40" fmla="*/ 2147483647 w 406"/>
                <a:gd name="T41" fmla="*/ 2147483647 h 802"/>
                <a:gd name="T42" fmla="*/ 2147483647 w 406"/>
                <a:gd name="T43" fmla="*/ 2147483647 h 802"/>
                <a:gd name="T44" fmla="*/ 0 w 406"/>
                <a:gd name="T45" fmla="*/ 2147483647 h 802"/>
                <a:gd name="T46" fmla="*/ 2147483647 w 406"/>
                <a:gd name="T47" fmla="*/ 2147483647 h 802"/>
                <a:gd name="T48" fmla="*/ 2147483647 w 406"/>
                <a:gd name="T49" fmla="*/ 2147483647 h 802"/>
                <a:gd name="T50" fmla="*/ 2147483647 w 406"/>
                <a:gd name="T51" fmla="*/ 2147483647 h 802"/>
                <a:gd name="T52" fmla="*/ 2147483647 w 406"/>
                <a:gd name="T53" fmla="*/ 2147483647 h 802"/>
                <a:gd name="T54" fmla="*/ 2147483647 w 406"/>
                <a:gd name="T55" fmla="*/ 2147483647 h 802"/>
                <a:gd name="T56" fmla="*/ 2147483647 w 406"/>
                <a:gd name="T57" fmla="*/ 2147483647 h 802"/>
                <a:gd name="T58" fmla="*/ 2147483647 w 406"/>
                <a:gd name="T59" fmla="*/ 2147483647 h 802"/>
                <a:gd name="T60" fmla="*/ 2147483647 w 406"/>
                <a:gd name="T61" fmla="*/ 2147483647 h 802"/>
                <a:gd name="T62" fmla="*/ 2147483647 w 406"/>
                <a:gd name="T63" fmla="*/ 2147483647 h 802"/>
                <a:gd name="T64" fmla="*/ 2147483647 w 406"/>
                <a:gd name="T65" fmla="*/ 2147483647 h 802"/>
                <a:gd name="T66" fmla="*/ 2147483647 w 406"/>
                <a:gd name="T67" fmla="*/ 2147483647 h 802"/>
                <a:gd name="T68" fmla="*/ 2147483647 w 406"/>
                <a:gd name="T69" fmla="*/ 2147483647 h 802"/>
                <a:gd name="T70" fmla="*/ 2147483647 w 406"/>
                <a:gd name="T71" fmla="*/ 2147483647 h 802"/>
                <a:gd name="T72" fmla="*/ 2147483647 w 406"/>
                <a:gd name="T73" fmla="*/ 2147483647 h 802"/>
                <a:gd name="T74" fmla="*/ 2147483647 w 406"/>
                <a:gd name="T75" fmla="*/ 2147483647 h 802"/>
                <a:gd name="T76" fmla="*/ 2147483647 w 406"/>
                <a:gd name="T77" fmla="*/ 2147483647 h 802"/>
                <a:gd name="T78" fmla="*/ 2147483647 w 406"/>
                <a:gd name="T79" fmla="*/ 2147483647 h 802"/>
                <a:gd name="T80" fmla="*/ 2147483647 w 406"/>
                <a:gd name="T81" fmla="*/ 2147483647 h 802"/>
                <a:gd name="T82" fmla="*/ 2147483647 w 406"/>
                <a:gd name="T83" fmla="*/ 2147483647 h 802"/>
                <a:gd name="T84" fmla="*/ 2147483647 w 406"/>
                <a:gd name="T85" fmla="*/ 2147483647 h 802"/>
                <a:gd name="T86" fmla="*/ 2147483647 w 406"/>
                <a:gd name="T87" fmla="*/ 2147483647 h 802"/>
                <a:gd name="T88" fmla="*/ 2147483647 w 406"/>
                <a:gd name="T89" fmla="*/ 2147483647 h 802"/>
                <a:gd name="T90" fmla="*/ 2147483647 w 406"/>
                <a:gd name="T91" fmla="*/ 2147483647 h 802"/>
                <a:gd name="T92" fmla="*/ 2147483647 w 406"/>
                <a:gd name="T93" fmla="*/ 2147483647 h 802"/>
                <a:gd name="T94" fmla="*/ 2147483647 w 406"/>
                <a:gd name="T95" fmla="*/ 2147483647 h 802"/>
                <a:gd name="T96" fmla="*/ 2147483647 w 406"/>
                <a:gd name="T97" fmla="*/ 2147483647 h 802"/>
                <a:gd name="T98" fmla="*/ 2147483647 w 406"/>
                <a:gd name="T99" fmla="*/ 2147483647 h 802"/>
                <a:gd name="T100" fmla="*/ 2147483647 w 406"/>
                <a:gd name="T101" fmla="*/ 2147483647 h 802"/>
                <a:gd name="T102" fmla="*/ 2147483647 w 406"/>
                <a:gd name="T103" fmla="*/ 2147483647 h 80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406"/>
                <a:gd name="T157" fmla="*/ 0 h 802"/>
                <a:gd name="T158" fmla="*/ 406 w 406"/>
                <a:gd name="T159" fmla="*/ 802 h 80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406" h="802">
                  <a:moveTo>
                    <a:pt x="254" y="16"/>
                  </a:moveTo>
                  <a:lnTo>
                    <a:pt x="254" y="16"/>
                  </a:lnTo>
                  <a:lnTo>
                    <a:pt x="248" y="12"/>
                  </a:lnTo>
                  <a:lnTo>
                    <a:pt x="246" y="10"/>
                  </a:lnTo>
                  <a:lnTo>
                    <a:pt x="242" y="8"/>
                  </a:lnTo>
                  <a:lnTo>
                    <a:pt x="238" y="4"/>
                  </a:lnTo>
                  <a:lnTo>
                    <a:pt x="238" y="2"/>
                  </a:lnTo>
                  <a:lnTo>
                    <a:pt x="240" y="0"/>
                  </a:lnTo>
                  <a:lnTo>
                    <a:pt x="236" y="2"/>
                  </a:lnTo>
                  <a:lnTo>
                    <a:pt x="214" y="14"/>
                  </a:lnTo>
                  <a:lnTo>
                    <a:pt x="210" y="16"/>
                  </a:lnTo>
                  <a:lnTo>
                    <a:pt x="188" y="38"/>
                  </a:lnTo>
                  <a:lnTo>
                    <a:pt x="184" y="42"/>
                  </a:lnTo>
                  <a:lnTo>
                    <a:pt x="172" y="54"/>
                  </a:lnTo>
                  <a:lnTo>
                    <a:pt x="170" y="58"/>
                  </a:lnTo>
                  <a:lnTo>
                    <a:pt x="158" y="66"/>
                  </a:lnTo>
                  <a:lnTo>
                    <a:pt x="154" y="70"/>
                  </a:lnTo>
                  <a:lnTo>
                    <a:pt x="150" y="76"/>
                  </a:lnTo>
                  <a:lnTo>
                    <a:pt x="150" y="80"/>
                  </a:lnTo>
                  <a:lnTo>
                    <a:pt x="148" y="90"/>
                  </a:lnTo>
                  <a:lnTo>
                    <a:pt x="146" y="94"/>
                  </a:lnTo>
                  <a:lnTo>
                    <a:pt x="142" y="98"/>
                  </a:lnTo>
                  <a:lnTo>
                    <a:pt x="140" y="102"/>
                  </a:lnTo>
                  <a:lnTo>
                    <a:pt x="138" y="108"/>
                  </a:lnTo>
                  <a:lnTo>
                    <a:pt x="136" y="112"/>
                  </a:lnTo>
                  <a:lnTo>
                    <a:pt x="128" y="128"/>
                  </a:lnTo>
                  <a:lnTo>
                    <a:pt x="126" y="132"/>
                  </a:lnTo>
                  <a:lnTo>
                    <a:pt x="114" y="160"/>
                  </a:lnTo>
                  <a:lnTo>
                    <a:pt x="114" y="164"/>
                  </a:lnTo>
                  <a:lnTo>
                    <a:pt x="98" y="188"/>
                  </a:lnTo>
                  <a:lnTo>
                    <a:pt x="96" y="190"/>
                  </a:lnTo>
                  <a:lnTo>
                    <a:pt x="86" y="230"/>
                  </a:lnTo>
                  <a:lnTo>
                    <a:pt x="74" y="282"/>
                  </a:lnTo>
                  <a:lnTo>
                    <a:pt x="68" y="304"/>
                  </a:lnTo>
                  <a:lnTo>
                    <a:pt x="64" y="318"/>
                  </a:lnTo>
                  <a:lnTo>
                    <a:pt x="58" y="332"/>
                  </a:lnTo>
                  <a:lnTo>
                    <a:pt x="54" y="344"/>
                  </a:lnTo>
                  <a:lnTo>
                    <a:pt x="48" y="380"/>
                  </a:lnTo>
                  <a:lnTo>
                    <a:pt x="48" y="384"/>
                  </a:lnTo>
                  <a:lnTo>
                    <a:pt x="32" y="450"/>
                  </a:lnTo>
                  <a:lnTo>
                    <a:pt x="32" y="454"/>
                  </a:lnTo>
                  <a:lnTo>
                    <a:pt x="38" y="494"/>
                  </a:lnTo>
                  <a:lnTo>
                    <a:pt x="38" y="498"/>
                  </a:lnTo>
                  <a:lnTo>
                    <a:pt x="34" y="510"/>
                  </a:lnTo>
                  <a:lnTo>
                    <a:pt x="32" y="514"/>
                  </a:lnTo>
                  <a:lnTo>
                    <a:pt x="30" y="538"/>
                  </a:lnTo>
                  <a:lnTo>
                    <a:pt x="30" y="542"/>
                  </a:lnTo>
                  <a:lnTo>
                    <a:pt x="26" y="600"/>
                  </a:lnTo>
                  <a:lnTo>
                    <a:pt x="26" y="604"/>
                  </a:lnTo>
                  <a:lnTo>
                    <a:pt x="20" y="646"/>
                  </a:lnTo>
                  <a:lnTo>
                    <a:pt x="20" y="650"/>
                  </a:lnTo>
                  <a:lnTo>
                    <a:pt x="10" y="712"/>
                  </a:lnTo>
                  <a:lnTo>
                    <a:pt x="10" y="716"/>
                  </a:lnTo>
                  <a:lnTo>
                    <a:pt x="10" y="728"/>
                  </a:lnTo>
                  <a:lnTo>
                    <a:pt x="8" y="732"/>
                  </a:lnTo>
                  <a:lnTo>
                    <a:pt x="6" y="742"/>
                  </a:lnTo>
                  <a:lnTo>
                    <a:pt x="4" y="746"/>
                  </a:lnTo>
                  <a:lnTo>
                    <a:pt x="2" y="764"/>
                  </a:lnTo>
                  <a:lnTo>
                    <a:pt x="2" y="768"/>
                  </a:lnTo>
                  <a:lnTo>
                    <a:pt x="0" y="778"/>
                  </a:lnTo>
                  <a:lnTo>
                    <a:pt x="0" y="782"/>
                  </a:lnTo>
                  <a:lnTo>
                    <a:pt x="4" y="790"/>
                  </a:lnTo>
                  <a:lnTo>
                    <a:pt x="8" y="792"/>
                  </a:lnTo>
                  <a:lnTo>
                    <a:pt x="58" y="792"/>
                  </a:lnTo>
                  <a:lnTo>
                    <a:pt x="62" y="792"/>
                  </a:lnTo>
                  <a:lnTo>
                    <a:pt x="68" y="792"/>
                  </a:lnTo>
                  <a:lnTo>
                    <a:pt x="82" y="790"/>
                  </a:lnTo>
                  <a:lnTo>
                    <a:pt x="90" y="792"/>
                  </a:lnTo>
                  <a:lnTo>
                    <a:pt x="96" y="792"/>
                  </a:lnTo>
                  <a:lnTo>
                    <a:pt x="102" y="796"/>
                  </a:lnTo>
                  <a:lnTo>
                    <a:pt x="102" y="800"/>
                  </a:lnTo>
                  <a:lnTo>
                    <a:pt x="106" y="802"/>
                  </a:lnTo>
                  <a:lnTo>
                    <a:pt x="114" y="802"/>
                  </a:lnTo>
                  <a:lnTo>
                    <a:pt x="138" y="800"/>
                  </a:lnTo>
                  <a:lnTo>
                    <a:pt x="178" y="794"/>
                  </a:lnTo>
                  <a:lnTo>
                    <a:pt x="252" y="784"/>
                  </a:lnTo>
                  <a:lnTo>
                    <a:pt x="256" y="782"/>
                  </a:lnTo>
                  <a:lnTo>
                    <a:pt x="268" y="780"/>
                  </a:lnTo>
                  <a:lnTo>
                    <a:pt x="272" y="780"/>
                  </a:lnTo>
                  <a:lnTo>
                    <a:pt x="282" y="780"/>
                  </a:lnTo>
                  <a:lnTo>
                    <a:pt x="286" y="780"/>
                  </a:lnTo>
                  <a:lnTo>
                    <a:pt x="304" y="780"/>
                  </a:lnTo>
                  <a:lnTo>
                    <a:pt x="308" y="780"/>
                  </a:lnTo>
                  <a:lnTo>
                    <a:pt x="322" y="780"/>
                  </a:lnTo>
                  <a:lnTo>
                    <a:pt x="326" y="778"/>
                  </a:lnTo>
                  <a:lnTo>
                    <a:pt x="334" y="776"/>
                  </a:lnTo>
                  <a:lnTo>
                    <a:pt x="338" y="776"/>
                  </a:lnTo>
                  <a:lnTo>
                    <a:pt x="346" y="774"/>
                  </a:lnTo>
                  <a:lnTo>
                    <a:pt x="350" y="772"/>
                  </a:lnTo>
                  <a:lnTo>
                    <a:pt x="354" y="772"/>
                  </a:lnTo>
                  <a:lnTo>
                    <a:pt x="358" y="772"/>
                  </a:lnTo>
                  <a:lnTo>
                    <a:pt x="376" y="770"/>
                  </a:lnTo>
                  <a:lnTo>
                    <a:pt x="380" y="768"/>
                  </a:lnTo>
                  <a:lnTo>
                    <a:pt x="396" y="766"/>
                  </a:lnTo>
                  <a:lnTo>
                    <a:pt x="398" y="764"/>
                  </a:lnTo>
                  <a:lnTo>
                    <a:pt x="390" y="662"/>
                  </a:lnTo>
                  <a:lnTo>
                    <a:pt x="384" y="580"/>
                  </a:lnTo>
                  <a:lnTo>
                    <a:pt x="380" y="546"/>
                  </a:lnTo>
                  <a:lnTo>
                    <a:pt x="376" y="522"/>
                  </a:lnTo>
                  <a:lnTo>
                    <a:pt x="370" y="508"/>
                  </a:lnTo>
                  <a:lnTo>
                    <a:pt x="370" y="504"/>
                  </a:lnTo>
                  <a:lnTo>
                    <a:pt x="374" y="484"/>
                  </a:lnTo>
                  <a:lnTo>
                    <a:pt x="374" y="480"/>
                  </a:lnTo>
                  <a:lnTo>
                    <a:pt x="382" y="450"/>
                  </a:lnTo>
                  <a:lnTo>
                    <a:pt x="382" y="446"/>
                  </a:lnTo>
                  <a:lnTo>
                    <a:pt x="382" y="434"/>
                  </a:lnTo>
                  <a:lnTo>
                    <a:pt x="382" y="430"/>
                  </a:lnTo>
                  <a:lnTo>
                    <a:pt x="384" y="414"/>
                  </a:lnTo>
                  <a:lnTo>
                    <a:pt x="384" y="410"/>
                  </a:lnTo>
                  <a:lnTo>
                    <a:pt x="386" y="390"/>
                  </a:lnTo>
                  <a:lnTo>
                    <a:pt x="386" y="386"/>
                  </a:lnTo>
                  <a:lnTo>
                    <a:pt x="386" y="376"/>
                  </a:lnTo>
                  <a:lnTo>
                    <a:pt x="386" y="372"/>
                  </a:lnTo>
                  <a:lnTo>
                    <a:pt x="386" y="364"/>
                  </a:lnTo>
                  <a:lnTo>
                    <a:pt x="386" y="360"/>
                  </a:lnTo>
                  <a:lnTo>
                    <a:pt x="386" y="356"/>
                  </a:lnTo>
                  <a:lnTo>
                    <a:pt x="386" y="352"/>
                  </a:lnTo>
                  <a:lnTo>
                    <a:pt x="388" y="340"/>
                  </a:lnTo>
                  <a:lnTo>
                    <a:pt x="390" y="336"/>
                  </a:lnTo>
                  <a:lnTo>
                    <a:pt x="396" y="322"/>
                  </a:lnTo>
                  <a:lnTo>
                    <a:pt x="398" y="318"/>
                  </a:lnTo>
                  <a:lnTo>
                    <a:pt x="402" y="300"/>
                  </a:lnTo>
                  <a:lnTo>
                    <a:pt x="406" y="278"/>
                  </a:lnTo>
                  <a:lnTo>
                    <a:pt x="406" y="244"/>
                  </a:lnTo>
                  <a:lnTo>
                    <a:pt x="406" y="214"/>
                  </a:lnTo>
                  <a:lnTo>
                    <a:pt x="402" y="184"/>
                  </a:lnTo>
                  <a:lnTo>
                    <a:pt x="396" y="172"/>
                  </a:lnTo>
                  <a:lnTo>
                    <a:pt x="394" y="168"/>
                  </a:lnTo>
                  <a:lnTo>
                    <a:pt x="390" y="150"/>
                  </a:lnTo>
                  <a:lnTo>
                    <a:pt x="388" y="146"/>
                  </a:lnTo>
                  <a:lnTo>
                    <a:pt x="382" y="126"/>
                  </a:lnTo>
                  <a:lnTo>
                    <a:pt x="380" y="122"/>
                  </a:lnTo>
                  <a:lnTo>
                    <a:pt x="376" y="116"/>
                  </a:lnTo>
                  <a:lnTo>
                    <a:pt x="366" y="102"/>
                  </a:lnTo>
                  <a:lnTo>
                    <a:pt x="352" y="84"/>
                  </a:lnTo>
                  <a:lnTo>
                    <a:pt x="344" y="78"/>
                  </a:lnTo>
                  <a:lnTo>
                    <a:pt x="334" y="70"/>
                  </a:lnTo>
                  <a:lnTo>
                    <a:pt x="306" y="52"/>
                  </a:lnTo>
                  <a:lnTo>
                    <a:pt x="296" y="44"/>
                  </a:lnTo>
                  <a:lnTo>
                    <a:pt x="292" y="42"/>
                  </a:lnTo>
                  <a:lnTo>
                    <a:pt x="270" y="26"/>
                  </a:lnTo>
                  <a:lnTo>
                    <a:pt x="268" y="22"/>
                  </a:lnTo>
                  <a:lnTo>
                    <a:pt x="254" y="1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latin typeface="Calibri" pitchFamily="-112" charset="0"/>
              </a:endParaRPr>
            </a:p>
          </p:txBody>
        </p:sp>
        <p:sp>
          <p:nvSpPr>
            <p:cNvPr id="89" name="Freeform 258"/>
            <p:cNvSpPr>
              <a:spLocks/>
            </p:cNvSpPr>
            <p:nvPr/>
          </p:nvSpPr>
          <p:spPr bwMode="auto">
            <a:xfrm>
              <a:off x="-688478" y="2262171"/>
              <a:ext cx="628367" cy="737123"/>
            </a:xfrm>
            <a:custGeom>
              <a:avLst/>
              <a:gdLst>
                <a:gd name="T0" fmla="*/ 2147483647 w 208"/>
                <a:gd name="T1" fmla="*/ 2147483647 h 244"/>
                <a:gd name="T2" fmla="*/ 2147483647 w 208"/>
                <a:gd name="T3" fmla="*/ 0 h 244"/>
                <a:gd name="T4" fmla="*/ 2147483647 w 208"/>
                <a:gd name="T5" fmla="*/ 2147483647 h 244"/>
                <a:gd name="T6" fmla="*/ 2147483647 w 208"/>
                <a:gd name="T7" fmla="*/ 2147483647 h 244"/>
                <a:gd name="T8" fmla="*/ 2147483647 w 208"/>
                <a:gd name="T9" fmla="*/ 2147483647 h 244"/>
                <a:gd name="T10" fmla="*/ 2147483647 w 208"/>
                <a:gd name="T11" fmla="*/ 2147483647 h 244"/>
                <a:gd name="T12" fmla="*/ 2147483647 w 208"/>
                <a:gd name="T13" fmla="*/ 2147483647 h 244"/>
                <a:gd name="T14" fmla="*/ 2147483647 w 208"/>
                <a:gd name="T15" fmla="*/ 2147483647 h 244"/>
                <a:gd name="T16" fmla="*/ 2147483647 w 208"/>
                <a:gd name="T17" fmla="*/ 2147483647 h 244"/>
                <a:gd name="T18" fmla="*/ 2147483647 w 208"/>
                <a:gd name="T19" fmla="*/ 2147483647 h 244"/>
                <a:gd name="T20" fmla="*/ 2147483647 w 208"/>
                <a:gd name="T21" fmla="*/ 2147483647 h 244"/>
                <a:gd name="T22" fmla="*/ 2147483647 w 208"/>
                <a:gd name="T23" fmla="*/ 2147483647 h 244"/>
                <a:gd name="T24" fmla="*/ 2147483647 w 208"/>
                <a:gd name="T25" fmla="*/ 2147483647 h 244"/>
                <a:gd name="T26" fmla="*/ 2147483647 w 208"/>
                <a:gd name="T27" fmla="*/ 2147483647 h 244"/>
                <a:gd name="T28" fmla="*/ 2147483647 w 208"/>
                <a:gd name="T29" fmla="*/ 2147483647 h 244"/>
                <a:gd name="T30" fmla="*/ 2147483647 w 208"/>
                <a:gd name="T31" fmla="*/ 2147483647 h 244"/>
                <a:gd name="T32" fmla="*/ 2147483647 w 208"/>
                <a:gd name="T33" fmla="*/ 2147483647 h 244"/>
                <a:gd name="T34" fmla="*/ 2147483647 w 208"/>
                <a:gd name="T35" fmla="*/ 2147483647 h 244"/>
                <a:gd name="T36" fmla="*/ 2147483647 w 208"/>
                <a:gd name="T37" fmla="*/ 2147483647 h 244"/>
                <a:gd name="T38" fmla="*/ 2147483647 w 208"/>
                <a:gd name="T39" fmla="*/ 2147483647 h 244"/>
                <a:gd name="T40" fmla="*/ 2147483647 w 208"/>
                <a:gd name="T41" fmla="*/ 2147483647 h 244"/>
                <a:gd name="T42" fmla="*/ 0 w 208"/>
                <a:gd name="T43" fmla="*/ 2147483647 h 244"/>
                <a:gd name="T44" fmla="*/ 0 w 208"/>
                <a:gd name="T45" fmla="*/ 2147483647 h 244"/>
                <a:gd name="T46" fmla="*/ 2147483647 w 208"/>
                <a:gd name="T47" fmla="*/ 2147483647 h 244"/>
                <a:gd name="T48" fmla="*/ 2147483647 w 208"/>
                <a:gd name="T49" fmla="*/ 2147483647 h 244"/>
                <a:gd name="T50" fmla="*/ 2147483647 w 208"/>
                <a:gd name="T51" fmla="*/ 2147483647 h 244"/>
                <a:gd name="T52" fmla="*/ 2147483647 w 208"/>
                <a:gd name="T53" fmla="*/ 2147483647 h 244"/>
                <a:gd name="T54" fmla="*/ 2147483647 w 208"/>
                <a:gd name="T55" fmla="*/ 2147483647 h 244"/>
                <a:gd name="T56" fmla="*/ 2147483647 w 208"/>
                <a:gd name="T57" fmla="*/ 2147483647 h 244"/>
                <a:gd name="T58" fmla="*/ 2147483647 w 208"/>
                <a:gd name="T59" fmla="*/ 2147483647 h 244"/>
                <a:gd name="T60" fmla="*/ 2147483647 w 208"/>
                <a:gd name="T61" fmla="*/ 2147483647 h 244"/>
                <a:gd name="T62" fmla="*/ 2147483647 w 208"/>
                <a:gd name="T63" fmla="*/ 2147483647 h 244"/>
                <a:gd name="T64" fmla="*/ 2147483647 w 208"/>
                <a:gd name="T65" fmla="*/ 2147483647 h 244"/>
                <a:gd name="T66" fmla="*/ 2147483647 w 208"/>
                <a:gd name="T67" fmla="*/ 2147483647 h 244"/>
                <a:gd name="T68" fmla="*/ 2147483647 w 208"/>
                <a:gd name="T69" fmla="*/ 2147483647 h 244"/>
                <a:gd name="T70" fmla="*/ 2147483647 w 208"/>
                <a:gd name="T71" fmla="*/ 2147483647 h 244"/>
                <a:gd name="T72" fmla="*/ 2147483647 w 208"/>
                <a:gd name="T73" fmla="*/ 2147483647 h 244"/>
                <a:gd name="T74" fmla="*/ 2147483647 w 208"/>
                <a:gd name="T75" fmla="*/ 2147483647 h 244"/>
                <a:gd name="T76" fmla="*/ 2147483647 w 208"/>
                <a:gd name="T77" fmla="*/ 2147483647 h 244"/>
                <a:gd name="T78" fmla="*/ 2147483647 w 208"/>
                <a:gd name="T79" fmla="*/ 2147483647 h 244"/>
                <a:gd name="T80" fmla="*/ 2147483647 w 208"/>
                <a:gd name="T81" fmla="*/ 2147483647 h 244"/>
                <a:gd name="T82" fmla="*/ 2147483647 w 208"/>
                <a:gd name="T83" fmla="*/ 2147483647 h 244"/>
                <a:gd name="T84" fmla="*/ 2147483647 w 208"/>
                <a:gd name="T85" fmla="*/ 2147483647 h 244"/>
                <a:gd name="T86" fmla="*/ 2147483647 w 208"/>
                <a:gd name="T87" fmla="*/ 2147483647 h 244"/>
                <a:gd name="T88" fmla="*/ 2147483647 w 208"/>
                <a:gd name="T89" fmla="*/ 2147483647 h 244"/>
                <a:gd name="T90" fmla="*/ 2147483647 w 208"/>
                <a:gd name="T91" fmla="*/ 2147483647 h 244"/>
                <a:gd name="T92" fmla="*/ 2147483647 w 208"/>
                <a:gd name="T93" fmla="*/ 2147483647 h 244"/>
                <a:gd name="T94" fmla="*/ 2147483647 w 208"/>
                <a:gd name="T95" fmla="*/ 2147483647 h 244"/>
                <a:gd name="T96" fmla="*/ 2147483647 w 208"/>
                <a:gd name="T97" fmla="*/ 2147483647 h 244"/>
                <a:gd name="T98" fmla="*/ 2147483647 w 208"/>
                <a:gd name="T99" fmla="*/ 2147483647 h 244"/>
                <a:gd name="T100" fmla="*/ 2147483647 w 208"/>
                <a:gd name="T101" fmla="*/ 2147483647 h 244"/>
                <a:gd name="T102" fmla="*/ 2147483647 w 208"/>
                <a:gd name="T103" fmla="*/ 2147483647 h 244"/>
                <a:gd name="T104" fmla="*/ 2147483647 w 208"/>
                <a:gd name="T105" fmla="*/ 2147483647 h 244"/>
                <a:gd name="T106" fmla="*/ 2147483647 w 208"/>
                <a:gd name="T107" fmla="*/ 2147483647 h 244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208"/>
                <a:gd name="T163" fmla="*/ 0 h 244"/>
                <a:gd name="T164" fmla="*/ 208 w 208"/>
                <a:gd name="T165" fmla="*/ 244 h 244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208" h="244">
                  <a:moveTo>
                    <a:pt x="188" y="36"/>
                  </a:moveTo>
                  <a:lnTo>
                    <a:pt x="188" y="36"/>
                  </a:lnTo>
                  <a:lnTo>
                    <a:pt x="184" y="36"/>
                  </a:lnTo>
                  <a:lnTo>
                    <a:pt x="208" y="0"/>
                  </a:lnTo>
                  <a:lnTo>
                    <a:pt x="196" y="12"/>
                  </a:lnTo>
                  <a:lnTo>
                    <a:pt x="172" y="38"/>
                  </a:lnTo>
                  <a:lnTo>
                    <a:pt x="164" y="44"/>
                  </a:lnTo>
                  <a:lnTo>
                    <a:pt x="162" y="48"/>
                  </a:lnTo>
                  <a:lnTo>
                    <a:pt x="154" y="54"/>
                  </a:lnTo>
                  <a:lnTo>
                    <a:pt x="150" y="56"/>
                  </a:lnTo>
                  <a:lnTo>
                    <a:pt x="134" y="72"/>
                  </a:lnTo>
                  <a:lnTo>
                    <a:pt x="130" y="74"/>
                  </a:lnTo>
                  <a:lnTo>
                    <a:pt x="116" y="84"/>
                  </a:lnTo>
                  <a:lnTo>
                    <a:pt x="112" y="86"/>
                  </a:lnTo>
                  <a:lnTo>
                    <a:pt x="100" y="96"/>
                  </a:lnTo>
                  <a:lnTo>
                    <a:pt x="96" y="98"/>
                  </a:lnTo>
                  <a:lnTo>
                    <a:pt x="86" y="104"/>
                  </a:lnTo>
                  <a:lnTo>
                    <a:pt x="66" y="114"/>
                  </a:lnTo>
                  <a:lnTo>
                    <a:pt x="64" y="116"/>
                  </a:lnTo>
                  <a:lnTo>
                    <a:pt x="54" y="122"/>
                  </a:lnTo>
                  <a:lnTo>
                    <a:pt x="50" y="124"/>
                  </a:lnTo>
                  <a:lnTo>
                    <a:pt x="32" y="134"/>
                  </a:lnTo>
                  <a:lnTo>
                    <a:pt x="30" y="136"/>
                  </a:lnTo>
                  <a:lnTo>
                    <a:pt x="22" y="140"/>
                  </a:lnTo>
                  <a:lnTo>
                    <a:pt x="18" y="140"/>
                  </a:lnTo>
                  <a:lnTo>
                    <a:pt x="12" y="144"/>
                  </a:lnTo>
                  <a:lnTo>
                    <a:pt x="10" y="146"/>
                  </a:lnTo>
                  <a:lnTo>
                    <a:pt x="4" y="146"/>
                  </a:lnTo>
                  <a:lnTo>
                    <a:pt x="0" y="148"/>
                  </a:lnTo>
                  <a:lnTo>
                    <a:pt x="0" y="152"/>
                  </a:lnTo>
                  <a:lnTo>
                    <a:pt x="0" y="168"/>
                  </a:lnTo>
                  <a:lnTo>
                    <a:pt x="2" y="186"/>
                  </a:lnTo>
                  <a:lnTo>
                    <a:pt x="4" y="194"/>
                  </a:lnTo>
                  <a:lnTo>
                    <a:pt x="4" y="200"/>
                  </a:lnTo>
                  <a:lnTo>
                    <a:pt x="4" y="204"/>
                  </a:lnTo>
                  <a:lnTo>
                    <a:pt x="6" y="216"/>
                  </a:lnTo>
                  <a:lnTo>
                    <a:pt x="10" y="230"/>
                  </a:lnTo>
                  <a:lnTo>
                    <a:pt x="12" y="234"/>
                  </a:lnTo>
                  <a:lnTo>
                    <a:pt x="14" y="236"/>
                  </a:lnTo>
                  <a:lnTo>
                    <a:pt x="18" y="240"/>
                  </a:lnTo>
                  <a:lnTo>
                    <a:pt x="20" y="242"/>
                  </a:lnTo>
                  <a:lnTo>
                    <a:pt x="24" y="244"/>
                  </a:lnTo>
                  <a:lnTo>
                    <a:pt x="32" y="244"/>
                  </a:lnTo>
                  <a:lnTo>
                    <a:pt x="40" y="244"/>
                  </a:lnTo>
                  <a:lnTo>
                    <a:pt x="52" y="240"/>
                  </a:lnTo>
                  <a:lnTo>
                    <a:pt x="54" y="236"/>
                  </a:lnTo>
                  <a:lnTo>
                    <a:pt x="54" y="234"/>
                  </a:lnTo>
                  <a:lnTo>
                    <a:pt x="58" y="230"/>
                  </a:lnTo>
                  <a:lnTo>
                    <a:pt x="64" y="226"/>
                  </a:lnTo>
                  <a:lnTo>
                    <a:pt x="68" y="222"/>
                  </a:lnTo>
                  <a:lnTo>
                    <a:pt x="76" y="220"/>
                  </a:lnTo>
                  <a:lnTo>
                    <a:pt x="86" y="216"/>
                  </a:lnTo>
                  <a:lnTo>
                    <a:pt x="90" y="216"/>
                  </a:lnTo>
                  <a:lnTo>
                    <a:pt x="92" y="214"/>
                  </a:lnTo>
                  <a:lnTo>
                    <a:pt x="112" y="202"/>
                  </a:lnTo>
                  <a:lnTo>
                    <a:pt x="132" y="194"/>
                  </a:lnTo>
                  <a:lnTo>
                    <a:pt x="136" y="192"/>
                  </a:lnTo>
                  <a:lnTo>
                    <a:pt x="164" y="184"/>
                  </a:lnTo>
                  <a:lnTo>
                    <a:pt x="168" y="182"/>
                  </a:lnTo>
                  <a:lnTo>
                    <a:pt x="178" y="182"/>
                  </a:lnTo>
                  <a:lnTo>
                    <a:pt x="180" y="180"/>
                  </a:lnTo>
                  <a:lnTo>
                    <a:pt x="182" y="180"/>
                  </a:lnTo>
                  <a:lnTo>
                    <a:pt x="188" y="168"/>
                  </a:lnTo>
                  <a:lnTo>
                    <a:pt x="196" y="152"/>
                  </a:lnTo>
                  <a:lnTo>
                    <a:pt x="200" y="126"/>
                  </a:lnTo>
                  <a:lnTo>
                    <a:pt x="202" y="110"/>
                  </a:lnTo>
                  <a:lnTo>
                    <a:pt x="204" y="90"/>
                  </a:lnTo>
                  <a:lnTo>
                    <a:pt x="202" y="66"/>
                  </a:lnTo>
                  <a:lnTo>
                    <a:pt x="194" y="50"/>
                  </a:lnTo>
                  <a:lnTo>
                    <a:pt x="188" y="3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latin typeface="Calibri" pitchFamily="-112" charset="0"/>
              </a:endParaRPr>
            </a:p>
          </p:txBody>
        </p:sp>
        <p:sp>
          <p:nvSpPr>
            <p:cNvPr id="90" name="Freeform 259"/>
            <p:cNvSpPr>
              <a:spLocks/>
            </p:cNvSpPr>
            <p:nvPr/>
          </p:nvSpPr>
          <p:spPr bwMode="auto">
            <a:xfrm>
              <a:off x="-2380235" y="1482755"/>
              <a:ext cx="827753" cy="1818639"/>
            </a:xfrm>
            <a:custGeom>
              <a:avLst/>
              <a:gdLst>
                <a:gd name="T0" fmla="*/ 2147483647 w 274"/>
                <a:gd name="T1" fmla="*/ 0 h 602"/>
                <a:gd name="T2" fmla="*/ 2147483647 w 274"/>
                <a:gd name="T3" fmla="*/ 2147483647 h 602"/>
                <a:gd name="T4" fmla="*/ 2147483647 w 274"/>
                <a:gd name="T5" fmla="*/ 2147483647 h 602"/>
                <a:gd name="T6" fmla="*/ 2147483647 w 274"/>
                <a:gd name="T7" fmla="*/ 2147483647 h 602"/>
                <a:gd name="T8" fmla="*/ 2147483647 w 274"/>
                <a:gd name="T9" fmla="*/ 2147483647 h 602"/>
                <a:gd name="T10" fmla="*/ 2147483647 w 274"/>
                <a:gd name="T11" fmla="*/ 2147483647 h 602"/>
                <a:gd name="T12" fmla="*/ 2147483647 w 274"/>
                <a:gd name="T13" fmla="*/ 2147483647 h 602"/>
                <a:gd name="T14" fmla="*/ 2147483647 w 274"/>
                <a:gd name="T15" fmla="*/ 2147483647 h 602"/>
                <a:gd name="T16" fmla="*/ 2147483647 w 274"/>
                <a:gd name="T17" fmla="*/ 2147483647 h 602"/>
                <a:gd name="T18" fmla="*/ 2147483647 w 274"/>
                <a:gd name="T19" fmla="*/ 2147483647 h 602"/>
                <a:gd name="T20" fmla="*/ 2147483647 w 274"/>
                <a:gd name="T21" fmla="*/ 2147483647 h 602"/>
                <a:gd name="T22" fmla="*/ 2147483647 w 274"/>
                <a:gd name="T23" fmla="*/ 2147483647 h 602"/>
                <a:gd name="T24" fmla="*/ 2147483647 w 274"/>
                <a:gd name="T25" fmla="*/ 2147483647 h 602"/>
                <a:gd name="T26" fmla="*/ 2147483647 w 274"/>
                <a:gd name="T27" fmla="*/ 2147483647 h 602"/>
                <a:gd name="T28" fmla="*/ 2147483647 w 274"/>
                <a:gd name="T29" fmla="*/ 2147483647 h 602"/>
                <a:gd name="T30" fmla="*/ 2147483647 w 274"/>
                <a:gd name="T31" fmla="*/ 2147483647 h 602"/>
                <a:gd name="T32" fmla="*/ 2147483647 w 274"/>
                <a:gd name="T33" fmla="*/ 2147483647 h 602"/>
                <a:gd name="T34" fmla="*/ 2147483647 w 274"/>
                <a:gd name="T35" fmla="*/ 2147483647 h 602"/>
                <a:gd name="T36" fmla="*/ 2147483647 w 274"/>
                <a:gd name="T37" fmla="*/ 2147483647 h 602"/>
                <a:gd name="T38" fmla="*/ 2147483647 w 274"/>
                <a:gd name="T39" fmla="*/ 2147483647 h 602"/>
                <a:gd name="T40" fmla="*/ 2147483647 w 274"/>
                <a:gd name="T41" fmla="*/ 2147483647 h 602"/>
                <a:gd name="T42" fmla="*/ 2147483647 w 274"/>
                <a:gd name="T43" fmla="*/ 2147483647 h 602"/>
                <a:gd name="T44" fmla="*/ 2147483647 w 274"/>
                <a:gd name="T45" fmla="*/ 2147483647 h 602"/>
                <a:gd name="T46" fmla="*/ 2147483647 w 274"/>
                <a:gd name="T47" fmla="*/ 2147483647 h 602"/>
                <a:gd name="T48" fmla="*/ 2147483647 w 274"/>
                <a:gd name="T49" fmla="*/ 2147483647 h 602"/>
                <a:gd name="T50" fmla="*/ 2147483647 w 274"/>
                <a:gd name="T51" fmla="*/ 2147483647 h 602"/>
                <a:gd name="T52" fmla="*/ 2147483647 w 274"/>
                <a:gd name="T53" fmla="*/ 2147483647 h 602"/>
                <a:gd name="T54" fmla="*/ 2147483647 w 274"/>
                <a:gd name="T55" fmla="*/ 2147483647 h 602"/>
                <a:gd name="T56" fmla="*/ 2147483647 w 274"/>
                <a:gd name="T57" fmla="*/ 2147483647 h 602"/>
                <a:gd name="T58" fmla="*/ 0 w 274"/>
                <a:gd name="T59" fmla="*/ 2147483647 h 602"/>
                <a:gd name="T60" fmla="*/ 0 w 274"/>
                <a:gd name="T61" fmla="*/ 2147483647 h 602"/>
                <a:gd name="T62" fmla="*/ 0 w 274"/>
                <a:gd name="T63" fmla="*/ 2147483647 h 602"/>
                <a:gd name="T64" fmla="*/ 2147483647 w 274"/>
                <a:gd name="T65" fmla="*/ 2147483647 h 602"/>
                <a:gd name="T66" fmla="*/ 2147483647 w 274"/>
                <a:gd name="T67" fmla="*/ 2147483647 h 602"/>
                <a:gd name="T68" fmla="*/ 2147483647 w 274"/>
                <a:gd name="T69" fmla="*/ 2147483647 h 602"/>
                <a:gd name="T70" fmla="*/ 2147483647 w 274"/>
                <a:gd name="T71" fmla="*/ 2147483647 h 602"/>
                <a:gd name="T72" fmla="*/ 2147483647 w 274"/>
                <a:gd name="T73" fmla="*/ 2147483647 h 602"/>
                <a:gd name="T74" fmla="*/ 2147483647 w 274"/>
                <a:gd name="T75" fmla="*/ 2147483647 h 602"/>
                <a:gd name="T76" fmla="*/ 2147483647 w 274"/>
                <a:gd name="T77" fmla="*/ 2147483647 h 602"/>
                <a:gd name="T78" fmla="*/ 2147483647 w 274"/>
                <a:gd name="T79" fmla="*/ 2147483647 h 602"/>
                <a:gd name="T80" fmla="*/ 2147483647 w 274"/>
                <a:gd name="T81" fmla="*/ 2147483647 h 602"/>
                <a:gd name="T82" fmla="*/ 2147483647 w 274"/>
                <a:gd name="T83" fmla="*/ 2147483647 h 602"/>
                <a:gd name="T84" fmla="*/ 2147483647 w 274"/>
                <a:gd name="T85" fmla="*/ 2147483647 h 602"/>
                <a:gd name="T86" fmla="*/ 2147483647 w 274"/>
                <a:gd name="T87" fmla="*/ 2147483647 h 602"/>
                <a:gd name="T88" fmla="*/ 2147483647 w 274"/>
                <a:gd name="T89" fmla="*/ 2147483647 h 602"/>
                <a:gd name="T90" fmla="*/ 2147483647 w 274"/>
                <a:gd name="T91" fmla="*/ 2147483647 h 602"/>
                <a:gd name="T92" fmla="*/ 2147483647 w 274"/>
                <a:gd name="T93" fmla="*/ 2147483647 h 602"/>
                <a:gd name="T94" fmla="*/ 2147483647 w 274"/>
                <a:gd name="T95" fmla="*/ 2147483647 h 602"/>
                <a:gd name="T96" fmla="*/ 2147483647 w 274"/>
                <a:gd name="T97" fmla="*/ 2147483647 h 602"/>
                <a:gd name="T98" fmla="*/ 2147483647 w 274"/>
                <a:gd name="T99" fmla="*/ 2147483647 h 602"/>
                <a:gd name="T100" fmla="*/ 2147483647 w 274"/>
                <a:gd name="T101" fmla="*/ 2147483647 h 602"/>
                <a:gd name="T102" fmla="*/ 2147483647 w 274"/>
                <a:gd name="T103" fmla="*/ 2147483647 h 602"/>
                <a:gd name="T104" fmla="*/ 2147483647 w 274"/>
                <a:gd name="T105" fmla="*/ 2147483647 h 602"/>
                <a:gd name="T106" fmla="*/ 2147483647 w 274"/>
                <a:gd name="T107" fmla="*/ 2147483647 h 602"/>
                <a:gd name="T108" fmla="*/ 2147483647 w 274"/>
                <a:gd name="T109" fmla="*/ 2147483647 h 602"/>
                <a:gd name="T110" fmla="*/ 2147483647 w 274"/>
                <a:gd name="T111" fmla="*/ 2147483647 h 602"/>
                <a:gd name="T112" fmla="*/ 2147483647 w 274"/>
                <a:gd name="T113" fmla="*/ 2147483647 h 602"/>
                <a:gd name="T114" fmla="*/ 2147483647 w 274"/>
                <a:gd name="T115" fmla="*/ 2147483647 h 602"/>
                <a:gd name="T116" fmla="*/ 2147483647 w 274"/>
                <a:gd name="T117" fmla="*/ 2147483647 h 602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274"/>
                <a:gd name="T178" fmla="*/ 0 h 602"/>
                <a:gd name="T179" fmla="*/ 274 w 274"/>
                <a:gd name="T180" fmla="*/ 602 h 602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274" h="602">
                  <a:moveTo>
                    <a:pt x="124" y="0"/>
                  </a:moveTo>
                  <a:lnTo>
                    <a:pt x="124" y="0"/>
                  </a:lnTo>
                  <a:lnTo>
                    <a:pt x="120" y="2"/>
                  </a:lnTo>
                  <a:lnTo>
                    <a:pt x="116" y="4"/>
                  </a:lnTo>
                  <a:lnTo>
                    <a:pt x="108" y="40"/>
                  </a:lnTo>
                  <a:lnTo>
                    <a:pt x="108" y="44"/>
                  </a:lnTo>
                  <a:lnTo>
                    <a:pt x="98" y="64"/>
                  </a:lnTo>
                  <a:lnTo>
                    <a:pt x="96" y="68"/>
                  </a:lnTo>
                  <a:lnTo>
                    <a:pt x="80" y="88"/>
                  </a:lnTo>
                  <a:lnTo>
                    <a:pt x="52" y="140"/>
                  </a:lnTo>
                  <a:lnTo>
                    <a:pt x="50" y="144"/>
                  </a:lnTo>
                  <a:lnTo>
                    <a:pt x="46" y="152"/>
                  </a:lnTo>
                  <a:lnTo>
                    <a:pt x="46" y="154"/>
                  </a:lnTo>
                  <a:lnTo>
                    <a:pt x="44" y="172"/>
                  </a:lnTo>
                  <a:lnTo>
                    <a:pt x="42" y="180"/>
                  </a:lnTo>
                  <a:lnTo>
                    <a:pt x="42" y="194"/>
                  </a:lnTo>
                  <a:lnTo>
                    <a:pt x="42" y="238"/>
                  </a:lnTo>
                  <a:lnTo>
                    <a:pt x="42" y="256"/>
                  </a:lnTo>
                  <a:lnTo>
                    <a:pt x="42" y="268"/>
                  </a:lnTo>
                  <a:lnTo>
                    <a:pt x="44" y="282"/>
                  </a:lnTo>
                  <a:lnTo>
                    <a:pt x="44" y="294"/>
                  </a:lnTo>
                  <a:lnTo>
                    <a:pt x="44" y="298"/>
                  </a:lnTo>
                  <a:lnTo>
                    <a:pt x="48" y="328"/>
                  </a:lnTo>
                  <a:lnTo>
                    <a:pt x="48" y="360"/>
                  </a:lnTo>
                  <a:lnTo>
                    <a:pt x="48" y="386"/>
                  </a:lnTo>
                  <a:lnTo>
                    <a:pt x="46" y="394"/>
                  </a:lnTo>
                  <a:lnTo>
                    <a:pt x="42" y="404"/>
                  </a:lnTo>
                  <a:lnTo>
                    <a:pt x="36" y="460"/>
                  </a:lnTo>
                  <a:lnTo>
                    <a:pt x="36" y="464"/>
                  </a:lnTo>
                  <a:lnTo>
                    <a:pt x="32" y="476"/>
                  </a:lnTo>
                  <a:lnTo>
                    <a:pt x="24" y="494"/>
                  </a:lnTo>
                  <a:lnTo>
                    <a:pt x="24" y="498"/>
                  </a:lnTo>
                  <a:lnTo>
                    <a:pt x="18" y="514"/>
                  </a:lnTo>
                  <a:lnTo>
                    <a:pt x="12" y="534"/>
                  </a:lnTo>
                  <a:lnTo>
                    <a:pt x="6" y="580"/>
                  </a:lnTo>
                  <a:lnTo>
                    <a:pt x="4" y="584"/>
                  </a:lnTo>
                  <a:lnTo>
                    <a:pt x="0" y="594"/>
                  </a:lnTo>
                  <a:lnTo>
                    <a:pt x="0" y="596"/>
                  </a:lnTo>
                  <a:lnTo>
                    <a:pt x="64" y="596"/>
                  </a:lnTo>
                  <a:lnTo>
                    <a:pt x="144" y="596"/>
                  </a:lnTo>
                  <a:lnTo>
                    <a:pt x="148" y="596"/>
                  </a:lnTo>
                  <a:lnTo>
                    <a:pt x="208" y="600"/>
                  </a:lnTo>
                  <a:lnTo>
                    <a:pt x="212" y="600"/>
                  </a:lnTo>
                  <a:lnTo>
                    <a:pt x="230" y="600"/>
                  </a:lnTo>
                  <a:lnTo>
                    <a:pt x="234" y="598"/>
                  </a:lnTo>
                  <a:lnTo>
                    <a:pt x="268" y="602"/>
                  </a:lnTo>
                  <a:lnTo>
                    <a:pt x="270" y="600"/>
                  </a:lnTo>
                  <a:lnTo>
                    <a:pt x="274" y="586"/>
                  </a:lnTo>
                  <a:lnTo>
                    <a:pt x="274" y="582"/>
                  </a:lnTo>
                  <a:lnTo>
                    <a:pt x="264" y="550"/>
                  </a:lnTo>
                  <a:lnTo>
                    <a:pt x="264" y="546"/>
                  </a:lnTo>
                  <a:lnTo>
                    <a:pt x="260" y="460"/>
                  </a:lnTo>
                  <a:lnTo>
                    <a:pt x="260" y="456"/>
                  </a:lnTo>
                  <a:lnTo>
                    <a:pt x="256" y="400"/>
                  </a:lnTo>
                  <a:lnTo>
                    <a:pt x="256" y="396"/>
                  </a:lnTo>
                  <a:lnTo>
                    <a:pt x="254" y="386"/>
                  </a:lnTo>
                  <a:lnTo>
                    <a:pt x="256" y="374"/>
                  </a:lnTo>
                  <a:lnTo>
                    <a:pt x="258" y="366"/>
                  </a:lnTo>
                  <a:lnTo>
                    <a:pt x="258" y="360"/>
                  </a:lnTo>
                  <a:lnTo>
                    <a:pt x="260" y="352"/>
                  </a:lnTo>
                  <a:lnTo>
                    <a:pt x="268" y="318"/>
                  </a:lnTo>
                  <a:lnTo>
                    <a:pt x="274" y="290"/>
                  </a:lnTo>
                  <a:lnTo>
                    <a:pt x="274" y="286"/>
                  </a:lnTo>
                  <a:lnTo>
                    <a:pt x="252" y="186"/>
                  </a:lnTo>
                  <a:lnTo>
                    <a:pt x="250" y="182"/>
                  </a:lnTo>
                  <a:lnTo>
                    <a:pt x="238" y="158"/>
                  </a:lnTo>
                  <a:lnTo>
                    <a:pt x="236" y="154"/>
                  </a:lnTo>
                  <a:lnTo>
                    <a:pt x="204" y="102"/>
                  </a:lnTo>
                  <a:lnTo>
                    <a:pt x="202" y="100"/>
                  </a:lnTo>
                  <a:lnTo>
                    <a:pt x="180" y="70"/>
                  </a:lnTo>
                  <a:lnTo>
                    <a:pt x="178" y="68"/>
                  </a:lnTo>
                  <a:lnTo>
                    <a:pt x="164" y="58"/>
                  </a:lnTo>
                  <a:lnTo>
                    <a:pt x="162" y="56"/>
                  </a:lnTo>
                  <a:lnTo>
                    <a:pt x="12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latin typeface="Calibri" pitchFamily="-112" charset="0"/>
              </a:endParaRPr>
            </a:p>
          </p:txBody>
        </p:sp>
        <p:sp>
          <p:nvSpPr>
            <p:cNvPr id="91" name="Freeform 260"/>
            <p:cNvSpPr>
              <a:spLocks/>
            </p:cNvSpPr>
            <p:nvPr/>
          </p:nvSpPr>
          <p:spPr bwMode="auto">
            <a:xfrm>
              <a:off x="-1709574" y="2455515"/>
              <a:ext cx="839837" cy="586073"/>
            </a:xfrm>
            <a:custGeom>
              <a:avLst/>
              <a:gdLst>
                <a:gd name="T0" fmla="*/ 2147483647 w 278"/>
                <a:gd name="T1" fmla="*/ 2147483647 h 194"/>
                <a:gd name="T2" fmla="*/ 0 w 278"/>
                <a:gd name="T3" fmla="*/ 2147483647 h 194"/>
                <a:gd name="T4" fmla="*/ 2147483647 w 278"/>
                <a:gd name="T5" fmla="*/ 2147483647 h 194"/>
                <a:gd name="T6" fmla="*/ 2147483647 w 278"/>
                <a:gd name="T7" fmla="*/ 2147483647 h 194"/>
                <a:gd name="T8" fmla="*/ 2147483647 w 278"/>
                <a:gd name="T9" fmla="*/ 2147483647 h 194"/>
                <a:gd name="T10" fmla="*/ 2147483647 w 278"/>
                <a:gd name="T11" fmla="*/ 2147483647 h 194"/>
                <a:gd name="T12" fmla="*/ 2147483647 w 278"/>
                <a:gd name="T13" fmla="*/ 2147483647 h 194"/>
                <a:gd name="T14" fmla="*/ 2147483647 w 278"/>
                <a:gd name="T15" fmla="*/ 2147483647 h 194"/>
                <a:gd name="T16" fmla="*/ 2147483647 w 278"/>
                <a:gd name="T17" fmla="*/ 2147483647 h 194"/>
                <a:gd name="T18" fmla="*/ 2147483647 w 278"/>
                <a:gd name="T19" fmla="*/ 2147483647 h 194"/>
                <a:gd name="T20" fmla="*/ 2147483647 w 278"/>
                <a:gd name="T21" fmla="*/ 2147483647 h 194"/>
                <a:gd name="T22" fmla="*/ 2147483647 w 278"/>
                <a:gd name="T23" fmla="*/ 2147483647 h 194"/>
                <a:gd name="T24" fmla="*/ 2147483647 w 278"/>
                <a:gd name="T25" fmla="*/ 2147483647 h 194"/>
                <a:gd name="T26" fmla="*/ 2147483647 w 278"/>
                <a:gd name="T27" fmla="*/ 2147483647 h 194"/>
                <a:gd name="T28" fmla="*/ 2147483647 w 278"/>
                <a:gd name="T29" fmla="*/ 2147483647 h 194"/>
                <a:gd name="T30" fmla="*/ 2147483647 w 278"/>
                <a:gd name="T31" fmla="*/ 2147483647 h 194"/>
                <a:gd name="T32" fmla="*/ 2147483647 w 278"/>
                <a:gd name="T33" fmla="*/ 2147483647 h 194"/>
                <a:gd name="T34" fmla="*/ 2147483647 w 278"/>
                <a:gd name="T35" fmla="*/ 2147483647 h 194"/>
                <a:gd name="T36" fmla="*/ 2147483647 w 278"/>
                <a:gd name="T37" fmla="*/ 2147483647 h 194"/>
                <a:gd name="T38" fmla="*/ 2147483647 w 278"/>
                <a:gd name="T39" fmla="*/ 2147483647 h 194"/>
                <a:gd name="T40" fmla="*/ 2147483647 w 278"/>
                <a:gd name="T41" fmla="*/ 2147483647 h 194"/>
                <a:gd name="T42" fmla="*/ 2147483647 w 278"/>
                <a:gd name="T43" fmla="*/ 2147483647 h 194"/>
                <a:gd name="T44" fmla="*/ 2147483647 w 278"/>
                <a:gd name="T45" fmla="*/ 2147483647 h 194"/>
                <a:gd name="T46" fmla="*/ 2147483647 w 278"/>
                <a:gd name="T47" fmla="*/ 2147483647 h 194"/>
                <a:gd name="T48" fmla="*/ 2147483647 w 278"/>
                <a:gd name="T49" fmla="*/ 2147483647 h 194"/>
                <a:gd name="T50" fmla="*/ 2147483647 w 278"/>
                <a:gd name="T51" fmla="*/ 2147483647 h 194"/>
                <a:gd name="T52" fmla="*/ 2147483647 w 278"/>
                <a:gd name="T53" fmla="*/ 2147483647 h 194"/>
                <a:gd name="T54" fmla="*/ 2147483647 w 278"/>
                <a:gd name="T55" fmla="*/ 2147483647 h 194"/>
                <a:gd name="T56" fmla="*/ 2147483647 w 278"/>
                <a:gd name="T57" fmla="*/ 2147483647 h 194"/>
                <a:gd name="T58" fmla="*/ 2147483647 w 278"/>
                <a:gd name="T59" fmla="*/ 2147483647 h 194"/>
                <a:gd name="T60" fmla="*/ 2147483647 w 278"/>
                <a:gd name="T61" fmla="*/ 2147483647 h 194"/>
                <a:gd name="T62" fmla="*/ 2147483647 w 278"/>
                <a:gd name="T63" fmla="*/ 2147483647 h 194"/>
                <a:gd name="T64" fmla="*/ 2147483647 w 278"/>
                <a:gd name="T65" fmla="*/ 2147483647 h 194"/>
                <a:gd name="T66" fmla="*/ 2147483647 w 278"/>
                <a:gd name="T67" fmla="*/ 2147483647 h 194"/>
                <a:gd name="T68" fmla="*/ 2147483647 w 278"/>
                <a:gd name="T69" fmla="*/ 0 h 194"/>
                <a:gd name="T70" fmla="*/ 2147483647 w 278"/>
                <a:gd name="T71" fmla="*/ 0 h 194"/>
                <a:gd name="T72" fmla="*/ 2147483647 w 278"/>
                <a:gd name="T73" fmla="*/ 2147483647 h 194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278"/>
                <a:gd name="T112" fmla="*/ 0 h 194"/>
                <a:gd name="T113" fmla="*/ 278 w 278"/>
                <a:gd name="T114" fmla="*/ 194 h 194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278" h="194">
                  <a:moveTo>
                    <a:pt x="2" y="4"/>
                  </a:moveTo>
                  <a:lnTo>
                    <a:pt x="2" y="4"/>
                  </a:lnTo>
                  <a:lnTo>
                    <a:pt x="0" y="6"/>
                  </a:lnTo>
                  <a:lnTo>
                    <a:pt x="20" y="72"/>
                  </a:lnTo>
                  <a:lnTo>
                    <a:pt x="20" y="76"/>
                  </a:lnTo>
                  <a:lnTo>
                    <a:pt x="30" y="118"/>
                  </a:lnTo>
                  <a:lnTo>
                    <a:pt x="32" y="122"/>
                  </a:lnTo>
                  <a:lnTo>
                    <a:pt x="52" y="130"/>
                  </a:lnTo>
                  <a:lnTo>
                    <a:pt x="56" y="130"/>
                  </a:lnTo>
                  <a:lnTo>
                    <a:pt x="84" y="142"/>
                  </a:lnTo>
                  <a:lnTo>
                    <a:pt x="86" y="144"/>
                  </a:lnTo>
                  <a:lnTo>
                    <a:pt x="98" y="148"/>
                  </a:lnTo>
                  <a:lnTo>
                    <a:pt x="112" y="154"/>
                  </a:lnTo>
                  <a:lnTo>
                    <a:pt x="128" y="158"/>
                  </a:lnTo>
                  <a:lnTo>
                    <a:pt x="142" y="164"/>
                  </a:lnTo>
                  <a:lnTo>
                    <a:pt x="146" y="164"/>
                  </a:lnTo>
                  <a:lnTo>
                    <a:pt x="178" y="174"/>
                  </a:lnTo>
                  <a:lnTo>
                    <a:pt x="182" y="176"/>
                  </a:lnTo>
                  <a:lnTo>
                    <a:pt x="216" y="184"/>
                  </a:lnTo>
                  <a:lnTo>
                    <a:pt x="256" y="194"/>
                  </a:lnTo>
                  <a:lnTo>
                    <a:pt x="258" y="192"/>
                  </a:lnTo>
                  <a:lnTo>
                    <a:pt x="262" y="184"/>
                  </a:lnTo>
                  <a:lnTo>
                    <a:pt x="266" y="174"/>
                  </a:lnTo>
                  <a:lnTo>
                    <a:pt x="266" y="170"/>
                  </a:lnTo>
                  <a:lnTo>
                    <a:pt x="278" y="136"/>
                  </a:lnTo>
                  <a:lnTo>
                    <a:pt x="278" y="132"/>
                  </a:lnTo>
                  <a:lnTo>
                    <a:pt x="278" y="124"/>
                  </a:lnTo>
                  <a:lnTo>
                    <a:pt x="278" y="122"/>
                  </a:lnTo>
                  <a:lnTo>
                    <a:pt x="158" y="82"/>
                  </a:lnTo>
                  <a:lnTo>
                    <a:pt x="154" y="80"/>
                  </a:lnTo>
                  <a:lnTo>
                    <a:pt x="140" y="74"/>
                  </a:lnTo>
                  <a:lnTo>
                    <a:pt x="136" y="72"/>
                  </a:lnTo>
                  <a:lnTo>
                    <a:pt x="106" y="60"/>
                  </a:lnTo>
                  <a:lnTo>
                    <a:pt x="104" y="58"/>
                  </a:lnTo>
                  <a:lnTo>
                    <a:pt x="90" y="46"/>
                  </a:lnTo>
                  <a:lnTo>
                    <a:pt x="86" y="46"/>
                  </a:lnTo>
                  <a:lnTo>
                    <a:pt x="82" y="44"/>
                  </a:lnTo>
                  <a:lnTo>
                    <a:pt x="78" y="44"/>
                  </a:lnTo>
                  <a:lnTo>
                    <a:pt x="70" y="40"/>
                  </a:lnTo>
                  <a:lnTo>
                    <a:pt x="66" y="36"/>
                  </a:lnTo>
                  <a:lnTo>
                    <a:pt x="64" y="34"/>
                  </a:lnTo>
                  <a:lnTo>
                    <a:pt x="56" y="24"/>
                  </a:lnTo>
                  <a:lnTo>
                    <a:pt x="50" y="16"/>
                  </a:lnTo>
                  <a:lnTo>
                    <a:pt x="48" y="12"/>
                  </a:lnTo>
                  <a:lnTo>
                    <a:pt x="38" y="2"/>
                  </a:lnTo>
                  <a:lnTo>
                    <a:pt x="34" y="0"/>
                  </a:lnTo>
                  <a:lnTo>
                    <a:pt x="30" y="0"/>
                  </a:lnTo>
                  <a:lnTo>
                    <a:pt x="2" y="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latin typeface="Calibri" pitchFamily="-112" charset="0"/>
              </a:endParaRPr>
            </a:p>
          </p:txBody>
        </p:sp>
        <p:sp>
          <p:nvSpPr>
            <p:cNvPr id="92" name="Freeform 261"/>
            <p:cNvSpPr>
              <a:spLocks/>
            </p:cNvSpPr>
            <p:nvPr/>
          </p:nvSpPr>
          <p:spPr bwMode="auto">
            <a:xfrm>
              <a:off x="-912031" y="2727405"/>
              <a:ext cx="314183" cy="332309"/>
            </a:xfrm>
            <a:custGeom>
              <a:avLst/>
              <a:gdLst>
                <a:gd name="T0" fmla="*/ 2147483647 w 104"/>
                <a:gd name="T1" fmla="*/ 0 h 110"/>
                <a:gd name="T2" fmla="*/ 2147483647 w 104"/>
                <a:gd name="T3" fmla="*/ 0 h 110"/>
                <a:gd name="T4" fmla="*/ 2147483647 w 104"/>
                <a:gd name="T5" fmla="*/ 2147483647 h 110"/>
                <a:gd name="T6" fmla="*/ 2147483647 w 104"/>
                <a:gd name="T7" fmla="*/ 0 h 110"/>
                <a:gd name="T8" fmla="*/ 2147483647 w 104"/>
                <a:gd name="T9" fmla="*/ 0 h 110"/>
                <a:gd name="T10" fmla="*/ 2147483647 w 104"/>
                <a:gd name="T11" fmla="*/ 2147483647 h 110"/>
                <a:gd name="T12" fmla="*/ 2147483647 w 104"/>
                <a:gd name="T13" fmla="*/ 2147483647 h 110"/>
                <a:gd name="T14" fmla="*/ 2147483647 w 104"/>
                <a:gd name="T15" fmla="*/ 2147483647 h 110"/>
                <a:gd name="T16" fmla="*/ 2147483647 w 104"/>
                <a:gd name="T17" fmla="*/ 2147483647 h 110"/>
                <a:gd name="T18" fmla="*/ 2147483647 w 104"/>
                <a:gd name="T19" fmla="*/ 2147483647 h 110"/>
                <a:gd name="T20" fmla="*/ 2147483647 w 104"/>
                <a:gd name="T21" fmla="*/ 2147483647 h 110"/>
                <a:gd name="T22" fmla="*/ 2147483647 w 104"/>
                <a:gd name="T23" fmla="*/ 2147483647 h 110"/>
                <a:gd name="T24" fmla="*/ 0 w 104"/>
                <a:gd name="T25" fmla="*/ 2147483647 h 110"/>
                <a:gd name="T26" fmla="*/ 0 w 104"/>
                <a:gd name="T27" fmla="*/ 2147483647 h 110"/>
                <a:gd name="T28" fmla="*/ 2147483647 w 104"/>
                <a:gd name="T29" fmla="*/ 2147483647 h 110"/>
                <a:gd name="T30" fmla="*/ 2147483647 w 104"/>
                <a:gd name="T31" fmla="*/ 2147483647 h 110"/>
                <a:gd name="T32" fmla="*/ 2147483647 w 104"/>
                <a:gd name="T33" fmla="*/ 2147483647 h 110"/>
                <a:gd name="T34" fmla="*/ 2147483647 w 104"/>
                <a:gd name="T35" fmla="*/ 2147483647 h 110"/>
                <a:gd name="T36" fmla="*/ 2147483647 w 104"/>
                <a:gd name="T37" fmla="*/ 2147483647 h 110"/>
                <a:gd name="T38" fmla="*/ 2147483647 w 104"/>
                <a:gd name="T39" fmla="*/ 2147483647 h 110"/>
                <a:gd name="T40" fmla="*/ 2147483647 w 104"/>
                <a:gd name="T41" fmla="*/ 2147483647 h 110"/>
                <a:gd name="T42" fmla="*/ 2147483647 w 104"/>
                <a:gd name="T43" fmla="*/ 2147483647 h 110"/>
                <a:gd name="T44" fmla="*/ 2147483647 w 104"/>
                <a:gd name="T45" fmla="*/ 2147483647 h 110"/>
                <a:gd name="T46" fmla="*/ 2147483647 w 104"/>
                <a:gd name="T47" fmla="*/ 2147483647 h 110"/>
                <a:gd name="T48" fmla="*/ 2147483647 w 104"/>
                <a:gd name="T49" fmla="*/ 2147483647 h 110"/>
                <a:gd name="T50" fmla="*/ 2147483647 w 104"/>
                <a:gd name="T51" fmla="*/ 2147483647 h 110"/>
                <a:gd name="T52" fmla="*/ 2147483647 w 104"/>
                <a:gd name="T53" fmla="*/ 2147483647 h 110"/>
                <a:gd name="T54" fmla="*/ 2147483647 w 104"/>
                <a:gd name="T55" fmla="*/ 2147483647 h 110"/>
                <a:gd name="T56" fmla="*/ 2147483647 w 104"/>
                <a:gd name="T57" fmla="*/ 2147483647 h 110"/>
                <a:gd name="T58" fmla="*/ 2147483647 w 104"/>
                <a:gd name="T59" fmla="*/ 2147483647 h 110"/>
                <a:gd name="T60" fmla="*/ 2147483647 w 104"/>
                <a:gd name="T61" fmla="*/ 2147483647 h 110"/>
                <a:gd name="T62" fmla="*/ 2147483647 w 104"/>
                <a:gd name="T63" fmla="*/ 2147483647 h 110"/>
                <a:gd name="T64" fmla="*/ 2147483647 w 104"/>
                <a:gd name="T65" fmla="*/ 2147483647 h 110"/>
                <a:gd name="T66" fmla="*/ 2147483647 w 104"/>
                <a:gd name="T67" fmla="*/ 2147483647 h 110"/>
                <a:gd name="T68" fmla="*/ 2147483647 w 104"/>
                <a:gd name="T69" fmla="*/ 2147483647 h 110"/>
                <a:gd name="T70" fmla="*/ 2147483647 w 104"/>
                <a:gd name="T71" fmla="*/ 0 h 110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104"/>
                <a:gd name="T109" fmla="*/ 0 h 110"/>
                <a:gd name="T110" fmla="*/ 104 w 104"/>
                <a:gd name="T111" fmla="*/ 110 h 110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104" h="110">
                  <a:moveTo>
                    <a:pt x="74" y="0"/>
                  </a:moveTo>
                  <a:lnTo>
                    <a:pt x="74" y="0"/>
                  </a:lnTo>
                  <a:lnTo>
                    <a:pt x="70" y="0"/>
                  </a:lnTo>
                  <a:lnTo>
                    <a:pt x="64" y="2"/>
                  </a:lnTo>
                  <a:lnTo>
                    <a:pt x="56" y="2"/>
                  </a:lnTo>
                  <a:lnTo>
                    <a:pt x="48" y="0"/>
                  </a:lnTo>
                  <a:lnTo>
                    <a:pt x="46" y="0"/>
                  </a:lnTo>
                  <a:lnTo>
                    <a:pt x="42" y="0"/>
                  </a:lnTo>
                  <a:lnTo>
                    <a:pt x="36" y="2"/>
                  </a:lnTo>
                  <a:lnTo>
                    <a:pt x="28" y="6"/>
                  </a:lnTo>
                  <a:lnTo>
                    <a:pt x="14" y="18"/>
                  </a:lnTo>
                  <a:lnTo>
                    <a:pt x="6" y="26"/>
                  </a:lnTo>
                  <a:lnTo>
                    <a:pt x="4" y="30"/>
                  </a:lnTo>
                  <a:lnTo>
                    <a:pt x="4" y="36"/>
                  </a:lnTo>
                  <a:lnTo>
                    <a:pt x="4" y="42"/>
                  </a:lnTo>
                  <a:lnTo>
                    <a:pt x="4" y="48"/>
                  </a:lnTo>
                  <a:lnTo>
                    <a:pt x="2" y="56"/>
                  </a:lnTo>
                  <a:lnTo>
                    <a:pt x="0" y="64"/>
                  </a:lnTo>
                  <a:lnTo>
                    <a:pt x="0" y="68"/>
                  </a:lnTo>
                  <a:lnTo>
                    <a:pt x="0" y="72"/>
                  </a:lnTo>
                  <a:lnTo>
                    <a:pt x="6" y="80"/>
                  </a:lnTo>
                  <a:lnTo>
                    <a:pt x="14" y="88"/>
                  </a:lnTo>
                  <a:lnTo>
                    <a:pt x="14" y="92"/>
                  </a:lnTo>
                  <a:lnTo>
                    <a:pt x="16" y="98"/>
                  </a:lnTo>
                  <a:lnTo>
                    <a:pt x="22" y="100"/>
                  </a:lnTo>
                  <a:lnTo>
                    <a:pt x="28" y="102"/>
                  </a:lnTo>
                  <a:lnTo>
                    <a:pt x="30" y="102"/>
                  </a:lnTo>
                  <a:lnTo>
                    <a:pt x="38" y="106"/>
                  </a:lnTo>
                  <a:lnTo>
                    <a:pt x="44" y="110"/>
                  </a:lnTo>
                  <a:lnTo>
                    <a:pt x="52" y="110"/>
                  </a:lnTo>
                  <a:lnTo>
                    <a:pt x="56" y="110"/>
                  </a:lnTo>
                  <a:lnTo>
                    <a:pt x="58" y="106"/>
                  </a:lnTo>
                  <a:lnTo>
                    <a:pt x="64" y="100"/>
                  </a:lnTo>
                  <a:lnTo>
                    <a:pt x="70" y="92"/>
                  </a:lnTo>
                  <a:lnTo>
                    <a:pt x="78" y="86"/>
                  </a:lnTo>
                  <a:lnTo>
                    <a:pt x="92" y="80"/>
                  </a:lnTo>
                  <a:lnTo>
                    <a:pt x="98" y="78"/>
                  </a:lnTo>
                  <a:lnTo>
                    <a:pt x="102" y="72"/>
                  </a:lnTo>
                  <a:lnTo>
                    <a:pt x="104" y="66"/>
                  </a:lnTo>
                  <a:lnTo>
                    <a:pt x="104" y="60"/>
                  </a:lnTo>
                  <a:lnTo>
                    <a:pt x="102" y="46"/>
                  </a:lnTo>
                  <a:lnTo>
                    <a:pt x="100" y="34"/>
                  </a:lnTo>
                  <a:lnTo>
                    <a:pt x="94" y="24"/>
                  </a:lnTo>
                  <a:lnTo>
                    <a:pt x="90" y="16"/>
                  </a:lnTo>
                  <a:lnTo>
                    <a:pt x="84" y="6"/>
                  </a:lnTo>
                  <a:lnTo>
                    <a:pt x="80" y="2"/>
                  </a:lnTo>
                  <a:lnTo>
                    <a:pt x="78" y="2"/>
                  </a:lnTo>
                  <a:lnTo>
                    <a:pt x="7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latin typeface="Calibri" pitchFamily="-112" charset="0"/>
              </a:endParaRPr>
            </a:p>
          </p:txBody>
        </p:sp>
        <p:sp>
          <p:nvSpPr>
            <p:cNvPr id="93" name="Freeform 262"/>
            <p:cNvSpPr>
              <a:spLocks/>
            </p:cNvSpPr>
            <p:nvPr/>
          </p:nvSpPr>
          <p:spPr bwMode="auto">
            <a:xfrm>
              <a:off x="-2398361" y="987311"/>
              <a:ext cx="791501" cy="906299"/>
            </a:xfrm>
            <a:custGeom>
              <a:avLst/>
              <a:gdLst>
                <a:gd name="T0" fmla="*/ 2147483647 w 262"/>
                <a:gd name="T1" fmla="*/ 2147483647 h 300"/>
                <a:gd name="T2" fmla="*/ 2147483647 w 262"/>
                <a:gd name="T3" fmla="*/ 2147483647 h 300"/>
                <a:gd name="T4" fmla="*/ 2147483647 w 262"/>
                <a:gd name="T5" fmla="*/ 2147483647 h 300"/>
                <a:gd name="T6" fmla="*/ 2147483647 w 262"/>
                <a:gd name="T7" fmla="*/ 2147483647 h 300"/>
                <a:gd name="T8" fmla="*/ 2147483647 w 262"/>
                <a:gd name="T9" fmla="*/ 2147483647 h 300"/>
                <a:gd name="T10" fmla="*/ 2147483647 w 262"/>
                <a:gd name="T11" fmla="*/ 2147483647 h 300"/>
                <a:gd name="T12" fmla="*/ 2147483647 w 262"/>
                <a:gd name="T13" fmla="*/ 2147483647 h 300"/>
                <a:gd name="T14" fmla="*/ 2147483647 w 262"/>
                <a:gd name="T15" fmla="*/ 0 h 300"/>
                <a:gd name="T16" fmla="*/ 2147483647 w 262"/>
                <a:gd name="T17" fmla="*/ 2147483647 h 300"/>
                <a:gd name="T18" fmla="*/ 2147483647 w 262"/>
                <a:gd name="T19" fmla="*/ 2147483647 h 300"/>
                <a:gd name="T20" fmla="*/ 2147483647 w 262"/>
                <a:gd name="T21" fmla="*/ 2147483647 h 300"/>
                <a:gd name="T22" fmla="*/ 2147483647 w 262"/>
                <a:gd name="T23" fmla="*/ 2147483647 h 300"/>
                <a:gd name="T24" fmla="*/ 2147483647 w 262"/>
                <a:gd name="T25" fmla="*/ 2147483647 h 300"/>
                <a:gd name="T26" fmla="*/ 2147483647 w 262"/>
                <a:gd name="T27" fmla="*/ 2147483647 h 300"/>
                <a:gd name="T28" fmla="*/ 2147483647 w 262"/>
                <a:gd name="T29" fmla="*/ 2147483647 h 300"/>
                <a:gd name="T30" fmla="*/ 2147483647 w 262"/>
                <a:gd name="T31" fmla="*/ 2147483647 h 300"/>
                <a:gd name="T32" fmla="*/ 2147483647 w 262"/>
                <a:gd name="T33" fmla="*/ 2147483647 h 300"/>
                <a:gd name="T34" fmla="*/ 2147483647 w 262"/>
                <a:gd name="T35" fmla="*/ 2147483647 h 300"/>
                <a:gd name="T36" fmla="*/ 2147483647 w 262"/>
                <a:gd name="T37" fmla="*/ 2147483647 h 300"/>
                <a:gd name="T38" fmla="*/ 2147483647 w 262"/>
                <a:gd name="T39" fmla="*/ 2147483647 h 300"/>
                <a:gd name="T40" fmla="*/ 2147483647 w 262"/>
                <a:gd name="T41" fmla="*/ 2147483647 h 300"/>
                <a:gd name="T42" fmla="*/ 2147483647 w 262"/>
                <a:gd name="T43" fmla="*/ 2147483647 h 300"/>
                <a:gd name="T44" fmla="*/ 2147483647 w 262"/>
                <a:gd name="T45" fmla="*/ 2147483647 h 300"/>
                <a:gd name="T46" fmla="*/ 2147483647 w 262"/>
                <a:gd name="T47" fmla="*/ 2147483647 h 300"/>
                <a:gd name="T48" fmla="*/ 2147483647 w 262"/>
                <a:gd name="T49" fmla="*/ 2147483647 h 300"/>
                <a:gd name="T50" fmla="*/ 2147483647 w 262"/>
                <a:gd name="T51" fmla="*/ 2147483647 h 300"/>
                <a:gd name="T52" fmla="*/ 2147483647 w 262"/>
                <a:gd name="T53" fmla="*/ 2147483647 h 300"/>
                <a:gd name="T54" fmla="*/ 2147483647 w 262"/>
                <a:gd name="T55" fmla="*/ 2147483647 h 300"/>
                <a:gd name="T56" fmla="*/ 2147483647 w 262"/>
                <a:gd name="T57" fmla="*/ 2147483647 h 300"/>
                <a:gd name="T58" fmla="*/ 2147483647 w 262"/>
                <a:gd name="T59" fmla="*/ 2147483647 h 300"/>
                <a:gd name="T60" fmla="*/ 2147483647 w 262"/>
                <a:gd name="T61" fmla="*/ 2147483647 h 300"/>
                <a:gd name="T62" fmla="*/ 2147483647 w 262"/>
                <a:gd name="T63" fmla="*/ 2147483647 h 300"/>
                <a:gd name="T64" fmla="*/ 2147483647 w 262"/>
                <a:gd name="T65" fmla="*/ 2147483647 h 300"/>
                <a:gd name="T66" fmla="*/ 2147483647 w 262"/>
                <a:gd name="T67" fmla="*/ 2147483647 h 300"/>
                <a:gd name="T68" fmla="*/ 2147483647 w 262"/>
                <a:gd name="T69" fmla="*/ 2147483647 h 300"/>
                <a:gd name="T70" fmla="*/ 2147483647 w 262"/>
                <a:gd name="T71" fmla="*/ 2147483647 h 300"/>
                <a:gd name="T72" fmla="*/ 2147483647 w 262"/>
                <a:gd name="T73" fmla="*/ 2147483647 h 300"/>
                <a:gd name="T74" fmla="*/ 2147483647 w 262"/>
                <a:gd name="T75" fmla="*/ 2147483647 h 300"/>
                <a:gd name="T76" fmla="*/ 2147483647 w 262"/>
                <a:gd name="T77" fmla="*/ 2147483647 h 300"/>
                <a:gd name="T78" fmla="*/ 2147483647 w 262"/>
                <a:gd name="T79" fmla="*/ 2147483647 h 300"/>
                <a:gd name="T80" fmla="*/ 2147483647 w 262"/>
                <a:gd name="T81" fmla="*/ 2147483647 h 300"/>
                <a:gd name="T82" fmla="*/ 2147483647 w 262"/>
                <a:gd name="T83" fmla="*/ 2147483647 h 300"/>
                <a:gd name="T84" fmla="*/ 2147483647 w 262"/>
                <a:gd name="T85" fmla="*/ 2147483647 h 300"/>
                <a:gd name="T86" fmla="*/ 2147483647 w 262"/>
                <a:gd name="T87" fmla="*/ 2147483647 h 300"/>
                <a:gd name="T88" fmla="*/ 2147483647 w 262"/>
                <a:gd name="T89" fmla="*/ 2147483647 h 300"/>
                <a:gd name="T90" fmla="*/ 2147483647 w 262"/>
                <a:gd name="T91" fmla="*/ 2147483647 h 300"/>
                <a:gd name="T92" fmla="*/ 2147483647 w 262"/>
                <a:gd name="T93" fmla="*/ 2147483647 h 300"/>
                <a:gd name="T94" fmla="*/ 2147483647 w 262"/>
                <a:gd name="T95" fmla="*/ 2147483647 h 300"/>
                <a:gd name="T96" fmla="*/ 2147483647 w 262"/>
                <a:gd name="T97" fmla="*/ 2147483647 h 300"/>
                <a:gd name="T98" fmla="*/ 2147483647 w 262"/>
                <a:gd name="T99" fmla="*/ 2147483647 h 300"/>
                <a:gd name="T100" fmla="*/ 2147483647 w 262"/>
                <a:gd name="T101" fmla="*/ 2147483647 h 300"/>
                <a:gd name="T102" fmla="*/ 2147483647 w 262"/>
                <a:gd name="T103" fmla="*/ 2147483647 h 30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262"/>
                <a:gd name="T157" fmla="*/ 0 h 300"/>
                <a:gd name="T158" fmla="*/ 262 w 262"/>
                <a:gd name="T159" fmla="*/ 300 h 300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262" h="300">
                  <a:moveTo>
                    <a:pt x="262" y="114"/>
                  </a:moveTo>
                  <a:lnTo>
                    <a:pt x="252" y="102"/>
                  </a:lnTo>
                  <a:lnTo>
                    <a:pt x="250" y="100"/>
                  </a:lnTo>
                  <a:lnTo>
                    <a:pt x="246" y="96"/>
                  </a:lnTo>
                  <a:lnTo>
                    <a:pt x="244" y="94"/>
                  </a:lnTo>
                  <a:lnTo>
                    <a:pt x="240" y="88"/>
                  </a:lnTo>
                  <a:lnTo>
                    <a:pt x="240" y="84"/>
                  </a:lnTo>
                  <a:lnTo>
                    <a:pt x="240" y="72"/>
                  </a:lnTo>
                  <a:lnTo>
                    <a:pt x="238" y="60"/>
                  </a:lnTo>
                  <a:lnTo>
                    <a:pt x="222" y="38"/>
                  </a:lnTo>
                  <a:lnTo>
                    <a:pt x="218" y="30"/>
                  </a:lnTo>
                  <a:lnTo>
                    <a:pt x="214" y="28"/>
                  </a:lnTo>
                  <a:lnTo>
                    <a:pt x="212" y="22"/>
                  </a:lnTo>
                  <a:lnTo>
                    <a:pt x="210" y="18"/>
                  </a:lnTo>
                  <a:lnTo>
                    <a:pt x="208" y="12"/>
                  </a:lnTo>
                  <a:lnTo>
                    <a:pt x="202" y="6"/>
                  </a:lnTo>
                  <a:lnTo>
                    <a:pt x="196" y="2"/>
                  </a:lnTo>
                  <a:lnTo>
                    <a:pt x="192" y="0"/>
                  </a:lnTo>
                  <a:lnTo>
                    <a:pt x="162" y="0"/>
                  </a:lnTo>
                  <a:lnTo>
                    <a:pt x="130" y="2"/>
                  </a:lnTo>
                  <a:lnTo>
                    <a:pt x="128" y="4"/>
                  </a:lnTo>
                  <a:lnTo>
                    <a:pt x="88" y="32"/>
                  </a:lnTo>
                  <a:lnTo>
                    <a:pt x="86" y="36"/>
                  </a:lnTo>
                  <a:lnTo>
                    <a:pt x="82" y="46"/>
                  </a:lnTo>
                  <a:lnTo>
                    <a:pt x="80" y="50"/>
                  </a:lnTo>
                  <a:lnTo>
                    <a:pt x="80" y="62"/>
                  </a:lnTo>
                  <a:lnTo>
                    <a:pt x="80" y="66"/>
                  </a:lnTo>
                  <a:lnTo>
                    <a:pt x="78" y="74"/>
                  </a:lnTo>
                  <a:lnTo>
                    <a:pt x="76" y="78"/>
                  </a:lnTo>
                  <a:lnTo>
                    <a:pt x="74" y="90"/>
                  </a:lnTo>
                  <a:lnTo>
                    <a:pt x="72" y="94"/>
                  </a:lnTo>
                  <a:lnTo>
                    <a:pt x="70" y="96"/>
                  </a:lnTo>
                  <a:lnTo>
                    <a:pt x="48" y="96"/>
                  </a:lnTo>
                  <a:lnTo>
                    <a:pt x="44" y="98"/>
                  </a:lnTo>
                  <a:lnTo>
                    <a:pt x="32" y="104"/>
                  </a:lnTo>
                  <a:lnTo>
                    <a:pt x="28" y="108"/>
                  </a:lnTo>
                  <a:lnTo>
                    <a:pt x="22" y="112"/>
                  </a:lnTo>
                  <a:lnTo>
                    <a:pt x="16" y="120"/>
                  </a:lnTo>
                  <a:lnTo>
                    <a:pt x="12" y="126"/>
                  </a:lnTo>
                  <a:lnTo>
                    <a:pt x="12" y="130"/>
                  </a:lnTo>
                  <a:lnTo>
                    <a:pt x="8" y="158"/>
                  </a:lnTo>
                  <a:lnTo>
                    <a:pt x="8" y="176"/>
                  </a:lnTo>
                  <a:lnTo>
                    <a:pt x="10" y="188"/>
                  </a:lnTo>
                  <a:lnTo>
                    <a:pt x="10" y="196"/>
                  </a:lnTo>
                  <a:lnTo>
                    <a:pt x="14" y="202"/>
                  </a:lnTo>
                  <a:lnTo>
                    <a:pt x="16" y="208"/>
                  </a:lnTo>
                  <a:lnTo>
                    <a:pt x="18" y="214"/>
                  </a:lnTo>
                  <a:lnTo>
                    <a:pt x="28" y="244"/>
                  </a:lnTo>
                  <a:lnTo>
                    <a:pt x="30" y="260"/>
                  </a:lnTo>
                  <a:lnTo>
                    <a:pt x="30" y="268"/>
                  </a:lnTo>
                  <a:lnTo>
                    <a:pt x="28" y="272"/>
                  </a:lnTo>
                  <a:lnTo>
                    <a:pt x="24" y="278"/>
                  </a:lnTo>
                  <a:lnTo>
                    <a:pt x="18" y="286"/>
                  </a:lnTo>
                  <a:lnTo>
                    <a:pt x="16" y="288"/>
                  </a:lnTo>
                  <a:lnTo>
                    <a:pt x="14" y="290"/>
                  </a:lnTo>
                  <a:lnTo>
                    <a:pt x="10" y="292"/>
                  </a:lnTo>
                  <a:lnTo>
                    <a:pt x="2" y="294"/>
                  </a:lnTo>
                  <a:lnTo>
                    <a:pt x="0" y="294"/>
                  </a:lnTo>
                  <a:lnTo>
                    <a:pt x="2" y="294"/>
                  </a:lnTo>
                  <a:lnTo>
                    <a:pt x="8" y="298"/>
                  </a:lnTo>
                  <a:lnTo>
                    <a:pt x="18" y="300"/>
                  </a:lnTo>
                  <a:lnTo>
                    <a:pt x="28" y="298"/>
                  </a:lnTo>
                  <a:lnTo>
                    <a:pt x="34" y="294"/>
                  </a:lnTo>
                  <a:lnTo>
                    <a:pt x="36" y="292"/>
                  </a:lnTo>
                  <a:lnTo>
                    <a:pt x="46" y="282"/>
                  </a:lnTo>
                  <a:lnTo>
                    <a:pt x="52" y="274"/>
                  </a:lnTo>
                  <a:lnTo>
                    <a:pt x="58" y="266"/>
                  </a:lnTo>
                  <a:lnTo>
                    <a:pt x="62" y="258"/>
                  </a:lnTo>
                  <a:lnTo>
                    <a:pt x="64" y="250"/>
                  </a:lnTo>
                  <a:lnTo>
                    <a:pt x="64" y="246"/>
                  </a:lnTo>
                  <a:lnTo>
                    <a:pt x="64" y="238"/>
                  </a:lnTo>
                  <a:lnTo>
                    <a:pt x="64" y="218"/>
                  </a:lnTo>
                  <a:lnTo>
                    <a:pt x="64" y="196"/>
                  </a:lnTo>
                  <a:lnTo>
                    <a:pt x="62" y="182"/>
                  </a:lnTo>
                  <a:lnTo>
                    <a:pt x="56" y="156"/>
                  </a:lnTo>
                  <a:lnTo>
                    <a:pt x="52" y="150"/>
                  </a:lnTo>
                  <a:lnTo>
                    <a:pt x="50" y="146"/>
                  </a:lnTo>
                  <a:lnTo>
                    <a:pt x="50" y="140"/>
                  </a:lnTo>
                  <a:lnTo>
                    <a:pt x="48" y="134"/>
                  </a:lnTo>
                  <a:lnTo>
                    <a:pt x="48" y="132"/>
                  </a:lnTo>
                  <a:lnTo>
                    <a:pt x="50" y="130"/>
                  </a:lnTo>
                  <a:lnTo>
                    <a:pt x="56" y="124"/>
                  </a:lnTo>
                  <a:lnTo>
                    <a:pt x="60" y="120"/>
                  </a:lnTo>
                  <a:lnTo>
                    <a:pt x="66" y="118"/>
                  </a:lnTo>
                  <a:lnTo>
                    <a:pt x="74" y="118"/>
                  </a:lnTo>
                  <a:lnTo>
                    <a:pt x="74" y="120"/>
                  </a:lnTo>
                  <a:lnTo>
                    <a:pt x="76" y="124"/>
                  </a:lnTo>
                  <a:lnTo>
                    <a:pt x="76" y="134"/>
                  </a:lnTo>
                  <a:lnTo>
                    <a:pt x="78" y="142"/>
                  </a:lnTo>
                  <a:lnTo>
                    <a:pt x="80" y="152"/>
                  </a:lnTo>
                  <a:lnTo>
                    <a:pt x="84" y="162"/>
                  </a:lnTo>
                  <a:lnTo>
                    <a:pt x="92" y="170"/>
                  </a:lnTo>
                  <a:lnTo>
                    <a:pt x="102" y="178"/>
                  </a:lnTo>
                  <a:lnTo>
                    <a:pt x="108" y="180"/>
                  </a:lnTo>
                  <a:lnTo>
                    <a:pt x="116" y="180"/>
                  </a:lnTo>
                  <a:lnTo>
                    <a:pt x="120" y="180"/>
                  </a:lnTo>
                  <a:lnTo>
                    <a:pt x="122" y="184"/>
                  </a:lnTo>
                  <a:lnTo>
                    <a:pt x="120" y="198"/>
                  </a:lnTo>
                  <a:lnTo>
                    <a:pt x="124" y="208"/>
                  </a:lnTo>
                  <a:lnTo>
                    <a:pt x="152" y="212"/>
                  </a:lnTo>
                  <a:lnTo>
                    <a:pt x="154" y="214"/>
                  </a:lnTo>
                  <a:lnTo>
                    <a:pt x="146" y="242"/>
                  </a:lnTo>
                  <a:lnTo>
                    <a:pt x="142" y="262"/>
                  </a:lnTo>
                  <a:lnTo>
                    <a:pt x="140" y="270"/>
                  </a:lnTo>
                  <a:lnTo>
                    <a:pt x="156" y="266"/>
                  </a:lnTo>
                  <a:lnTo>
                    <a:pt x="172" y="262"/>
                  </a:lnTo>
                  <a:lnTo>
                    <a:pt x="174" y="262"/>
                  </a:lnTo>
                  <a:lnTo>
                    <a:pt x="176" y="262"/>
                  </a:lnTo>
                  <a:lnTo>
                    <a:pt x="196" y="218"/>
                  </a:lnTo>
                  <a:lnTo>
                    <a:pt x="210" y="196"/>
                  </a:lnTo>
                  <a:lnTo>
                    <a:pt x="220" y="188"/>
                  </a:lnTo>
                  <a:lnTo>
                    <a:pt x="226" y="186"/>
                  </a:lnTo>
                  <a:lnTo>
                    <a:pt x="238" y="184"/>
                  </a:lnTo>
                  <a:lnTo>
                    <a:pt x="246" y="184"/>
                  </a:lnTo>
                  <a:lnTo>
                    <a:pt x="252" y="182"/>
                  </a:lnTo>
                  <a:lnTo>
                    <a:pt x="254" y="180"/>
                  </a:lnTo>
                  <a:lnTo>
                    <a:pt x="256" y="178"/>
                  </a:lnTo>
                  <a:lnTo>
                    <a:pt x="256" y="160"/>
                  </a:lnTo>
                  <a:lnTo>
                    <a:pt x="256" y="156"/>
                  </a:lnTo>
                  <a:lnTo>
                    <a:pt x="256" y="150"/>
                  </a:lnTo>
                  <a:lnTo>
                    <a:pt x="258" y="150"/>
                  </a:lnTo>
                  <a:lnTo>
                    <a:pt x="258" y="146"/>
                  </a:lnTo>
                  <a:lnTo>
                    <a:pt x="256" y="144"/>
                  </a:lnTo>
                  <a:lnTo>
                    <a:pt x="258" y="140"/>
                  </a:lnTo>
                  <a:lnTo>
                    <a:pt x="258" y="136"/>
                  </a:lnTo>
                  <a:lnTo>
                    <a:pt x="256" y="134"/>
                  </a:lnTo>
                  <a:lnTo>
                    <a:pt x="256" y="130"/>
                  </a:lnTo>
                  <a:lnTo>
                    <a:pt x="254" y="126"/>
                  </a:lnTo>
                  <a:lnTo>
                    <a:pt x="256" y="124"/>
                  </a:lnTo>
                  <a:lnTo>
                    <a:pt x="258" y="122"/>
                  </a:lnTo>
                  <a:lnTo>
                    <a:pt x="260" y="120"/>
                  </a:lnTo>
                  <a:lnTo>
                    <a:pt x="262" y="116"/>
                  </a:lnTo>
                  <a:lnTo>
                    <a:pt x="262" y="11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latin typeface="Calibri" pitchFamily="-112" charset="0"/>
              </a:endParaRPr>
            </a:p>
          </p:txBody>
        </p:sp>
        <p:sp>
          <p:nvSpPr>
            <p:cNvPr id="94" name="Freeform 263"/>
            <p:cNvSpPr>
              <a:spLocks/>
            </p:cNvSpPr>
            <p:nvPr/>
          </p:nvSpPr>
          <p:spPr bwMode="auto">
            <a:xfrm>
              <a:off x="-66153" y="1247117"/>
              <a:ext cx="543779" cy="851921"/>
            </a:xfrm>
            <a:custGeom>
              <a:avLst/>
              <a:gdLst>
                <a:gd name="T0" fmla="*/ 2147483647 w 180"/>
                <a:gd name="T1" fmla="*/ 0 h 282"/>
                <a:gd name="T2" fmla="*/ 2147483647 w 180"/>
                <a:gd name="T3" fmla="*/ 2147483647 h 282"/>
                <a:gd name="T4" fmla="*/ 2147483647 w 180"/>
                <a:gd name="T5" fmla="*/ 2147483647 h 282"/>
                <a:gd name="T6" fmla="*/ 2147483647 w 180"/>
                <a:gd name="T7" fmla="*/ 2147483647 h 282"/>
                <a:gd name="T8" fmla="*/ 2147483647 w 180"/>
                <a:gd name="T9" fmla="*/ 2147483647 h 282"/>
                <a:gd name="T10" fmla="*/ 2147483647 w 180"/>
                <a:gd name="T11" fmla="*/ 2147483647 h 282"/>
                <a:gd name="T12" fmla="*/ 2147483647 w 180"/>
                <a:gd name="T13" fmla="*/ 2147483647 h 282"/>
                <a:gd name="T14" fmla="*/ 2147483647 w 180"/>
                <a:gd name="T15" fmla="*/ 2147483647 h 282"/>
                <a:gd name="T16" fmla="*/ 2147483647 w 180"/>
                <a:gd name="T17" fmla="*/ 2147483647 h 282"/>
                <a:gd name="T18" fmla="*/ 2147483647 w 180"/>
                <a:gd name="T19" fmla="*/ 2147483647 h 282"/>
                <a:gd name="T20" fmla="*/ 2147483647 w 180"/>
                <a:gd name="T21" fmla="*/ 2147483647 h 282"/>
                <a:gd name="T22" fmla="*/ 2147483647 w 180"/>
                <a:gd name="T23" fmla="*/ 2147483647 h 282"/>
                <a:gd name="T24" fmla="*/ 2147483647 w 180"/>
                <a:gd name="T25" fmla="*/ 2147483647 h 282"/>
                <a:gd name="T26" fmla="*/ 2147483647 w 180"/>
                <a:gd name="T27" fmla="*/ 2147483647 h 282"/>
                <a:gd name="T28" fmla="*/ 2147483647 w 180"/>
                <a:gd name="T29" fmla="*/ 2147483647 h 282"/>
                <a:gd name="T30" fmla="*/ 2147483647 w 180"/>
                <a:gd name="T31" fmla="*/ 2147483647 h 282"/>
                <a:gd name="T32" fmla="*/ 2147483647 w 180"/>
                <a:gd name="T33" fmla="*/ 2147483647 h 282"/>
                <a:gd name="T34" fmla="*/ 2147483647 w 180"/>
                <a:gd name="T35" fmla="*/ 2147483647 h 282"/>
                <a:gd name="T36" fmla="*/ 2147483647 w 180"/>
                <a:gd name="T37" fmla="*/ 2147483647 h 282"/>
                <a:gd name="T38" fmla="*/ 2147483647 w 180"/>
                <a:gd name="T39" fmla="*/ 2147483647 h 282"/>
                <a:gd name="T40" fmla="*/ 2147483647 w 180"/>
                <a:gd name="T41" fmla="*/ 2147483647 h 282"/>
                <a:gd name="T42" fmla="*/ 2147483647 w 180"/>
                <a:gd name="T43" fmla="*/ 2147483647 h 282"/>
                <a:gd name="T44" fmla="*/ 2147483647 w 180"/>
                <a:gd name="T45" fmla="*/ 2147483647 h 282"/>
                <a:gd name="T46" fmla="*/ 2147483647 w 180"/>
                <a:gd name="T47" fmla="*/ 2147483647 h 282"/>
                <a:gd name="T48" fmla="*/ 2147483647 w 180"/>
                <a:gd name="T49" fmla="*/ 2147483647 h 282"/>
                <a:gd name="T50" fmla="*/ 2147483647 w 180"/>
                <a:gd name="T51" fmla="*/ 2147483647 h 282"/>
                <a:gd name="T52" fmla="*/ 2147483647 w 180"/>
                <a:gd name="T53" fmla="*/ 2147483647 h 282"/>
                <a:gd name="T54" fmla="*/ 2147483647 w 180"/>
                <a:gd name="T55" fmla="*/ 2147483647 h 282"/>
                <a:gd name="T56" fmla="*/ 2147483647 w 180"/>
                <a:gd name="T57" fmla="*/ 2147483647 h 282"/>
                <a:gd name="T58" fmla="*/ 0 w 180"/>
                <a:gd name="T59" fmla="*/ 2147483647 h 282"/>
                <a:gd name="T60" fmla="*/ 2147483647 w 180"/>
                <a:gd name="T61" fmla="*/ 2147483647 h 282"/>
                <a:gd name="T62" fmla="*/ 2147483647 w 180"/>
                <a:gd name="T63" fmla="*/ 2147483647 h 282"/>
                <a:gd name="T64" fmla="*/ 2147483647 w 180"/>
                <a:gd name="T65" fmla="*/ 2147483647 h 282"/>
                <a:gd name="T66" fmla="*/ 2147483647 w 180"/>
                <a:gd name="T67" fmla="*/ 2147483647 h 282"/>
                <a:gd name="T68" fmla="*/ 2147483647 w 180"/>
                <a:gd name="T69" fmla="*/ 2147483647 h 282"/>
                <a:gd name="T70" fmla="*/ 2147483647 w 180"/>
                <a:gd name="T71" fmla="*/ 2147483647 h 282"/>
                <a:gd name="T72" fmla="*/ 2147483647 w 180"/>
                <a:gd name="T73" fmla="*/ 2147483647 h 282"/>
                <a:gd name="T74" fmla="*/ 2147483647 w 180"/>
                <a:gd name="T75" fmla="*/ 2147483647 h 282"/>
                <a:gd name="T76" fmla="*/ 2147483647 w 180"/>
                <a:gd name="T77" fmla="*/ 2147483647 h 282"/>
                <a:gd name="T78" fmla="*/ 2147483647 w 180"/>
                <a:gd name="T79" fmla="*/ 2147483647 h 282"/>
                <a:gd name="T80" fmla="*/ 2147483647 w 180"/>
                <a:gd name="T81" fmla="*/ 0 h 282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180"/>
                <a:gd name="T124" fmla="*/ 0 h 282"/>
                <a:gd name="T125" fmla="*/ 180 w 180"/>
                <a:gd name="T126" fmla="*/ 282 h 282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180" h="282">
                  <a:moveTo>
                    <a:pt x="166" y="0"/>
                  </a:moveTo>
                  <a:lnTo>
                    <a:pt x="104" y="60"/>
                  </a:lnTo>
                  <a:lnTo>
                    <a:pt x="96" y="58"/>
                  </a:lnTo>
                  <a:lnTo>
                    <a:pt x="84" y="66"/>
                  </a:lnTo>
                  <a:lnTo>
                    <a:pt x="82" y="70"/>
                  </a:lnTo>
                  <a:lnTo>
                    <a:pt x="78" y="82"/>
                  </a:lnTo>
                  <a:lnTo>
                    <a:pt x="72" y="94"/>
                  </a:lnTo>
                  <a:lnTo>
                    <a:pt x="68" y="100"/>
                  </a:lnTo>
                  <a:lnTo>
                    <a:pt x="64" y="108"/>
                  </a:lnTo>
                  <a:lnTo>
                    <a:pt x="62" y="112"/>
                  </a:lnTo>
                  <a:lnTo>
                    <a:pt x="60" y="118"/>
                  </a:lnTo>
                  <a:lnTo>
                    <a:pt x="56" y="124"/>
                  </a:lnTo>
                  <a:lnTo>
                    <a:pt x="54" y="128"/>
                  </a:lnTo>
                  <a:lnTo>
                    <a:pt x="52" y="130"/>
                  </a:lnTo>
                  <a:lnTo>
                    <a:pt x="48" y="136"/>
                  </a:lnTo>
                  <a:lnTo>
                    <a:pt x="46" y="146"/>
                  </a:lnTo>
                  <a:lnTo>
                    <a:pt x="34" y="160"/>
                  </a:lnTo>
                  <a:lnTo>
                    <a:pt x="30" y="164"/>
                  </a:lnTo>
                  <a:lnTo>
                    <a:pt x="26" y="172"/>
                  </a:lnTo>
                  <a:lnTo>
                    <a:pt x="26" y="178"/>
                  </a:lnTo>
                  <a:lnTo>
                    <a:pt x="30" y="186"/>
                  </a:lnTo>
                  <a:lnTo>
                    <a:pt x="34" y="198"/>
                  </a:lnTo>
                  <a:lnTo>
                    <a:pt x="20" y="216"/>
                  </a:lnTo>
                  <a:lnTo>
                    <a:pt x="20" y="244"/>
                  </a:lnTo>
                  <a:lnTo>
                    <a:pt x="0" y="282"/>
                  </a:lnTo>
                  <a:lnTo>
                    <a:pt x="52" y="194"/>
                  </a:lnTo>
                  <a:lnTo>
                    <a:pt x="70" y="162"/>
                  </a:lnTo>
                  <a:lnTo>
                    <a:pt x="92" y="128"/>
                  </a:lnTo>
                  <a:lnTo>
                    <a:pt x="102" y="94"/>
                  </a:lnTo>
                  <a:lnTo>
                    <a:pt x="112" y="82"/>
                  </a:lnTo>
                  <a:lnTo>
                    <a:pt x="120" y="78"/>
                  </a:lnTo>
                  <a:lnTo>
                    <a:pt x="134" y="60"/>
                  </a:lnTo>
                  <a:lnTo>
                    <a:pt x="180" y="16"/>
                  </a:lnTo>
                  <a:lnTo>
                    <a:pt x="16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latin typeface="Calibri" pitchFamily="-112" charset="0"/>
              </a:endParaRPr>
            </a:p>
          </p:txBody>
        </p:sp>
        <p:sp>
          <p:nvSpPr>
            <p:cNvPr id="95" name="Freeform 264"/>
            <p:cNvSpPr>
              <a:spLocks/>
            </p:cNvSpPr>
            <p:nvPr/>
          </p:nvSpPr>
          <p:spPr bwMode="auto">
            <a:xfrm>
              <a:off x="-90321" y="1392125"/>
              <a:ext cx="320225" cy="809627"/>
            </a:xfrm>
            <a:custGeom>
              <a:avLst/>
              <a:gdLst>
                <a:gd name="T0" fmla="*/ 2147483647 w 106"/>
                <a:gd name="T1" fmla="*/ 2147483647 h 268"/>
                <a:gd name="T2" fmla="*/ 2147483647 w 106"/>
                <a:gd name="T3" fmla="*/ 2147483647 h 268"/>
                <a:gd name="T4" fmla="*/ 2147483647 w 106"/>
                <a:gd name="T5" fmla="*/ 2147483647 h 268"/>
                <a:gd name="T6" fmla="*/ 2147483647 w 106"/>
                <a:gd name="T7" fmla="*/ 2147483647 h 268"/>
                <a:gd name="T8" fmla="*/ 2147483647 w 106"/>
                <a:gd name="T9" fmla="*/ 2147483647 h 268"/>
                <a:gd name="T10" fmla="*/ 2147483647 w 106"/>
                <a:gd name="T11" fmla="*/ 2147483647 h 268"/>
                <a:gd name="T12" fmla="*/ 2147483647 w 106"/>
                <a:gd name="T13" fmla="*/ 2147483647 h 268"/>
                <a:gd name="T14" fmla="*/ 2147483647 w 106"/>
                <a:gd name="T15" fmla="*/ 2147483647 h 268"/>
                <a:gd name="T16" fmla="*/ 2147483647 w 106"/>
                <a:gd name="T17" fmla="*/ 2147483647 h 268"/>
                <a:gd name="T18" fmla="*/ 2147483647 w 106"/>
                <a:gd name="T19" fmla="*/ 2147483647 h 268"/>
                <a:gd name="T20" fmla="*/ 2147483647 w 106"/>
                <a:gd name="T21" fmla="*/ 2147483647 h 268"/>
                <a:gd name="T22" fmla="*/ 2147483647 w 106"/>
                <a:gd name="T23" fmla="*/ 2147483647 h 268"/>
                <a:gd name="T24" fmla="*/ 2147483647 w 106"/>
                <a:gd name="T25" fmla="*/ 2147483647 h 268"/>
                <a:gd name="T26" fmla="*/ 2147483647 w 106"/>
                <a:gd name="T27" fmla="*/ 2147483647 h 268"/>
                <a:gd name="T28" fmla="*/ 2147483647 w 106"/>
                <a:gd name="T29" fmla="*/ 2147483647 h 268"/>
                <a:gd name="T30" fmla="*/ 2147483647 w 106"/>
                <a:gd name="T31" fmla="*/ 2147483647 h 268"/>
                <a:gd name="T32" fmla="*/ 2147483647 w 106"/>
                <a:gd name="T33" fmla="*/ 2147483647 h 268"/>
                <a:gd name="T34" fmla="*/ 2147483647 w 106"/>
                <a:gd name="T35" fmla="*/ 2147483647 h 268"/>
                <a:gd name="T36" fmla="*/ 0 w 106"/>
                <a:gd name="T37" fmla="*/ 2147483647 h 268"/>
                <a:gd name="T38" fmla="*/ 0 w 106"/>
                <a:gd name="T39" fmla="*/ 2147483647 h 268"/>
                <a:gd name="T40" fmla="*/ 0 w 106"/>
                <a:gd name="T41" fmla="*/ 2147483647 h 268"/>
                <a:gd name="T42" fmla="*/ 2147483647 w 106"/>
                <a:gd name="T43" fmla="*/ 2147483647 h 268"/>
                <a:gd name="T44" fmla="*/ 2147483647 w 106"/>
                <a:gd name="T45" fmla="*/ 2147483647 h 268"/>
                <a:gd name="T46" fmla="*/ 2147483647 w 106"/>
                <a:gd name="T47" fmla="*/ 2147483647 h 268"/>
                <a:gd name="T48" fmla="*/ 2147483647 w 106"/>
                <a:gd name="T49" fmla="*/ 2147483647 h 268"/>
                <a:gd name="T50" fmla="*/ 2147483647 w 106"/>
                <a:gd name="T51" fmla="*/ 2147483647 h 268"/>
                <a:gd name="T52" fmla="*/ 2147483647 w 106"/>
                <a:gd name="T53" fmla="*/ 2147483647 h 268"/>
                <a:gd name="T54" fmla="*/ 2147483647 w 106"/>
                <a:gd name="T55" fmla="*/ 2147483647 h 268"/>
                <a:gd name="T56" fmla="*/ 2147483647 w 106"/>
                <a:gd name="T57" fmla="*/ 2147483647 h 268"/>
                <a:gd name="T58" fmla="*/ 2147483647 w 106"/>
                <a:gd name="T59" fmla="*/ 2147483647 h 268"/>
                <a:gd name="T60" fmla="*/ 2147483647 w 106"/>
                <a:gd name="T61" fmla="*/ 2147483647 h 268"/>
                <a:gd name="T62" fmla="*/ 2147483647 w 106"/>
                <a:gd name="T63" fmla="*/ 2147483647 h 268"/>
                <a:gd name="T64" fmla="*/ 2147483647 w 106"/>
                <a:gd name="T65" fmla="*/ 2147483647 h 268"/>
                <a:gd name="T66" fmla="*/ 2147483647 w 106"/>
                <a:gd name="T67" fmla="*/ 2147483647 h 268"/>
                <a:gd name="T68" fmla="*/ 2147483647 w 106"/>
                <a:gd name="T69" fmla="*/ 2147483647 h 268"/>
                <a:gd name="T70" fmla="*/ 2147483647 w 106"/>
                <a:gd name="T71" fmla="*/ 2147483647 h 268"/>
                <a:gd name="T72" fmla="*/ 2147483647 w 106"/>
                <a:gd name="T73" fmla="*/ 2147483647 h 268"/>
                <a:gd name="T74" fmla="*/ 2147483647 w 106"/>
                <a:gd name="T75" fmla="*/ 2147483647 h 268"/>
                <a:gd name="T76" fmla="*/ 2147483647 w 106"/>
                <a:gd name="T77" fmla="*/ 2147483647 h 268"/>
                <a:gd name="T78" fmla="*/ 2147483647 w 106"/>
                <a:gd name="T79" fmla="*/ 2147483647 h 268"/>
                <a:gd name="T80" fmla="*/ 2147483647 w 106"/>
                <a:gd name="T81" fmla="*/ 2147483647 h 268"/>
                <a:gd name="T82" fmla="*/ 2147483647 w 106"/>
                <a:gd name="T83" fmla="*/ 2147483647 h 268"/>
                <a:gd name="T84" fmla="*/ 2147483647 w 106"/>
                <a:gd name="T85" fmla="*/ 2147483647 h 268"/>
                <a:gd name="T86" fmla="*/ 2147483647 w 106"/>
                <a:gd name="T87" fmla="*/ 0 h 268"/>
                <a:gd name="T88" fmla="*/ 2147483647 w 106"/>
                <a:gd name="T89" fmla="*/ 2147483647 h 268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106"/>
                <a:gd name="T136" fmla="*/ 0 h 268"/>
                <a:gd name="T137" fmla="*/ 106 w 106"/>
                <a:gd name="T138" fmla="*/ 268 h 268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106" h="268">
                  <a:moveTo>
                    <a:pt x="90" y="4"/>
                  </a:moveTo>
                  <a:lnTo>
                    <a:pt x="90" y="4"/>
                  </a:lnTo>
                  <a:lnTo>
                    <a:pt x="86" y="10"/>
                  </a:lnTo>
                  <a:lnTo>
                    <a:pt x="80" y="16"/>
                  </a:lnTo>
                  <a:lnTo>
                    <a:pt x="76" y="24"/>
                  </a:lnTo>
                  <a:lnTo>
                    <a:pt x="74" y="30"/>
                  </a:lnTo>
                  <a:lnTo>
                    <a:pt x="74" y="36"/>
                  </a:lnTo>
                  <a:lnTo>
                    <a:pt x="74" y="42"/>
                  </a:lnTo>
                  <a:lnTo>
                    <a:pt x="72" y="50"/>
                  </a:lnTo>
                  <a:lnTo>
                    <a:pt x="64" y="64"/>
                  </a:lnTo>
                  <a:lnTo>
                    <a:pt x="56" y="78"/>
                  </a:lnTo>
                  <a:lnTo>
                    <a:pt x="48" y="92"/>
                  </a:lnTo>
                  <a:lnTo>
                    <a:pt x="30" y="132"/>
                  </a:lnTo>
                  <a:lnTo>
                    <a:pt x="14" y="178"/>
                  </a:lnTo>
                  <a:lnTo>
                    <a:pt x="8" y="200"/>
                  </a:lnTo>
                  <a:lnTo>
                    <a:pt x="4" y="224"/>
                  </a:lnTo>
                  <a:lnTo>
                    <a:pt x="0" y="246"/>
                  </a:lnTo>
                  <a:lnTo>
                    <a:pt x="0" y="268"/>
                  </a:lnTo>
                  <a:lnTo>
                    <a:pt x="22" y="230"/>
                  </a:lnTo>
                  <a:lnTo>
                    <a:pt x="46" y="196"/>
                  </a:lnTo>
                  <a:lnTo>
                    <a:pt x="52" y="186"/>
                  </a:lnTo>
                  <a:lnTo>
                    <a:pt x="58" y="174"/>
                  </a:lnTo>
                  <a:lnTo>
                    <a:pt x="66" y="150"/>
                  </a:lnTo>
                  <a:lnTo>
                    <a:pt x="72" y="126"/>
                  </a:lnTo>
                  <a:lnTo>
                    <a:pt x="76" y="102"/>
                  </a:lnTo>
                  <a:lnTo>
                    <a:pt x="78" y="84"/>
                  </a:lnTo>
                  <a:lnTo>
                    <a:pt x="78" y="78"/>
                  </a:lnTo>
                  <a:lnTo>
                    <a:pt x="82" y="68"/>
                  </a:lnTo>
                  <a:lnTo>
                    <a:pt x="86" y="56"/>
                  </a:lnTo>
                  <a:lnTo>
                    <a:pt x="86" y="48"/>
                  </a:lnTo>
                  <a:lnTo>
                    <a:pt x="90" y="44"/>
                  </a:lnTo>
                  <a:lnTo>
                    <a:pt x="96" y="38"/>
                  </a:lnTo>
                  <a:lnTo>
                    <a:pt x="102" y="32"/>
                  </a:lnTo>
                  <a:lnTo>
                    <a:pt x="104" y="28"/>
                  </a:lnTo>
                  <a:lnTo>
                    <a:pt x="106" y="22"/>
                  </a:lnTo>
                  <a:lnTo>
                    <a:pt x="106" y="12"/>
                  </a:lnTo>
                  <a:lnTo>
                    <a:pt x="104" y="0"/>
                  </a:lnTo>
                  <a:lnTo>
                    <a:pt x="90" y="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latin typeface="Calibri" pitchFamily="-112" charset="0"/>
              </a:endParaRPr>
            </a:p>
          </p:txBody>
        </p:sp>
        <p:sp>
          <p:nvSpPr>
            <p:cNvPr id="96" name="Freeform 265"/>
            <p:cNvSpPr>
              <a:spLocks/>
            </p:cNvSpPr>
            <p:nvPr/>
          </p:nvSpPr>
          <p:spPr bwMode="auto">
            <a:xfrm>
              <a:off x="-126573" y="3555157"/>
              <a:ext cx="1341322" cy="731081"/>
            </a:xfrm>
            <a:custGeom>
              <a:avLst/>
              <a:gdLst>
                <a:gd name="T0" fmla="*/ 2147483647 w 444"/>
                <a:gd name="T1" fmla="*/ 2147483647 h 242"/>
                <a:gd name="T2" fmla="*/ 2147483647 w 444"/>
                <a:gd name="T3" fmla="*/ 2147483647 h 242"/>
                <a:gd name="T4" fmla="*/ 2147483647 w 444"/>
                <a:gd name="T5" fmla="*/ 2147483647 h 242"/>
                <a:gd name="T6" fmla="*/ 2147483647 w 444"/>
                <a:gd name="T7" fmla="*/ 2147483647 h 242"/>
                <a:gd name="T8" fmla="*/ 2147483647 w 444"/>
                <a:gd name="T9" fmla="*/ 2147483647 h 242"/>
                <a:gd name="T10" fmla="*/ 2147483647 w 444"/>
                <a:gd name="T11" fmla="*/ 2147483647 h 242"/>
                <a:gd name="T12" fmla="*/ 2147483647 w 444"/>
                <a:gd name="T13" fmla="*/ 2147483647 h 242"/>
                <a:gd name="T14" fmla="*/ 2147483647 w 444"/>
                <a:gd name="T15" fmla="*/ 0 h 242"/>
                <a:gd name="T16" fmla="*/ 2147483647 w 444"/>
                <a:gd name="T17" fmla="*/ 2147483647 h 242"/>
                <a:gd name="T18" fmla="*/ 2147483647 w 444"/>
                <a:gd name="T19" fmla="*/ 2147483647 h 242"/>
                <a:gd name="T20" fmla="*/ 2147483647 w 444"/>
                <a:gd name="T21" fmla="*/ 2147483647 h 242"/>
                <a:gd name="T22" fmla="*/ 2147483647 w 444"/>
                <a:gd name="T23" fmla="*/ 2147483647 h 242"/>
                <a:gd name="T24" fmla="*/ 2147483647 w 444"/>
                <a:gd name="T25" fmla="*/ 2147483647 h 242"/>
                <a:gd name="T26" fmla="*/ 2147483647 w 444"/>
                <a:gd name="T27" fmla="*/ 2147483647 h 242"/>
                <a:gd name="T28" fmla="*/ 2147483647 w 444"/>
                <a:gd name="T29" fmla="*/ 2147483647 h 242"/>
                <a:gd name="T30" fmla="*/ 0 w 444"/>
                <a:gd name="T31" fmla="*/ 2147483647 h 242"/>
                <a:gd name="T32" fmla="*/ 0 w 444"/>
                <a:gd name="T33" fmla="*/ 2147483647 h 242"/>
                <a:gd name="T34" fmla="*/ 0 w 444"/>
                <a:gd name="T35" fmla="*/ 2147483647 h 242"/>
                <a:gd name="T36" fmla="*/ 2147483647 w 444"/>
                <a:gd name="T37" fmla="*/ 2147483647 h 242"/>
                <a:gd name="T38" fmla="*/ 2147483647 w 444"/>
                <a:gd name="T39" fmla="*/ 2147483647 h 242"/>
                <a:gd name="T40" fmla="*/ 2147483647 w 444"/>
                <a:gd name="T41" fmla="*/ 2147483647 h 242"/>
                <a:gd name="T42" fmla="*/ 2147483647 w 444"/>
                <a:gd name="T43" fmla="*/ 2147483647 h 242"/>
                <a:gd name="T44" fmla="*/ 2147483647 w 444"/>
                <a:gd name="T45" fmla="*/ 2147483647 h 242"/>
                <a:gd name="T46" fmla="*/ 2147483647 w 444"/>
                <a:gd name="T47" fmla="*/ 2147483647 h 242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444"/>
                <a:gd name="T73" fmla="*/ 0 h 242"/>
                <a:gd name="T74" fmla="*/ 444 w 444"/>
                <a:gd name="T75" fmla="*/ 242 h 242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444" h="242">
                  <a:moveTo>
                    <a:pt x="436" y="48"/>
                  </a:moveTo>
                  <a:lnTo>
                    <a:pt x="414" y="28"/>
                  </a:lnTo>
                  <a:lnTo>
                    <a:pt x="410" y="28"/>
                  </a:lnTo>
                  <a:lnTo>
                    <a:pt x="258" y="34"/>
                  </a:lnTo>
                  <a:lnTo>
                    <a:pt x="256" y="2"/>
                  </a:lnTo>
                  <a:lnTo>
                    <a:pt x="254" y="0"/>
                  </a:lnTo>
                  <a:lnTo>
                    <a:pt x="28" y="4"/>
                  </a:lnTo>
                  <a:lnTo>
                    <a:pt x="26" y="6"/>
                  </a:lnTo>
                  <a:lnTo>
                    <a:pt x="26" y="42"/>
                  </a:lnTo>
                  <a:lnTo>
                    <a:pt x="24" y="42"/>
                  </a:lnTo>
                  <a:lnTo>
                    <a:pt x="20" y="44"/>
                  </a:lnTo>
                  <a:lnTo>
                    <a:pt x="0" y="66"/>
                  </a:lnTo>
                  <a:lnTo>
                    <a:pt x="0" y="70"/>
                  </a:lnTo>
                  <a:lnTo>
                    <a:pt x="6" y="242"/>
                  </a:lnTo>
                  <a:lnTo>
                    <a:pt x="444" y="242"/>
                  </a:lnTo>
                  <a:lnTo>
                    <a:pt x="436" y="52"/>
                  </a:lnTo>
                  <a:lnTo>
                    <a:pt x="436" y="4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latin typeface="Calibri" pitchFamily="-112" charset="0"/>
              </a:endParaRPr>
            </a:p>
          </p:txBody>
        </p:sp>
        <p:sp>
          <p:nvSpPr>
            <p:cNvPr id="97" name="Freeform 266"/>
            <p:cNvSpPr>
              <a:spLocks/>
            </p:cNvSpPr>
            <p:nvPr/>
          </p:nvSpPr>
          <p:spPr bwMode="auto">
            <a:xfrm>
              <a:off x="-2446697" y="3017420"/>
              <a:ext cx="1129852" cy="1268818"/>
            </a:xfrm>
            <a:custGeom>
              <a:avLst/>
              <a:gdLst>
                <a:gd name="T0" fmla="*/ 2147483647 w 374"/>
                <a:gd name="T1" fmla="*/ 2147483647 h 420"/>
                <a:gd name="T2" fmla="*/ 2147483647 w 374"/>
                <a:gd name="T3" fmla="*/ 2147483647 h 420"/>
                <a:gd name="T4" fmla="*/ 2147483647 w 374"/>
                <a:gd name="T5" fmla="*/ 2147483647 h 420"/>
                <a:gd name="T6" fmla="*/ 2147483647 w 374"/>
                <a:gd name="T7" fmla="*/ 2147483647 h 420"/>
                <a:gd name="T8" fmla="*/ 2147483647 w 374"/>
                <a:gd name="T9" fmla="*/ 2147483647 h 420"/>
                <a:gd name="T10" fmla="*/ 2147483647 w 374"/>
                <a:gd name="T11" fmla="*/ 2147483647 h 420"/>
                <a:gd name="T12" fmla="*/ 2147483647 w 374"/>
                <a:gd name="T13" fmla="*/ 2147483647 h 420"/>
                <a:gd name="T14" fmla="*/ 2147483647 w 374"/>
                <a:gd name="T15" fmla="*/ 2147483647 h 420"/>
                <a:gd name="T16" fmla="*/ 2147483647 w 374"/>
                <a:gd name="T17" fmla="*/ 2147483647 h 420"/>
                <a:gd name="T18" fmla="*/ 2147483647 w 374"/>
                <a:gd name="T19" fmla="*/ 2147483647 h 420"/>
                <a:gd name="T20" fmla="*/ 2147483647 w 374"/>
                <a:gd name="T21" fmla="*/ 2147483647 h 420"/>
                <a:gd name="T22" fmla="*/ 2147483647 w 374"/>
                <a:gd name="T23" fmla="*/ 2147483647 h 420"/>
                <a:gd name="T24" fmla="*/ 2147483647 w 374"/>
                <a:gd name="T25" fmla="*/ 2147483647 h 420"/>
                <a:gd name="T26" fmla="*/ 2147483647 w 374"/>
                <a:gd name="T27" fmla="*/ 2147483647 h 420"/>
                <a:gd name="T28" fmla="*/ 2147483647 w 374"/>
                <a:gd name="T29" fmla="*/ 2147483647 h 420"/>
                <a:gd name="T30" fmla="*/ 2147483647 w 374"/>
                <a:gd name="T31" fmla="*/ 2147483647 h 420"/>
                <a:gd name="T32" fmla="*/ 2147483647 w 374"/>
                <a:gd name="T33" fmla="*/ 2147483647 h 420"/>
                <a:gd name="T34" fmla="*/ 2147483647 w 374"/>
                <a:gd name="T35" fmla="*/ 2147483647 h 420"/>
                <a:gd name="T36" fmla="*/ 2147483647 w 374"/>
                <a:gd name="T37" fmla="*/ 2147483647 h 420"/>
                <a:gd name="T38" fmla="*/ 2147483647 w 374"/>
                <a:gd name="T39" fmla="*/ 2147483647 h 420"/>
                <a:gd name="T40" fmla="*/ 2147483647 w 374"/>
                <a:gd name="T41" fmla="*/ 2147483647 h 420"/>
                <a:gd name="T42" fmla="*/ 2147483647 w 374"/>
                <a:gd name="T43" fmla="*/ 2147483647 h 420"/>
                <a:gd name="T44" fmla="*/ 2147483647 w 374"/>
                <a:gd name="T45" fmla="*/ 2147483647 h 420"/>
                <a:gd name="T46" fmla="*/ 2147483647 w 374"/>
                <a:gd name="T47" fmla="*/ 2147483647 h 420"/>
                <a:gd name="T48" fmla="*/ 2147483647 w 374"/>
                <a:gd name="T49" fmla="*/ 0 h 420"/>
                <a:gd name="T50" fmla="*/ 2147483647 w 374"/>
                <a:gd name="T51" fmla="*/ 0 h 420"/>
                <a:gd name="T52" fmla="*/ 2147483647 w 374"/>
                <a:gd name="T53" fmla="*/ 0 h 420"/>
                <a:gd name="T54" fmla="*/ 2147483647 w 374"/>
                <a:gd name="T55" fmla="*/ 0 h 420"/>
                <a:gd name="T56" fmla="*/ 2147483647 w 374"/>
                <a:gd name="T57" fmla="*/ 2147483647 h 420"/>
                <a:gd name="T58" fmla="*/ 2147483647 w 374"/>
                <a:gd name="T59" fmla="*/ 2147483647 h 420"/>
                <a:gd name="T60" fmla="*/ 2147483647 w 374"/>
                <a:gd name="T61" fmla="*/ 2147483647 h 420"/>
                <a:gd name="T62" fmla="*/ 2147483647 w 374"/>
                <a:gd name="T63" fmla="*/ 2147483647 h 420"/>
                <a:gd name="T64" fmla="*/ 2147483647 w 374"/>
                <a:gd name="T65" fmla="*/ 2147483647 h 420"/>
                <a:gd name="T66" fmla="*/ 2147483647 w 374"/>
                <a:gd name="T67" fmla="*/ 2147483647 h 420"/>
                <a:gd name="T68" fmla="*/ 2147483647 w 374"/>
                <a:gd name="T69" fmla="*/ 2147483647 h 420"/>
                <a:gd name="T70" fmla="*/ 2147483647 w 374"/>
                <a:gd name="T71" fmla="*/ 2147483647 h 420"/>
                <a:gd name="T72" fmla="*/ 2147483647 w 374"/>
                <a:gd name="T73" fmla="*/ 2147483647 h 420"/>
                <a:gd name="T74" fmla="*/ 2147483647 w 374"/>
                <a:gd name="T75" fmla="*/ 2147483647 h 420"/>
                <a:gd name="T76" fmla="*/ 2147483647 w 374"/>
                <a:gd name="T77" fmla="*/ 2147483647 h 420"/>
                <a:gd name="T78" fmla="*/ 2147483647 w 374"/>
                <a:gd name="T79" fmla="*/ 2147483647 h 420"/>
                <a:gd name="T80" fmla="*/ 2147483647 w 374"/>
                <a:gd name="T81" fmla="*/ 2147483647 h 420"/>
                <a:gd name="T82" fmla="*/ 2147483647 w 374"/>
                <a:gd name="T83" fmla="*/ 2147483647 h 420"/>
                <a:gd name="T84" fmla="*/ 2147483647 w 374"/>
                <a:gd name="T85" fmla="*/ 2147483647 h 420"/>
                <a:gd name="T86" fmla="*/ 2147483647 w 374"/>
                <a:gd name="T87" fmla="*/ 2147483647 h 420"/>
                <a:gd name="T88" fmla="*/ 2147483647 w 374"/>
                <a:gd name="T89" fmla="*/ 2147483647 h 420"/>
                <a:gd name="T90" fmla="*/ 2147483647 w 374"/>
                <a:gd name="T91" fmla="*/ 2147483647 h 420"/>
                <a:gd name="T92" fmla="*/ 2147483647 w 374"/>
                <a:gd name="T93" fmla="*/ 2147483647 h 420"/>
                <a:gd name="T94" fmla="*/ 2147483647 w 374"/>
                <a:gd name="T95" fmla="*/ 2147483647 h 420"/>
                <a:gd name="T96" fmla="*/ 2147483647 w 374"/>
                <a:gd name="T97" fmla="*/ 2147483647 h 420"/>
                <a:gd name="T98" fmla="*/ 2147483647 w 374"/>
                <a:gd name="T99" fmla="*/ 2147483647 h 420"/>
                <a:gd name="T100" fmla="*/ 2147483647 w 374"/>
                <a:gd name="T101" fmla="*/ 2147483647 h 420"/>
                <a:gd name="T102" fmla="*/ 2147483647 w 374"/>
                <a:gd name="T103" fmla="*/ 2147483647 h 420"/>
                <a:gd name="T104" fmla="*/ 2147483647 w 374"/>
                <a:gd name="T105" fmla="*/ 2147483647 h 420"/>
                <a:gd name="T106" fmla="*/ 2147483647 w 374"/>
                <a:gd name="T107" fmla="*/ 2147483647 h 420"/>
                <a:gd name="T108" fmla="*/ 0 w 374"/>
                <a:gd name="T109" fmla="*/ 2147483647 h 420"/>
                <a:gd name="T110" fmla="*/ 0 w 374"/>
                <a:gd name="T111" fmla="*/ 2147483647 h 420"/>
                <a:gd name="T112" fmla="*/ 0 w 374"/>
                <a:gd name="T113" fmla="*/ 2147483647 h 420"/>
                <a:gd name="T114" fmla="*/ 2147483647 w 374"/>
                <a:gd name="T115" fmla="*/ 2147483647 h 420"/>
                <a:gd name="T116" fmla="*/ 2147483647 w 374"/>
                <a:gd name="T117" fmla="*/ 2147483647 h 420"/>
                <a:gd name="T118" fmla="*/ 2147483647 w 374"/>
                <a:gd name="T119" fmla="*/ 2147483647 h 420"/>
                <a:gd name="T120" fmla="*/ 2147483647 w 374"/>
                <a:gd name="T121" fmla="*/ 2147483647 h 420"/>
                <a:gd name="T122" fmla="*/ 2147483647 w 374"/>
                <a:gd name="T123" fmla="*/ 2147483647 h 420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374"/>
                <a:gd name="T187" fmla="*/ 0 h 420"/>
                <a:gd name="T188" fmla="*/ 374 w 374"/>
                <a:gd name="T189" fmla="*/ 420 h 420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374" h="420">
                  <a:moveTo>
                    <a:pt x="374" y="236"/>
                  </a:moveTo>
                  <a:lnTo>
                    <a:pt x="352" y="214"/>
                  </a:lnTo>
                  <a:lnTo>
                    <a:pt x="350" y="214"/>
                  </a:lnTo>
                  <a:lnTo>
                    <a:pt x="242" y="210"/>
                  </a:lnTo>
                  <a:lnTo>
                    <a:pt x="246" y="190"/>
                  </a:lnTo>
                  <a:lnTo>
                    <a:pt x="246" y="186"/>
                  </a:lnTo>
                  <a:lnTo>
                    <a:pt x="242" y="130"/>
                  </a:lnTo>
                  <a:lnTo>
                    <a:pt x="240" y="126"/>
                  </a:lnTo>
                  <a:lnTo>
                    <a:pt x="236" y="100"/>
                  </a:lnTo>
                  <a:lnTo>
                    <a:pt x="236" y="98"/>
                  </a:lnTo>
                  <a:lnTo>
                    <a:pt x="250" y="64"/>
                  </a:lnTo>
                  <a:lnTo>
                    <a:pt x="252" y="62"/>
                  </a:lnTo>
                  <a:lnTo>
                    <a:pt x="258" y="42"/>
                  </a:lnTo>
                  <a:lnTo>
                    <a:pt x="258" y="40"/>
                  </a:lnTo>
                  <a:lnTo>
                    <a:pt x="252" y="34"/>
                  </a:lnTo>
                  <a:lnTo>
                    <a:pt x="250" y="32"/>
                  </a:lnTo>
                  <a:lnTo>
                    <a:pt x="68" y="0"/>
                  </a:lnTo>
                  <a:lnTo>
                    <a:pt x="64" y="0"/>
                  </a:lnTo>
                  <a:lnTo>
                    <a:pt x="58" y="16"/>
                  </a:lnTo>
                  <a:lnTo>
                    <a:pt x="52" y="32"/>
                  </a:lnTo>
                  <a:lnTo>
                    <a:pt x="46" y="54"/>
                  </a:lnTo>
                  <a:lnTo>
                    <a:pt x="44" y="76"/>
                  </a:lnTo>
                  <a:lnTo>
                    <a:pt x="44" y="88"/>
                  </a:lnTo>
                  <a:lnTo>
                    <a:pt x="46" y="102"/>
                  </a:lnTo>
                  <a:lnTo>
                    <a:pt x="50" y="114"/>
                  </a:lnTo>
                  <a:lnTo>
                    <a:pt x="54" y="126"/>
                  </a:lnTo>
                  <a:lnTo>
                    <a:pt x="62" y="138"/>
                  </a:lnTo>
                  <a:lnTo>
                    <a:pt x="70" y="148"/>
                  </a:lnTo>
                  <a:lnTo>
                    <a:pt x="76" y="164"/>
                  </a:lnTo>
                  <a:lnTo>
                    <a:pt x="78" y="166"/>
                  </a:lnTo>
                  <a:lnTo>
                    <a:pt x="84" y="180"/>
                  </a:lnTo>
                  <a:lnTo>
                    <a:pt x="86" y="184"/>
                  </a:lnTo>
                  <a:lnTo>
                    <a:pt x="86" y="200"/>
                  </a:lnTo>
                  <a:lnTo>
                    <a:pt x="86" y="204"/>
                  </a:lnTo>
                  <a:lnTo>
                    <a:pt x="34" y="202"/>
                  </a:lnTo>
                  <a:lnTo>
                    <a:pt x="30" y="204"/>
                  </a:lnTo>
                  <a:lnTo>
                    <a:pt x="8" y="224"/>
                  </a:lnTo>
                  <a:lnTo>
                    <a:pt x="8" y="228"/>
                  </a:lnTo>
                  <a:lnTo>
                    <a:pt x="0" y="420"/>
                  </a:lnTo>
                  <a:lnTo>
                    <a:pt x="368" y="420"/>
                  </a:lnTo>
                  <a:lnTo>
                    <a:pt x="374" y="240"/>
                  </a:lnTo>
                  <a:lnTo>
                    <a:pt x="374" y="23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latin typeface="Calibri" pitchFamily="-112" charset="0"/>
              </a:endParaRPr>
            </a:p>
          </p:txBody>
        </p:sp>
      </p:grpSp>
      <p:grpSp>
        <p:nvGrpSpPr>
          <p:cNvPr id="98" name="Gruppe 79"/>
          <p:cNvGrpSpPr>
            <a:grpSpLocks/>
          </p:cNvGrpSpPr>
          <p:nvPr/>
        </p:nvGrpSpPr>
        <p:grpSpPr bwMode="auto">
          <a:xfrm>
            <a:off x="1477632" y="1695256"/>
            <a:ext cx="814260" cy="815755"/>
            <a:chOff x="2881313" y="1930398"/>
            <a:chExt cx="687260" cy="689505"/>
          </a:xfrm>
        </p:grpSpPr>
        <p:grpSp>
          <p:nvGrpSpPr>
            <p:cNvPr id="99" name="Gruppe 92"/>
            <p:cNvGrpSpPr>
              <a:grpSpLocks/>
            </p:cNvGrpSpPr>
            <p:nvPr/>
          </p:nvGrpSpPr>
          <p:grpSpPr bwMode="auto">
            <a:xfrm>
              <a:off x="2881320" y="1954676"/>
              <a:ext cx="246426" cy="665227"/>
              <a:chOff x="3176792" y="3906123"/>
              <a:chExt cx="825606" cy="2226679"/>
            </a:xfrm>
          </p:grpSpPr>
          <p:grpSp>
            <p:nvGrpSpPr>
              <p:cNvPr id="106" name="Gruppe 52"/>
              <p:cNvGrpSpPr>
                <a:grpSpLocks/>
              </p:cNvGrpSpPr>
              <p:nvPr/>
            </p:nvGrpSpPr>
            <p:grpSpPr bwMode="auto">
              <a:xfrm>
                <a:off x="3176792" y="3906123"/>
                <a:ext cx="825606" cy="2226679"/>
                <a:chOff x="3612221" y="3840809"/>
                <a:chExt cx="825606" cy="2226679"/>
              </a:xfrm>
            </p:grpSpPr>
            <p:sp>
              <p:nvSpPr>
                <p:cNvPr id="109" name="Freeform 137"/>
                <p:cNvSpPr>
                  <a:spLocks noEditPoints="1"/>
                </p:cNvSpPr>
                <p:nvPr/>
              </p:nvSpPr>
              <p:spPr bwMode="auto">
                <a:xfrm>
                  <a:off x="3802314" y="4156882"/>
                  <a:ext cx="587255" cy="1306145"/>
                </a:xfrm>
                <a:custGeom>
                  <a:avLst/>
                  <a:gdLst>
                    <a:gd name="T0" fmla="*/ 811490228 w 350"/>
                    <a:gd name="T1" fmla="*/ 413305594 h 774"/>
                    <a:gd name="T2" fmla="*/ 756046810 w 350"/>
                    <a:gd name="T3" fmla="*/ 257055956 h 774"/>
                    <a:gd name="T4" fmla="*/ 756046810 w 350"/>
                    <a:gd name="T5" fmla="*/ 221773779 h 774"/>
                    <a:gd name="T6" fmla="*/ 740925878 w 350"/>
                    <a:gd name="T7" fmla="*/ 181451242 h 774"/>
                    <a:gd name="T8" fmla="*/ 725804945 w 350"/>
                    <a:gd name="T9" fmla="*/ 115927201 h 774"/>
                    <a:gd name="T10" fmla="*/ 705643702 w 350"/>
                    <a:gd name="T11" fmla="*/ 90725621 h 774"/>
                    <a:gd name="T12" fmla="*/ 650200284 w 350"/>
                    <a:gd name="T13" fmla="*/ 65524067 h 774"/>
                    <a:gd name="T14" fmla="*/ 569555312 w 350"/>
                    <a:gd name="T15" fmla="*/ 45362811 h 774"/>
                    <a:gd name="T16" fmla="*/ 302418744 w 350"/>
                    <a:gd name="T17" fmla="*/ 0 h 774"/>
                    <a:gd name="T18" fmla="*/ 246975326 w 350"/>
                    <a:gd name="T19" fmla="*/ 10080625 h 774"/>
                    <a:gd name="T20" fmla="*/ 191531858 w 350"/>
                    <a:gd name="T21" fmla="*/ 35282189 h 774"/>
                    <a:gd name="T22" fmla="*/ 105846575 w 350"/>
                    <a:gd name="T23" fmla="*/ 70564378 h 774"/>
                    <a:gd name="T24" fmla="*/ 30241877 w 350"/>
                    <a:gd name="T25" fmla="*/ 90725621 h 774"/>
                    <a:gd name="T26" fmla="*/ 15120938 w 350"/>
                    <a:gd name="T27" fmla="*/ 105846579 h 774"/>
                    <a:gd name="T28" fmla="*/ 0 w 350"/>
                    <a:gd name="T29" fmla="*/ 151209377 h 774"/>
                    <a:gd name="T30" fmla="*/ 15120938 w 350"/>
                    <a:gd name="T31" fmla="*/ 216733468 h 774"/>
                    <a:gd name="T32" fmla="*/ 45362809 w 350"/>
                    <a:gd name="T33" fmla="*/ 267136577 h 774"/>
                    <a:gd name="T34" fmla="*/ 105846575 w 350"/>
                    <a:gd name="T35" fmla="*/ 524192533 h 774"/>
                    <a:gd name="T36" fmla="*/ 151209372 w 350"/>
                    <a:gd name="T37" fmla="*/ 635079373 h 774"/>
                    <a:gd name="T38" fmla="*/ 181451236 w 350"/>
                    <a:gd name="T39" fmla="*/ 715724348 h 774"/>
                    <a:gd name="T40" fmla="*/ 211693150 w 350"/>
                    <a:gd name="T41" fmla="*/ 801409633 h 774"/>
                    <a:gd name="T42" fmla="*/ 196572169 w 350"/>
                    <a:gd name="T43" fmla="*/ 871974184 h 774"/>
                    <a:gd name="T44" fmla="*/ 161289993 w 350"/>
                    <a:gd name="T45" fmla="*/ 1003022268 h 774"/>
                    <a:gd name="T46" fmla="*/ 120967507 w 350"/>
                    <a:gd name="T47" fmla="*/ 1169352528 h 774"/>
                    <a:gd name="T48" fmla="*/ 115927197 w 350"/>
                    <a:gd name="T49" fmla="*/ 1229836259 h 774"/>
                    <a:gd name="T50" fmla="*/ 146169061 w 350"/>
                    <a:gd name="T51" fmla="*/ 1244957192 h 774"/>
                    <a:gd name="T52" fmla="*/ 146169061 w 350"/>
                    <a:gd name="T53" fmla="*/ 1401206830 h 774"/>
                    <a:gd name="T54" fmla="*/ 156249683 w 350"/>
                    <a:gd name="T55" fmla="*/ 1653222375 h 774"/>
                    <a:gd name="T56" fmla="*/ 156249683 w 350"/>
                    <a:gd name="T57" fmla="*/ 1718746814 h 774"/>
                    <a:gd name="T58" fmla="*/ 156249683 w 350"/>
                    <a:gd name="T59" fmla="*/ 1789311167 h 774"/>
                    <a:gd name="T60" fmla="*/ 156249683 w 350"/>
                    <a:gd name="T61" fmla="*/ 1895157696 h 774"/>
                    <a:gd name="T62" fmla="*/ 272176879 w 350"/>
                    <a:gd name="T63" fmla="*/ 1940520494 h 774"/>
                    <a:gd name="T64" fmla="*/ 342741230 w 350"/>
                    <a:gd name="T65" fmla="*/ 1950601116 h 774"/>
                    <a:gd name="T66" fmla="*/ 493950651 w 350"/>
                    <a:gd name="T67" fmla="*/ 1925399561 h 774"/>
                    <a:gd name="T68" fmla="*/ 665321216 w 350"/>
                    <a:gd name="T69" fmla="*/ 1880036763 h 774"/>
                    <a:gd name="T70" fmla="*/ 781248363 w 350"/>
                    <a:gd name="T71" fmla="*/ 1834673965 h 774"/>
                    <a:gd name="T72" fmla="*/ 826611160 w 350"/>
                    <a:gd name="T73" fmla="*/ 1703625881 h 774"/>
                    <a:gd name="T74" fmla="*/ 821570849 w 350"/>
                    <a:gd name="T75" fmla="*/ 1340723099 h 774"/>
                    <a:gd name="T76" fmla="*/ 821570849 w 350"/>
                    <a:gd name="T77" fmla="*/ 1159271906 h 774"/>
                    <a:gd name="T78" fmla="*/ 796369296 w 350"/>
                    <a:gd name="T79" fmla="*/ 1028223823 h 774"/>
                    <a:gd name="T80" fmla="*/ 776208053 w 350"/>
                    <a:gd name="T81" fmla="*/ 967740092 h 774"/>
                    <a:gd name="T82" fmla="*/ 861893534 w 350"/>
                    <a:gd name="T83" fmla="*/ 751006524 h 774"/>
                    <a:gd name="T84" fmla="*/ 877014466 w 350"/>
                    <a:gd name="T85" fmla="*/ 705643726 h 774"/>
                    <a:gd name="T86" fmla="*/ 877014466 w 350"/>
                    <a:gd name="T87" fmla="*/ 685482482 h 774"/>
                    <a:gd name="T88" fmla="*/ 705643702 w 350"/>
                    <a:gd name="T89" fmla="*/ 619958440 h 774"/>
                    <a:gd name="T90" fmla="*/ 685482459 w 350"/>
                    <a:gd name="T91" fmla="*/ 650200306 h 774"/>
                    <a:gd name="T92" fmla="*/ 700603392 w 350"/>
                    <a:gd name="T93" fmla="*/ 594756886 h 774"/>
                    <a:gd name="T94" fmla="*/ 710684013 w 350"/>
                    <a:gd name="T95" fmla="*/ 604837508 h 774"/>
                    <a:gd name="T96" fmla="*/ 705643702 w 350"/>
                    <a:gd name="T97" fmla="*/ 619958440 h 774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w 350"/>
                    <a:gd name="T148" fmla="*/ 0 h 774"/>
                    <a:gd name="T149" fmla="*/ 350 w 350"/>
                    <a:gd name="T150" fmla="*/ 774 h 774"/>
                  </a:gdLst>
                  <a:ahLst/>
                  <a:cxnLst>
                    <a:cxn ang="T98">
                      <a:pos x="T0" y="T1"/>
                    </a:cxn>
                    <a:cxn ang="T99">
                      <a:pos x="T2" y="T3"/>
                    </a:cxn>
                    <a:cxn ang="T100">
                      <a:pos x="T4" y="T5"/>
                    </a:cxn>
                    <a:cxn ang="T101">
                      <a:pos x="T6" y="T7"/>
                    </a:cxn>
                    <a:cxn ang="T102">
                      <a:pos x="T8" y="T9"/>
                    </a:cxn>
                    <a:cxn ang="T103">
                      <a:pos x="T10" y="T11"/>
                    </a:cxn>
                    <a:cxn ang="T104">
                      <a:pos x="T12" y="T13"/>
                    </a:cxn>
                    <a:cxn ang="T105">
                      <a:pos x="T14" y="T15"/>
                    </a:cxn>
                    <a:cxn ang="T106">
                      <a:pos x="T16" y="T17"/>
                    </a:cxn>
                    <a:cxn ang="T107">
                      <a:pos x="T18" y="T19"/>
                    </a:cxn>
                    <a:cxn ang="T108">
                      <a:pos x="T20" y="T21"/>
                    </a:cxn>
                    <a:cxn ang="T109">
                      <a:pos x="T22" y="T23"/>
                    </a:cxn>
                    <a:cxn ang="T110">
                      <a:pos x="T24" y="T25"/>
                    </a:cxn>
                    <a:cxn ang="T111">
                      <a:pos x="T26" y="T27"/>
                    </a:cxn>
                    <a:cxn ang="T112">
                      <a:pos x="T28" y="T29"/>
                    </a:cxn>
                    <a:cxn ang="T113">
                      <a:pos x="T30" y="T31"/>
                    </a:cxn>
                    <a:cxn ang="T114">
                      <a:pos x="T32" y="T33"/>
                    </a:cxn>
                    <a:cxn ang="T115">
                      <a:pos x="T34" y="T35"/>
                    </a:cxn>
                    <a:cxn ang="T116">
                      <a:pos x="T36" y="T37"/>
                    </a:cxn>
                    <a:cxn ang="T117">
                      <a:pos x="T38" y="T39"/>
                    </a:cxn>
                    <a:cxn ang="T118">
                      <a:pos x="T40" y="T41"/>
                    </a:cxn>
                    <a:cxn ang="T119">
                      <a:pos x="T42" y="T43"/>
                    </a:cxn>
                    <a:cxn ang="T120">
                      <a:pos x="T44" y="T45"/>
                    </a:cxn>
                    <a:cxn ang="T121">
                      <a:pos x="T46" y="T47"/>
                    </a:cxn>
                    <a:cxn ang="T122">
                      <a:pos x="T48" y="T49"/>
                    </a:cxn>
                    <a:cxn ang="T123">
                      <a:pos x="T50" y="T51"/>
                    </a:cxn>
                    <a:cxn ang="T124">
                      <a:pos x="T52" y="T53"/>
                    </a:cxn>
                    <a:cxn ang="T125">
                      <a:pos x="T54" y="T55"/>
                    </a:cxn>
                    <a:cxn ang="T126">
                      <a:pos x="T56" y="T57"/>
                    </a:cxn>
                    <a:cxn ang="T127">
                      <a:pos x="T58" y="T59"/>
                    </a:cxn>
                    <a:cxn ang="T128">
                      <a:pos x="T60" y="T61"/>
                    </a:cxn>
                    <a:cxn ang="T129">
                      <a:pos x="T62" y="T63"/>
                    </a:cxn>
                    <a:cxn ang="T130">
                      <a:pos x="T64" y="T65"/>
                    </a:cxn>
                    <a:cxn ang="T131">
                      <a:pos x="T66" y="T67"/>
                    </a:cxn>
                    <a:cxn ang="T132">
                      <a:pos x="T68" y="T69"/>
                    </a:cxn>
                    <a:cxn ang="T133">
                      <a:pos x="T70" y="T71"/>
                    </a:cxn>
                    <a:cxn ang="T134">
                      <a:pos x="T72" y="T73"/>
                    </a:cxn>
                    <a:cxn ang="T135">
                      <a:pos x="T74" y="T75"/>
                    </a:cxn>
                    <a:cxn ang="T136">
                      <a:pos x="T76" y="T77"/>
                    </a:cxn>
                    <a:cxn ang="T137">
                      <a:pos x="T78" y="T79"/>
                    </a:cxn>
                    <a:cxn ang="T138">
                      <a:pos x="T80" y="T81"/>
                    </a:cxn>
                    <a:cxn ang="T139">
                      <a:pos x="T82" y="T83"/>
                    </a:cxn>
                    <a:cxn ang="T140">
                      <a:pos x="T84" y="T85"/>
                    </a:cxn>
                    <a:cxn ang="T141">
                      <a:pos x="T86" y="T87"/>
                    </a:cxn>
                    <a:cxn ang="T142">
                      <a:pos x="T88" y="T89"/>
                    </a:cxn>
                    <a:cxn ang="T143">
                      <a:pos x="T90" y="T91"/>
                    </a:cxn>
                    <a:cxn ang="T144">
                      <a:pos x="T92" y="T93"/>
                    </a:cxn>
                    <a:cxn ang="T145">
                      <a:pos x="T94" y="T95"/>
                    </a:cxn>
                    <a:cxn ang="T146">
                      <a:pos x="T96" y="T97"/>
                    </a:cxn>
                  </a:cxnLst>
                  <a:rect l="T147" t="T148" r="T149" b="T150"/>
                  <a:pathLst>
                    <a:path w="350" h="774">
                      <a:moveTo>
                        <a:pt x="344" y="262"/>
                      </a:moveTo>
                      <a:lnTo>
                        <a:pt x="344" y="262"/>
                      </a:lnTo>
                      <a:lnTo>
                        <a:pt x="322" y="164"/>
                      </a:lnTo>
                      <a:lnTo>
                        <a:pt x="300" y="102"/>
                      </a:lnTo>
                      <a:lnTo>
                        <a:pt x="300" y="96"/>
                      </a:lnTo>
                      <a:lnTo>
                        <a:pt x="300" y="88"/>
                      </a:lnTo>
                      <a:lnTo>
                        <a:pt x="296" y="80"/>
                      </a:lnTo>
                      <a:lnTo>
                        <a:pt x="294" y="76"/>
                      </a:lnTo>
                      <a:lnTo>
                        <a:pt x="294" y="72"/>
                      </a:lnTo>
                      <a:lnTo>
                        <a:pt x="292" y="56"/>
                      </a:lnTo>
                      <a:lnTo>
                        <a:pt x="288" y="46"/>
                      </a:lnTo>
                      <a:lnTo>
                        <a:pt x="284" y="40"/>
                      </a:lnTo>
                      <a:lnTo>
                        <a:pt x="280" y="36"/>
                      </a:lnTo>
                      <a:lnTo>
                        <a:pt x="270" y="30"/>
                      </a:lnTo>
                      <a:lnTo>
                        <a:pt x="260" y="26"/>
                      </a:lnTo>
                      <a:lnTo>
                        <a:pt x="258" y="26"/>
                      </a:lnTo>
                      <a:lnTo>
                        <a:pt x="234" y="20"/>
                      </a:lnTo>
                      <a:lnTo>
                        <a:pt x="226" y="18"/>
                      </a:lnTo>
                      <a:lnTo>
                        <a:pt x="212" y="14"/>
                      </a:lnTo>
                      <a:lnTo>
                        <a:pt x="176" y="8"/>
                      </a:lnTo>
                      <a:lnTo>
                        <a:pt x="120" y="0"/>
                      </a:lnTo>
                      <a:lnTo>
                        <a:pt x="112" y="0"/>
                      </a:lnTo>
                      <a:lnTo>
                        <a:pt x="98" y="4"/>
                      </a:lnTo>
                      <a:lnTo>
                        <a:pt x="84" y="8"/>
                      </a:lnTo>
                      <a:lnTo>
                        <a:pt x="76" y="14"/>
                      </a:lnTo>
                      <a:lnTo>
                        <a:pt x="68" y="18"/>
                      </a:lnTo>
                      <a:lnTo>
                        <a:pt x="58" y="22"/>
                      </a:lnTo>
                      <a:lnTo>
                        <a:pt x="42" y="28"/>
                      </a:lnTo>
                      <a:lnTo>
                        <a:pt x="28" y="32"/>
                      </a:lnTo>
                      <a:lnTo>
                        <a:pt x="12" y="36"/>
                      </a:lnTo>
                      <a:lnTo>
                        <a:pt x="8" y="38"/>
                      </a:lnTo>
                      <a:lnTo>
                        <a:pt x="6" y="42"/>
                      </a:lnTo>
                      <a:lnTo>
                        <a:pt x="4" y="48"/>
                      </a:lnTo>
                      <a:lnTo>
                        <a:pt x="0" y="60"/>
                      </a:lnTo>
                      <a:lnTo>
                        <a:pt x="0" y="70"/>
                      </a:lnTo>
                      <a:lnTo>
                        <a:pt x="2" y="80"/>
                      </a:lnTo>
                      <a:lnTo>
                        <a:pt x="6" y="86"/>
                      </a:lnTo>
                      <a:lnTo>
                        <a:pt x="18" y="106"/>
                      </a:lnTo>
                      <a:lnTo>
                        <a:pt x="30" y="158"/>
                      </a:lnTo>
                      <a:lnTo>
                        <a:pt x="42" y="208"/>
                      </a:lnTo>
                      <a:lnTo>
                        <a:pt x="50" y="224"/>
                      </a:lnTo>
                      <a:lnTo>
                        <a:pt x="56" y="240"/>
                      </a:lnTo>
                      <a:lnTo>
                        <a:pt x="60" y="252"/>
                      </a:lnTo>
                      <a:lnTo>
                        <a:pt x="64" y="266"/>
                      </a:lnTo>
                      <a:lnTo>
                        <a:pt x="72" y="284"/>
                      </a:lnTo>
                      <a:lnTo>
                        <a:pt x="80" y="304"/>
                      </a:lnTo>
                      <a:lnTo>
                        <a:pt x="82" y="312"/>
                      </a:lnTo>
                      <a:lnTo>
                        <a:pt x="84" y="318"/>
                      </a:lnTo>
                      <a:lnTo>
                        <a:pt x="82" y="332"/>
                      </a:lnTo>
                      <a:lnTo>
                        <a:pt x="78" y="346"/>
                      </a:lnTo>
                      <a:lnTo>
                        <a:pt x="72" y="364"/>
                      </a:lnTo>
                      <a:lnTo>
                        <a:pt x="64" y="398"/>
                      </a:lnTo>
                      <a:lnTo>
                        <a:pt x="54" y="438"/>
                      </a:lnTo>
                      <a:lnTo>
                        <a:pt x="48" y="464"/>
                      </a:lnTo>
                      <a:lnTo>
                        <a:pt x="42" y="484"/>
                      </a:lnTo>
                      <a:lnTo>
                        <a:pt x="46" y="488"/>
                      </a:lnTo>
                      <a:lnTo>
                        <a:pt x="52" y="492"/>
                      </a:lnTo>
                      <a:lnTo>
                        <a:pt x="58" y="494"/>
                      </a:lnTo>
                      <a:lnTo>
                        <a:pt x="58" y="506"/>
                      </a:lnTo>
                      <a:lnTo>
                        <a:pt x="58" y="524"/>
                      </a:lnTo>
                      <a:lnTo>
                        <a:pt x="58" y="556"/>
                      </a:lnTo>
                      <a:lnTo>
                        <a:pt x="60" y="606"/>
                      </a:lnTo>
                      <a:lnTo>
                        <a:pt x="62" y="656"/>
                      </a:lnTo>
                      <a:lnTo>
                        <a:pt x="62" y="672"/>
                      </a:lnTo>
                      <a:lnTo>
                        <a:pt x="62" y="682"/>
                      </a:lnTo>
                      <a:lnTo>
                        <a:pt x="62" y="710"/>
                      </a:lnTo>
                      <a:lnTo>
                        <a:pt x="62" y="732"/>
                      </a:lnTo>
                      <a:lnTo>
                        <a:pt x="62" y="752"/>
                      </a:lnTo>
                      <a:lnTo>
                        <a:pt x="72" y="756"/>
                      </a:lnTo>
                      <a:lnTo>
                        <a:pt x="108" y="770"/>
                      </a:lnTo>
                      <a:lnTo>
                        <a:pt x="122" y="774"/>
                      </a:lnTo>
                      <a:lnTo>
                        <a:pt x="136" y="774"/>
                      </a:lnTo>
                      <a:lnTo>
                        <a:pt x="152" y="774"/>
                      </a:lnTo>
                      <a:lnTo>
                        <a:pt x="168" y="770"/>
                      </a:lnTo>
                      <a:lnTo>
                        <a:pt x="196" y="764"/>
                      </a:lnTo>
                      <a:lnTo>
                        <a:pt x="214" y="760"/>
                      </a:lnTo>
                      <a:lnTo>
                        <a:pt x="264" y="746"/>
                      </a:lnTo>
                      <a:lnTo>
                        <a:pt x="288" y="738"/>
                      </a:lnTo>
                      <a:lnTo>
                        <a:pt x="310" y="728"/>
                      </a:lnTo>
                      <a:lnTo>
                        <a:pt x="330" y="716"/>
                      </a:lnTo>
                      <a:lnTo>
                        <a:pt x="328" y="676"/>
                      </a:lnTo>
                      <a:lnTo>
                        <a:pt x="326" y="616"/>
                      </a:lnTo>
                      <a:lnTo>
                        <a:pt x="326" y="532"/>
                      </a:lnTo>
                      <a:lnTo>
                        <a:pt x="324" y="468"/>
                      </a:lnTo>
                      <a:lnTo>
                        <a:pt x="326" y="460"/>
                      </a:lnTo>
                      <a:lnTo>
                        <a:pt x="326" y="446"/>
                      </a:lnTo>
                      <a:lnTo>
                        <a:pt x="324" y="434"/>
                      </a:lnTo>
                      <a:lnTo>
                        <a:pt x="316" y="408"/>
                      </a:lnTo>
                      <a:lnTo>
                        <a:pt x="310" y="392"/>
                      </a:lnTo>
                      <a:lnTo>
                        <a:pt x="308" y="384"/>
                      </a:lnTo>
                      <a:lnTo>
                        <a:pt x="324" y="344"/>
                      </a:lnTo>
                      <a:lnTo>
                        <a:pt x="338" y="314"/>
                      </a:lnTo>
                      <a:lnTo>
                        <a:pt x="342" y="298"/>
                      </a:lnTo>
                      <a:lnTo>
                        <a:pt x="344" y="290"/>
                      </a:lnTo>
                      <a:lnTo>
                        <a:pt x="348" y="280"/>
                      </a:lnTo>
                      <a:lnTo>
                        <a:pt x="350" y="276"/>
                      </a:lnTo>
                      <a:lnTo>
                        <a:pt x="348" y="272"/>
                      </a:lnTo>
                      <a:lnTo>
                        <a:pt x="344" y="262"/>
                      </a:lnTo>
                      <a:close/>
                      <a:moveTo>
                        <a:pt x="280" y="246"/>
                      </a:moveTo>
                      <a:lnTo>
                        <a:pt x="276" y="250"/>
                      </a:lnTo>
                      <a:lnTo>
                        <a:pt x="276" y="256"/>
                      </a:lnTo>
                      <a:lnTo>
                        <a:pt x="272" y="258"/>
                      </a:lnTo>
                      <a:lnTo>
                        <a:pt x="274" y="236"/>
                      </a:lnTo>
                      <a:lnTo>
                        <a:pt x="278" y="236"/>
                      </a:lnTo>
                      <a:lnTo>
                        <a:pt x="280" y="238"/>
                      </a:lnTo>
                      <a:lnTo>
                        <a:pt x="282" y="240"/>
                      </a:lnTo>
                      <a:lnTo>
                        <a:pt x="282" y="246"/>
                      </a:lnTo>
                      <a:lnTo>
                        <a:pt x="280" y="246"/>
                      </a:lnTo>
                      <a:close/>
                    </a:path>
                  </a:pathLst>
                </a:custGeom>
                <a:solidFill>
                  <a:schemeClr val="tx1">
                    <a:lumMod val="50000"/>
                  </a:schemeClr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>
                    <a:latin typeface="+mn-lt"/>
                    <a:cs typeface="+mn-cs"/>
                  </a:endParaRPr>
                </a:p>
              </p:txBody>
            </p:sp>
            <p:sp>
              <p:nvSpPr>
                <p:cNvPr id="110" name="Freeform 139"/>
                <p:cNvSpPr>
                  <a:spLocks/>
                </p:cNvSpPr>
                <p:nvPr/>
              </p:nvSpPr>
              <p:spPr bwMode="auto">
                <a:xfrm>
                  <a:off x="3882587" y="3839858"/>
                  <a:ext cx="342211" cy="367748"/>
                </a:xfrm>
                <a:custGeom>
                  <a:avLst/>
                  <a:gdLst>
                    <a:gd name="T0" fmla="*/ 282257514 w 202"/>
                    <a:gd name="T1" fmla="*/ 10080625 h 216"/>
                    <a:gd name="T2" fmla="*/ 317539691 w 202"/>
                    <a:gd name="T3" fmla="*/ 5040313 h 216"/>
                    <a:gd name="T4" fmla="*/ 327620313 w 202"/>
                    <a:gd name="T5" fmla="*/ 10080625 h 216"/>
                    <a:gd name="T6" fmla="*/ 403224977 w 202"/>
                    <a:gd name="T7" fmla="*/ 15120939 h 216"/>
                    <a:gd name="T8" fmla="*/ 433466942 w 202"/>
                    <a:gd name="T9" fmla="*/ 30241879 h 216"/>
                    <a:gd name="T10" fmla="*/ 443547564 w 202"/>
                    <a:gd name="T11" fmla="*/ 45362812 h 216"/>
                    <a:gd name="T12" fmla="*/ 463708808 w 202"/>
                    <a:gd name="T13" fmla="*/ 100806246 h 216"/>
                    <a:gd name="T14" fmla="*/ 463708808 w 202"/>
                    <a:gd name="T15" fmla="*/ 156249693 h 216"/>
                    <a:gd name="T16" fmla="*/ 473789430 w 202"/>
                    <a:gd name="T17" fmla="*/ 226814098 h 216"/>
                    <a:gd name="T18" fmla="*/ 473789430 w 202"/>
                    <a:gd name="T19" fmla="*/ 307459075 h 216"/>
                    <a:gd name="T20" fmla="*/ 453628186 w 202"/>
                    <a:gd name="T21" fmla="*/ 372983119 h 216"/>
                    <a:gd name="T22" fmla="*/ 453628186 w 202"/>
                    <a:gd name="T23" fmla="*/ 393144363 h 216"/>
                    <a:gd name="T24" fmla="*/ 473789430 w 202"/>
                    <a:gd name="T25" fmla="*/ 443547573 h 216"/>
                    <a:gd name="T26" fmla="*/ 493950674 w 202"/>
                    <a:gd name="T27" fmla="*/ 453628195 h 216"/>
                    <a:gd name="T28" fmla="*/ 483870052 w 202"/>
                    <a:gd name="T29" fmla="*/ 453628195 h 216"/>
                    <a:gd name="T30" fmla="*/ 463708808 w 202"/>
                    <a:gd name="T31" fmla="*/ 453628195 h 216"/>
                    <a:gd name="T32" fmla="*/ 473789430 w 202"/>
                    <a:gd name="T33" fmla="*/ 478829751 h 216"/>
                    <a:gd name="T34" fmla="*/ 498990985 w 202"/>
                    <a:gd name="T35" fmla="*/ 493950684 h 216"/>
                    <a:gd name="T36" fmla="*/ 509071607 w 202"/>
                    <a:gd name="T37" fmla="*/ 488910373 h 216"/>
                    <a:gd name="T38" fmla="*/ 493950674 w 202"/>
                    <a:gd name="T39" fmla="*/ 534273172 h 216"/>
                    <a:gd name="T40" fmla="*/ 473789430 w 202"/>
                    <a:gd name="T41" fmla="*/ 544353795 h 216"/>
                    <a:gd name="T42" fmla="*/ 453628186 w 202"/>
                    <a:gd name="T43" fmla="*/ 544353795 h 216"/>
                    <a:gd name="T44" fmla="*/ 418346010 w 202"/>
                    <a:gd name="T45" fmla="*/ 534273172 h 216"/>
                    <a:gd name="T46" fmla="*/ 398184666 w 202"/>
                    <a:gd name="T47" fmla="*/ 509071617 h 216"/>
                    <a:gd name="T48" fmla="*/ 398184666 w 202"/>
                    <a:gd name="T49" fmla="*/ 493950684 h 216"/>
                    <a:gd name="T50" fmla="*/ 388104044 w 202"/>
                    <a:gd name="T51" fmla="*/ 478829751 h 216"/>
                    <a:gd name="T52" fmla="*/ 352821868 w 202"/>
                    <a:gd name="T53" fmla="*/ 468749128 h 216"/>
                    <a:gd name="T54" fmla="*/ 337700935 w 202"/>
                    <a:gd name="T55" fmla="*/ 453628195 h 216"/>
                    <a:gd name="T56" fmla="*/ 196572178 w 202"/>
                    <a:gd name="T57" fmla="*/ 453628195 h 216"/>
                    <a:gd name="T58" fmla="*/ 176410934 w 202"/>
                    <a:gd name="T59" fmla="*/ 478829751 h 216"/>
                    <a:gd name="T60" fmla="*/ 176410934 w 202"/>
                    <a:gd name="T61" fmla="*/ 504031306 h 216"/>
                    <a:gd name="T62" fmla="*/ 171370623 w 202"/>
                    <a:gd name="T63" fmla="*/ 524192550 h 216"/>
                    <a:gd name="T64" fmla="*/ 151209379 w 202"/>
                    <a:gd name="T65" fmla="*/ 534273172 h 216"/>
                    <a:gd name="T66" fmla="*/ 141128757 w 202"/>
                    <a:gd name="T67" fmla="*/ 539313484 h 216"/>
                    <a:gd name="T68" fmla="*/ 120967513 w 202"/>
                    <a:gd name="T69" fmla="*/ 534273172 h 216"/>
                    <a:gd name="T70" fmla="*/ 70564378 w 202"/>
                    <a:gd name="T71" fmla="*/ 544353795 h 216"/>
                    <a:gd name="T72" fmla="*/ 35282189 w 202"/>
                    <a:gd name="T73" fmla="*/ 529232861 h 216"/>
                    <a:gd name="T74" fmla="*/ 15120939 w 202"/>
                    <a:gd name="T75" fmla="*/ 493950684 h 216"/>
                    <a:gd name="T76" fmla="*/ 0 w 202"/>
                    <a:gd name="T77" fmla="*/ 473789440 h 216"/>
                    <a:gd name="T78" fmla="*/ 30241878 w 202"/>
                    <a:gd name="T79" fmla="*/ 478829751 h 216"/>
                    <a:gd name="T80" fmla="*/ 35282189 w 202"/>
                    <a:gd name="T81" fmla="*/ 473789440 h 216"/>
                    <a:gd name="T82" fmla="*/ 45362811 w 202"/>
                    <a:gd name="T83" fmla="*/ 458668506 h 216"/>
                    <a:gd name="T84" fmla="*/ 65524068 w 202"/>
                    <a:gd name="T85" fmla="*/ 433466951 h 216"/>
                    <a:gd name="T86" fmla="*/ 60483757 w 202"/>
                    <a:gd name="T87" fmla="*/ 398184674 h 216"/>
                    <a:gd name="T88" fmla="*/ 55443446 w 202"/>
                    <a:gd name="T89" fmla="*/ 367942808 h 216"/>
                    <a:gd name="T90" fmla="*/ 45362811 w 202"/>
                    <a:gd name="T91" fmla="*/ 312499386 h 216"/>
                    <a:gd name="T92" fmla="*/ 55443446 w 202"/>
                    <a:gd name="T93" fmla="*/ 267136586 h 216"/>
                    <a:gd name="T94" fmla="*/ 80645000 w 202"/>
                    <a:gd name="T95" fmla="*/ 196572182 h 216"/>
                    <a:gd name="T96" fmla="*/ 90725622 w 202"/>
                    <a:gd name="T97" fmla="*/ 171370626 h 216"/>
                    <a:gd name="T98" fmla="*/ 120967513 w 202"/>
                    <a:gd name="T99" fmla="*/ 105846582 h 216"/>
                    <a:gd name="T100" fmla="*/ 181451245 w 202"/>
                    <a:gd name="T101" fmla="*/ 45362812 h 216"/>
                    <a:gd name="T102" fmla="*/ 236894715 w 202"/>
                    <a:gd name="T103" fmla="*/ 5040313 h 216"/>
                    <a:gd name="T104" fmla="*/ 272176892 w 202"/>
                    <a:gd name="T105" fmla="*/ 5040313 h 216"/>
                    <a:gd name="T106" fmla="*/ 282257514 w 202"/>
                    <a:gd name="T107" fmla="*/ 10080625 h 21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w 202"/>
                    <a:gd name="T163" fmla="*/ 0 h 216"/>
                    <a:gd name="T164" fmla="*/ 202 w 202"/>
                    <a:gd name="T165" fmla="*/ 216 h 216"/>
                  </a:gdLst>
                  <a:ahLst/>
                  <a:cxnLst>
                    <a:cxn ang="T108">
                      <a:pos x="T0" y="T1"/>
                    </a:cxn>
                    <a:cxn ang="T109">
                      <a:pos x="T2" y="T3"/>
                    </a:cxn>
                    <a:cxn ang="T110">
                      <a:pos x="T4" y="T5"/>
                    </a:cxn>
                    <a:cxn ang="T111">
                      <a:pos x="T6" y="T7"/>
                    </a:cxn>
                    <a:cxn ang="T112">
                      <a:pos x="T8" y="T9"/>
                    </a:cxn>
                    <a:cxn ang="T113">
                      <a:pos x="T10" y="T11"/>
                    </a:cxn>
                    <a:cxn ang="T114">
                      <a:pos x="T12" y="T13"/>
                    </a:cxn>
                    <a:cxn ang="T115">
                      <a:pos x="T14" y="T15"/>
                    </a:cxn>
                    <a:cxn ang="T116">
                      <a:pos x="T16" y="T17"/>
                    </a:cxn>
                    <a:cxn ang="T117">
                      <a:pos x="T18" y="T19"/>
                    </a:cxn>
                    <a:cxn ang="T118">
                      <a:pos x="T20" y="T21"/>
                    </a:cxn>
                    <a:cxn ang="T119">
                      <a:pos x="T22" y="T23"/>
                    </a:cxn>
                    <a:cxn ang="T120">
                      <a:pos x="T24" y="T25"/>
                    </a:cxn>
                    <a:cxn ang="T121">
                      <a:pos x="T26" y="T27"/>
                    </a:cxn>
                    <a:cxn ang="T122">
                      <a:pos x="T28" y="T29"/>
                    </a:cxn>
                    <a:cxn ang="T123">
                      <a:pos x="T30" y="T31"/>
                    </a:cxn>
                    <a:cxn ang="T124">
                      <a:pos x="T32" y="T33"/>
                    </a:cxn>
                    <a:cxn ang="T125">
                      <a:pos x="T34" y="T35"/>
                    </a:cxn>
                    <a:cxn ang="T126">
                      <a:pos x="T36" y="T37"/>
                    </a:cxn>
                    <a:cxn ang="T127">
                      <a:pos x="T38" y="T39"/>
                    </a:cxn>
                    <a:cxn ang="T128">
                      <a:pos x="T40" y="T41"/>
                    </a:cxn>
                    <a:cxn ang="T129">
                      <a:pos x="T42" y="T43"/>
                    </a:cxn>
                    <a:cxn ang="T130">
                      <a:pos x="T44" y="T45"/>
                    </a:cxn>
                    <a:cxn ang="T131">
                      <a:pos x="T46" y="T47"/>
                    </a:cxn>
                    <a:cxn ang="T132">
                      <a:pos x="T48" y="T49"/>
                    </a:cxn>
                    <a:cxn ang="T133">
                      <a:pos x="T50" y="T51"/>
                    </a:cxn>
                    <a:cxn ang="T134">
                      <a:pos x="T52" y="T53"/>
                    </a:cxn>
                    <a:cxn ang="T135">
                      <a:pos x="T54" y="T55"/>
                    </a:cxn>
                    <a:cxn ang="T136">
                      <a:pos x="T56" y="T57"/>
                    </a:cxn>
                    <a:cxn ang="T137">
                      <a:pos x="T58" y="T59"/>
                    </a:cxn>
                    <a:cxn ang="T138">
                      <a:pos x="T60" y="T61"/>
                    </a:cxn>
                    <a:cxn ang="T139">
                      <a:pos x="T62" y="T63"/>
                    </a:cxn>
                    <a:cxn ang="T140">
                      <a:pos x="T64" y="T65"/>
                    </a:cxn>
                    <a:cxn ang="T141">
                      <a:pos x="T66" y="T67"/>
                    </a:cxn>
                    <a:cxn ang="T142">
                      <a:pos x="T68" y="T69"/>
                    </a:cxn>
                    <a:cxn ang="T143">
                      <a:pos x="T70" y="T71"/>
                    </a:cxn>
                    <a:cxn ang="T144">
                      <a:pos x="T72" y="T73"/>
                    </a:cxn>
                    <a:cxn ang="T145">
                      <a:pos x="T74" y="T75"/>
                    </a:cxn>
                    <a:cxn ang="T146">
                      <a:pos x="T76" y="T77"/>
                    </a:cxn>
                    <a:cxn ang="T147">
                      <a:pos x="T78" y="T79"/>
                    </a:cxn>
                    <a:cxn ang="T148">
                      <a:pos x="T80" y="T81"/>
                    </a:cxn>
                    <a:cxn ang="T149">
                      <a:pos x="T82" y="T83"/>
                    </a:cxn>
                    <a:cxn ang="T150">
                      <a:pos x="T84" y="T85"/>
                    </a:cxn>
                    <a:cxn ang="T151">
                      <a:pos x="T86" y="T87"/>
                    </a:cxn>
                    <a:cxn ang="T152">
                      <a:pos x="T88" y="T89"/>
                    </a:cxn>
                    <a:cxn ang="T153">
                      <a:pos x="T90" y="T91"/>
                    </a:cxn>
                    <a:cxn ang="T154">
                      <a:pos x="T92" y="T93"/>
                    </a:cxn>
                    <a:cxn ang="T155">
                      <a:pos x="T94" y="T95"/>
                    </a:cxn>
                    <a:cxn ang="T156">
                      <a:pos x="T96" y="T97"/>
                    </a:cxn>
                    <a:cxn ang="T157">
                      <a:pos x="T98" y="T99"/>
                    </a:cxn>
                    <a:cxn ang="T158">
                      <a:pos x="T100" y="T101"/>
                    </a:cxn>
                    <a:cxn ang="T159">
                      <a:pos x="T102" y="T103"/>
                    </a:cxn>
                    <a:cxn ang="T160">
                      <a:pos x="T104" y="T105"/>
                    </a:cxn>
                    <a:cxn ang="T161">
                      <a:pos x="T106" y="T107"/>
                    </a:cxn>
                  </a:cxnLst>
                  <a:rect l="T162" t="T163" r="T164" b="T165"/>
                  <a:pathLst>
                    <a:path w="202" h="216">
                      <a:moveTo>
                        <a:pt x="112" y="4"/>
                      </a:moveTo>
                      <a:lnTo>
                        <a:pt x="112" y="4"/>
                      </a:lnTo>
                      <a:lnTo>
                        <a:pt x="120" y="2"/>
                      </a:lnTo>
                      <a:lnTo>
                        <a:pt x="126" y="2"/>
                      </a:lnTo>
                      <a:lnTo>
                        <a:pt x="130" y="4"/>
                      </a:lnTo>
                      <a:lnTo>
                        <a:pt x="146" y="4"/>
                      </a:lnTo>
                      <a:lnTo>
                        <a:pt x="160" y="6"/>
                      </a:lnTo>
                      <a:lnTo>
                        <a:pt x="166" y="8"/>
                      </a:lnTo>
                      <a:lnTo>
                        <a:pt x="172" y="12"/>
                      </a:lnTo>
                      <a:lnTo>
                        <a:pt x="176" y="18"/>
                      </a:lnTo>
                      <a:lnTo>
                        <a:pt x="180" y="24"/>
                      </a:lnTo>
                      <a:lnTo>
                        <a:pt x="184" y="40"/>
                      </a:lnTo>
                      <a:lnTo>
                        <a:pt x="184" y="54"/>
                      </a:lnTo>
                      <a:lnTo>
                        <a:pt x="184" y="62"/>
                      </a:lnTo>
                      <a:lnTo>
                        <a:pt x="188" y="90"/>
                      </a:lnTo>
                      <a:lnTo>
                        <a:pt x="190" y="108"/>
                      </a:lnTo>
                      <a:lnTo>
                        <a:pt x="188" y="122"/>
                      </a:lnTo>
                      <a:lnTo>
                        <a:pt x="180" y="148"/>
                      </a:lnTo>
                      <a:lnTo>
                        <a:pt x="180" y="156"/>
                      </a:lnTo>
                      <a:lnTo>
                        <a:pt x="182" y="166"/>
                      </a:lnTo>
                      <a:lnTo>
                        <a:pt x="188" y="176"/>
                      </a:lnTo>
                      <a:lnTo>
                        <a:pt x="192" y="178"/>
                      </a:lnTo>
                      <a:lnTo>
                        <a:pt x="196" y="180"/>
                      </a:lnTo>
                      <a:lnTo>
                        <a:pt x="192" y="180"/>
                      </a:lnTo>
                      <a:lnTo>
                        <a:pt x="188" y="180"/>
                      </a:lnTo>
                      <a:lnTo>
                        <a:pt x="184" y="180"/>
                      </a:lnTo>
                      <a:lnTo>
                        <a:pt x="188" y="190"/>
                      </a:lnTo>
                      <a:lnTo>
                        <a:pt x="194" y="194"/>
                      </a:lnTo>
                      <a:lnTo>
                        <a:pt x="198" y="196"/>
                      </a:lnTo>
                      <a:lnTo>
                        <a:pt x="202" y="194"/>
                      </a:lnTo>
                      <a:lnTo>
                        <a:pt x="200" y="204"/>
                      </a:lnTo>
                      <a:lnTo>
                        <a:pt x="196" y="212"/>
                      </a:lnTo>
                      <a:lnTo>
                        <a:pt x="192" y="214"/>
                      </a:lnTo>
                      <a:lnTo>
                        <a:pt x="188" y="216"/>
                      </a:lnTo>
                      <a:lnTo>
                        <a:pt x="180" y="216"/>
                      </a:lnTo>
                      <a:lnTo>
                        <a:pt x="170" y="214"/>
                      </a:lnTo>
                      <a:lnTo>
                        <a:pt x="166" y="212"/>
                      </a:lnTo>
                      <a:lnTo>
                        <a:pt x="162" y="208"/>
                      </a:lnTo>
                      <a:lnTo>
                        <a:pt x="158" y="202"/>
                      </a:lnTo>
                      <a:lnTo>
                        <a:pt x="158" y="196"/>
                      </a:lnTo>
                      <a:lnTo>
                        <a:pt x="156" y="192"/>
                      </a:lnTo>
                      <a:lnTo>
                        <a:pt x="154" y="190"/>
                      </a:lnTo>
                      <a:lnTo>
                        <a:pt x="144" y="188"/>
                      </a:lnTo>
                      <a:lnTo>
                        <a:pt x="140" y="186"/>
                      </a:lnTo>
                      <a:lnTo>
                        <a:pt x="136" y="184"/>
                      </a:lnTo>
                      <a:lnTo>
                        <a:pt x="134" y="180"/>
                      </a:lnTo>
                      <a:lnTo>
                        <a:pt x="134" y="176"/>
                      </a:lnTo>
                      <a:lnTo>
                        <a:pt x="78" y="180"/>
                      </a:lnTo>
                      <a:lnTo>
                        <a:pt x="70" y="190"/>
                      </a:lnTo>
                      <a:lnTo>
                        <a:pt x="70" y="194"/>
                      </a:lnTo>
                      <a:lnTo>
                        <a:pt x="70" y="200"/>
                      </a:lnTo>
                      <a:lnTo>
                        <a:pt x="70" y="206"/>
                      </a:lnTo>
                      <a:lnTo>
                        <a:pt x="68" y="208"/>
                      </a:lnTo>
                      <a:lnTo>
                        <a:pt x="64" y="212"/>
                      </a:lnTo>
                      <a:lnTo>
                        <a:pt x="60" y="212"/>
                      </a:lnTo>
                      <a:lnTo>
                        <a:pt x="56" y="214"/>
                      </a:lnTo>
                      <a:lnTo>
                        <a:pt x="48" y="212"/>
                      </a:lnTo>
                      <a:lnTo>
                        <a:pt x="42" y="214"/>
                      </a:lnTo>
                      <a:lnTo>
                        <a:pt x="28" y="216"/>
                      </a:lnTo>
                      <a:lnTo>
                        <a:pt x="22" y="214"/>
                      </a:lnTo>
                      <a:lnTo>
                        <a:pt x="14" y="210"/>
                      </a:lnTo>
                      <a:lnTo>
                        <a:pt x="8" y="204"/>
                      </a:lnTo>
                      <a:lnTo>
                        <a:pt x="6" y="196"/>
                      </a:lnTo>
                      <a:lnTo>
                        <a:pt x="0" y="188"/>
                      </a:lnTo>
                      <a:lnTo>
                        <a:pt x="6" y="190"/>
                      </a:lnTo>
                      <a:lnTo>
                        <a:pt x="12" y="190"/>
                      </a:lnTo>
                      <a:lnTo>
                        <a:pt x="14" y="190"/>
                      </a:lnTo>
                      <a:lnTo>
                        <a:pt x="14" y="188"/>
                      </a:lnTo>
                      <a:lnTo>
                        <a:pt x="18" y="182"/>
                      </a:lnTo>
                      <a:lnTo>
                        <a:pt x="24" y="178"/>
                      </a:lnTo>
                      <a:lnTo>
                        <a:pt x="26" y="172"/>
                      </a:lnTo>
                      <a:lnTo>
                        <a:pt x="26" y="166"/>
                      </a:lnTo>
                      <a:lnTo>
                        <a:pt x="24" y="158"/>
                      </a:lnTo>
                      <a:lnTo>
                        <a:pt x="22" y="146"/>
                      </a:lnTo>
                      <a:lnTo>
                        <a:pt x="18" y="134"/>
                      </a:lnTo>
                      <a:lnTo>
                        <a:pt x="18" y="124"/>
                      </a:lnTo>
                      <a:lnTo>
                        <a:pt x="18" y="114"/>
                      </a:lnTo>
                      <a:lnTo>
                        <a:pt x="22" y="106"/>
                      </a:lnTo>
                      <a:lnTo>
                        <a:pt x="30" y="88"/>
                      </a:lnTo>
                      <a:lnTo>
                        <a:pt x="32" y="78"/>
                      </a:lnTo>
                      <a:lnTo>
                        <a:pt x="36" y="68"/>
                      </a:lnTo>
                      <a:lnTo>
                        <a:pt x="40" y="56"/>
                      </a:lnTo>
                      <a:lnTo>
                        <a:pt x="48" y="42"/>
                      </a:lnTo>
                      <a:lnTo>
                        <a:pt x="60" y="30"/>
                      </a:lnTo>
                      <a:lnTo>
                        <a:pt x="72" y="18"/>
                      </a:lnTo>
                      <a:lnTo>
                        <a:pt x="84" y="10"/>
                      </a:lnTo>
                      <a:lnTo>
                        <a:pt x="94" y="2"/>
                      </a:lnTo>
                      <a:lnTo>
                        <a:pt x="104" y="0"/>
                      </a:lnTo>
                      <a:lnTo>
                        <a:pt x="108" y="2"/>
                      </a:lnTo>
                      <a:lnTo>
                        <a:pt x="112" y="4"/>
                      </a:lnTo>
                      <a:close/>
                    </a:path>
                  </a:pathLst>
                </a:custGeom>
                <a:solidFill>
                  <a:schemeClr val="tx1">
                    <a:lumMod val="50000"/>
                  </a:schemeClr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>
                    <a:latin typeface="+mn-lt"/>
                    <a:cs typeface="+mn-cs"/>
                  </a:endParaRPr>
                </a:p>
              </p:txBody>
            </p:sp>
            <p:sp>
              <p:nvSpPr>
                <p:cNvPr id="111" name="Freeform 141"/>
                <p:cNvSpPr>
                  <a:spLocks/>
                </p:cNvSpPr>
                <p:nvPr/>
              </p:nvSpPr>
              <p:spPr bwMode="auto">
                <a:xfrm>
                  <a:off x="3996657" y="3882128"/>
                  <a:ext cx="181670" cy="249392"/>
                </a:xfrm>
                <a:custGeom>
                  <a:avLst/>
                  <a:gdLst>
                    <a:gd name="T0" fmla="*/ 231854407 w 106"/>
                    <a:gd name="T1" fmla="*/ 50403117 h 150"/>
                    <a:gd name="T2" fmla="*/ 231854407 w 106"/>
                    <a:gd name="T3" fmla="*/ 50403117 h 150"/>
                    <a:gd name="T4" fmla="*/ 246975341 w 106"/>
                    <a:gd name="T5" fmla="*/ 85685302 h 150"/>
                    <a:gd name="T6" fmla="*/ 262096274 w 106"/>
                    <a:gd name="T7" fmla="*/ 115927190 h 150"/>
                    <a:gd name="T8" fmla="*/ 267136585 w 106"/>
                    <a:gd name="T9" fmla="*/ 141128742 h 150"/>
                    <a:gd name="T10" fmla="*/ 267136585 w 106"/>
                    <a:gd name="T11" fmla="*/ 141128742 h 150"/>
                    <a:gd name="T12" fmla="*/ 267136585 w 106"/>
                    <a:gd name="T13" fmla="*/ 186491536 h 150"/>
                    <a:gd name="T14" fmla="*/ 267136585 w 106"/>
                    <a:gd name="T15" fmla="*/ 186491536 h 150"/>
                    <a:gd name="T16" fmla="*/ 257055963 w 106"/>
                    <a:gd name="T17" fmla="*/ 241935001 h 150"/>
                    <a:gd name="T18" fmla="*/ 252015652 w 106"/>
                    <a:gd name="T19" fmla="*/ 277217174 h 150"/>
                    <a:gd name="T20" fmla="*/ 241935030 w 106"/>
                    <a:gd name="T21" fmla="*/ 302418726 h 150"/>
                    <a:gd name="T22" fmla="*/ 241935030 w 106"/>
                    <a:gd name="T23" fmla="*/ 302418726 h 150"/>
                    <a:gd name="T24" fmla="*/ 201612492 w 106"/>
                    <a:gd name="T25" fmla="*/ 367942762 h 150"/>
                    <a:gd name="T26" fmla="*/ 201612492 w 106"/>
                    <a:gd name="T27" fmla="*/ 367942762 h 150"/>
                    <a:gd name="T28" fmla="*/ 191531869 w 106"/>
                    <a:gd name="T29" fmla="*/ 372983072 h 150"/>
                    <a:gd name="T30" fmla="*/ 176410936 w 106"/>
                    <a:gd name="T31" fmla="*/ 378023383 h 150"/>
                    <a:gd name="T32" fmla="*/ 161290003 w 106"/>
                    <a:gd name="T33" fmla="*/ 378023383 h 150"/>
                    <a:gd name="T34" fmla="*/ 161290003 w 106"/>
                    <a:gd name="T35" fmla="*/ 378023383 h 150"/>
                    <a:gd name="T36" fmla="*/ 136088448 w 106"/>
                    <a:gd name="T37" fmla="*/ 372983072 h 150"/>
                    <a:gd name="T38" fmla="*/ 105846582 w 106"/>
                    <a:gd name="T39" fmla="*/ 362902452 h 150"/>
                    <a:gd name="T40" fmla="*/ 65524068 w 106"/>
                    <a:gd name="T41" fmla="*/ 342741210 h 150"/>
                    <a:gd name="T42" fmla="*/ 65524068 w 106"/>
                    <a:gd name="T43" fmla="*/ 342741210 h 150"/>
                    <a:gd name="T44" fmla="*/ 40322501 w 106"/>
                    <a:gd name="T45" fmla="*/ 332660589 h 150"/>
                    <a:gd name="T46" fmla="*/ 20161250 w 106"/>
                    <a:gd name="T47" fmla="*/ 317539658 h 150"/>
                    <a:gd name="T48" fmla="*/ 10080625 w 106"/>
                    <a:gd name="T49" fmla="*/ 307459037 h 150"/>
                    <a:gd name="T50" fmla="*/ 5040313 w 106"/>
                    <a:gd name="T51" fmla="*/ 297378416 h 150"/>
                    <a:gd name="T52" fmla="*/ 5040313 w 106"/>
                    <a:gd name="T53" fmla="*/ 297378416 h 150"/>
                    <a:gd name="T54" fmla="*/ 0 w 106"/>
                    <a:gd name="T55" fmla="*/ 262096243 h 150"/>
                    <a:gd name="T56" fmla="*/ 0 w 106"/>
                    <a:gd name="T57" fmla="*/ 246975311 h 150"/>
                    <a:gd name="T58" fmla="*/ 0 w 106"/>
                    <a:gd name="T59" fmla="*/ 246975311 h 150"/>
                    <a:gd name="T60" fmla="*/ 10080625 w 106"/>
                    <a:gd name="T61" fmla="*/ 206652778 h 150"/>
                    <a:gd name="T62" fmla="*/ 15120939 w 106"/>
                    <a:gd name="T63" fmla="*/ 166330294 h 150"/>
                    <a:gd name="T64" fmla="*/ 20161250 w 106"/>
                    <a:gd name="T65" fmla="*/ 126007811 h 150"/>
                    <a:gd name="T66" fmla="*/ 20161250 w 106"/>
                    <a:gd name="T67" fmla="*/ 126007811 h 150"/>
                    <a:gd name="T68" fmla="*/ 20161250 w 106"/>
                    <a:gd name="T69" fmla="*/ 105846569 h 150"/>
                    <a:gd name="T70" fmla="*/ 25201561 w 106"/>
                    <a:gd name="T71" fmla="*/ 85685302 h 150"/>
                    <a:gd name="T72" fmla="*/ 40322501 w 106"/>
                    <a:gd name="T73" fmla="*/ 65524061 h 150"/>
                    <a:gd name="T74" fmla="*/ 50403123 w 106"/>
                    <a:gd name="T75" fmla="*/ 45362806 h 150"/>
                    <a:gd name="T76" fmla="*/ 65524068 w 106"/>
                    <a:gd name="T77" fmla="*/ 30241875 h 150"/>
                    <a:gd name="T78" fmla="*/ 85685313 w 106"/>
                    <a:gd name="T79" fmla="*/ 15120938 h 150"/>
                    <a:gd name="T80" fmla="*/ 100806246 w 106"/>
                    <a:gd name="T81" fmla="*/ 5040312 h 150"/>
                    <a:gd name="T82" fmla="*/ 120967515 w 106"/>
                    <a:gd name="T83" fmla="*/ 0 h 150"/>
                    <a:gd name="T84" fmla="*/ 120967515 w 106"/>
                    <a:gd name="T85" fmla="*/ 0 h 150"/>
                    <a:gd name="T86" fmla="*/ 156249692 w 106"/>
                    <a:gd name="T87" fmla="*/ 5040312 h 150"/>
                    <a:gd name="T88" fmla="*/ 186491558 w 106"/>
                    <a:gd name="T89" fmla="*/ 15120938 h 150"/>
                    <a:gd name="T90" fmla="*/ 211693163 w 106"/>
                    <a:gd name="T91" fmla="*/ 30241875 h 150"/>
                    <a:gd name="T92" fmla="*/ 231854407 w 106"/>
                    <a:gd name="T93" fmla="*/ 50403117 h 150"/>
                    <a:gd name="T94" fmla="*/ 231854407 w 106"/>
                    <a:gd name="T95" fmla="*/ 50403117 h 150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w 106"/>
                    <a:gd name="T145" fmla="*/ 0 h 150"/>
                    <a:gd name="T146" fmla="*/ 106 w 106"/>
                    <a:gd name="T147" fmla="*/ 150 h 150"/>
                  </a:gdLst>
                  <a:ahLst/>
                  <a:cxnLst>
                    <a:cxn ang="T96">
                      <a:pos x="T0" y="T1"/>
                    </a:cxn>
                    <a:cxn ang="T97">
                      <a:pos x="T2" y="T3"/>
                    </a:cxn>
                    <a:cxn ang="T98">
                      <a:pos x="T4" y="T5"/>
                    </a:cxn>
                    <a:cxn ang="T99">
                      <a:pos x="T6" y="T7"/>
                    </a:cxn>
                    <a:cxn ang="T100">
                      <a:pos x="T8" y="T9"/>
                    </a:cxn>
                    <a:cxn ang="T101">
                      <a:pos x="T10" y="T11"/>
                    </a:cxn>
                    <a:cxn ang="T102">
                      <a:pos x="T12" y="T13"/>
                    </a:cxn>
                    <a:cxn ang="T103">
                      <a:pos x="T14" y="T15"/>
                    </a:cxn>
                    <a:cxn ang="T104">
                      <a:pos x="T16" y="T17"/>
                    </a:cxn>
                    <a:cxn ang="T105">
                      <a:pos x="T18" y="T19"/>
                    </a:cxn>
                    <a:cxn ang="T106">
                      <a:pos x="T20" y="T21"/>
                    </a:cxn>
                    <a:cxn ang="T107">
                      <a:pos x="T22" y="T23"/>
                    </a:cxn>
                    <a:cxn ang="T108">
                      <a:pos x="T24" y="T25"/>
                    </a:cxn>
                    <a:cxn ang="T109">
                      <a:pos x="T26" y="T27"/>
                    </a:cxn>
                    <a:cxn ang="T110">
                      <a:pos x="T28" y="T29"/>
                    </a:cxn>
                    <a:cxn ang="T111">
                      <a:pos x="T30" y="T31"/>
                    </a:cxn>
                    <a:cxn ang="T112">
                      <a:pos x="T32" y="T33"/>
                    </a:cxn>
                    <a:cxn ang="T113">
                      <a:pos x="T34" y="T35"/>
                    </a:cxn>
                    <a:cxn ang="T114">
                      <a:pos x="T36" y="T37"/>
                    </a:cxn>
                    <a:cxn ang="T115">
                      <a:pos x="T38" y="T39"/>
                    </a:cxn>
                    <a:cxn ang="T116">
                      <a:pos x="T40" y="T41"/>
                    </a:cxn>
                    <a:cxn ang="T117">
                      <a:pos x="T42" y="T43"/>
                    </a:cxn>
                    <a:cxn ang="T118">
                      <a:pos x="T44" y="T45"/>
                    </a:cxn>
                    <a:cxn ang="T119">
                      <a:pos x="T46" y="T47"/>
                    </a:cxn>
                    <a:cxn ang="T120">
                      <a:pos x="T48" y="T49"/>
                    </a:cxn>
                    <a:cxn ang="T121">
                      <a:pos x="T50" y="T51"/>
                    </a:cxn>
                    <a:cxn ang="T122">
                      <a:pos x="T52" y="T53"/>
                    </a:cxn>
                    <a:cxn ang="T123">
                      <a:pos x="T54" y="T55"/>
                    </a:cxn>
                    <a:cxn ang="T124">
                      <a:pos x="T56" y="T57"/>
                    </a:cxn>
                    <a:cxn ang="T125">
                      <a:pos x="T58" y="T59"/>
                    </a:cxn>
                    <a:cxn ang="T126">
                      <a:pos x="T60" y="T61"/>
                    </a:cxn>
                    <a:cxn ang="T127">
                      <a:pos x="T62" y="T63"/>
                    </a:cxn>
                    <a:cxn ang="T128">
                      <a:pos x="T64" y="T65"/>
                    </a:cxn>
                    <a:cxn ang="T129">
                      <a:pos x="T66" y="T67"/>
                    </a:cxn>
                    <a:cxn ang="T130">
                      <a:pos x="T68" y="T69"/>
                    </a:cxn>
                    <a:cxn ang="T131">
                      <a:pos x="T70" y="T71"/>
                    </a:cxn>
                    <a:cxn ang="T132">
                      <a:pos x="T72" y="T73"/>
                    </a:cxn>
                    <a:cxn ang="T133">
                      <a:pos x="T74" y="T75"/>
                    </a:cxn>
                    <a:cxn ang="T134">
                      <a:pos x="T76" y="T77"/>
                    </a:cxn>
                    <a:cxn ang="T135">
                      <a:pos x="T78" y="T79"/>
                    </a:cxn>
                    <a:cxn ang="T136">
                      <a:pos x="T80" y="T81"/>
                    </a:cxn>
                    <a:cxn ang="T137">
                      <a:pos x="T82" y="T83"/>
                    </a:cxn>
                    <a:cxn ang="T138">
                      <a:pos x="T84" y="T85"/>
                    </a:cxn>
                    <a:cxn ang="T139">
                      <a:pos x="T86" y="T87"/>
                    </a:cxn>
                    <a:cxn ang="T140">
                      <a:pos x="T88" y="T89"/>
                    </a:cxn>
                    <a:cxn ang="T141">
                      <a:pos x="T90" y="T91"/>
                    </a:cxn>
                    <a:cxn ang="T142">
                      <a:pos x="T92" y="T93"/>
                    </a:cxn>
                    <a:cxn ang="T143">
                      <a:pos x="T94" y="T95"/>
                    </a:cxn>
                  </a:cxnLst>
                  <a:rect l="T144" t="T145" r="T146" b="T147"/>
                  <a:pathLst>
                    <a:path w="106" h="150">
                      <a:moveTo>
                        <a:pt x="92" y="20"/>
                      </a:moveTo>
                      <a:lnTo>
                        <a:pt x="92" y="20"/>
                      </a:lnTo>
                      <a:lnTo>
                        <a:pt x="98" y="34"/>
                      </a:lnTo>
                      <a:lnTo>
                        <a:pt x="104" y="46"/>
                      </a:lnTo>
                      <a:lnTo>
                        <a:pt x="106" y="56"/>
                      </a:lnTo>
                      <a:lnTo>
                        <a:pt x="106" y="74"/>
                      </a:lnTo>
                      <a:lnTo>
                        <a:pt x="102" y="96"/>
                      </a:lnTo>
                      <a:lnTo>
                        <a:pt x="100" y="110"/>
                      </a:lnTo>
                      <a:lnTo>
                        <a:pt x="96" y="120"/>
                      </a:lnTo>
                      <a:lnTo>
                        <a:pt x="80" y="146"/>
                      </a:lnTo>
                      <a:lnTo>
                        <a:pt x="76" y="148"/>
                      </a:lnTo>
                      <a:lnTo>
                        <a:pt x="70" y="150"/>
                      </a:lnTo>
                      <a:lnTo>
                        <a:pt x="64" y="150"/>
                      </a:lnTo>
                      <a:lnTo>
                        <a:pt x="54" y="148"/>
                      </a:lnTo>
                      <a:lnTo>
                        <a:pt x="42" y="144"/>
                      </a:lnTo>
                      <a:lnTo>
                        <a:pt x="26" y="136"/>
                      </a:lnTo>
                      <a:lnTo>
                        <a:pt x="16" y="132"/>
                      </a:lnTo>
                      <a:lnTo>
                        <a:pt x="8" y="126"/>
                      </a:lnTo>
                      <a:lnTo>
                        <a:pt x="4" y="122"/>
                      </a:lnTo>
                      <a:lnTo>
                        <a:pt x="2" y="118"/>
                      </a:lnTo>
                      <a:lnTo>
                        <a:pt x="0" y="104"/>
                      </a:lnTo>
                      <a:lnTo>
                        <a:pt x="0" y="98"/>
                      </a:lnTo>
                      <a:lnTo>
                        <a:pt x="4" y="82"/>
                      </a:lnTo>
                      <a:lnTo>
                        <a:pt x="6" y="66"/>
                      </a:lnTo>
                      <a:lnTo>
                        <a:pt x="8" y="50"/>
                      </a:lnTo>
                      <a:lnTo>
                        <a:pt x="8" y="42"/>
                      </a:lnTo>
                      <a:lnTo>
                        <a:pt x="10" y="34"/>
                      </a:lnTo>
                      <a:lnTo>
                        <a:pt x="16" y="26"/>
                      </a:lnTo>
                      <a:lnTo>
                        <a:pt x="20" y="18"/>
                      </a:lnTo>
                      <a:lnTo>
                        <a:pt x="26" y="12"/>
                      </a:lnTo>
                      <a:lnTo>
                        <a:pt x="34" y="6"/>
                      </a:lnTo>
                      <a:lnTo>
                        <a:pt x="40" y="2"/>
                      </a:lnTo>
                      <a:lnTo>
                        <a:pt x="48" y="0"/>
                      </a:lnTo>
                      <a:lnTo>
                        <a:pt x="62" y="2"/>
                      </a:lnTo>
                      <a:lnTo>
                        <a:pt x="74" y="6"/>
                      </a:lnTo>
                      <a:lnTo>
                        <a:pt x="84" y="12"/>
                      </a:lnTo>
                      <a:lnTo>
                        <a:pt x="92" y="20"/>
                      </a:lnTo>
                      <a:close/>
                    </a:path>
                  </a:pathLst>
                </a:custGeom>
                <a:solidFill>
                  <a:schemeClr val="tx1">
                    <a:lumMod val="50000"/>
                  </a:schemeClr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>
                    <a:latin typeface="+mn-lt"/>
                    <a:cs typeface="+mn-cs"/>
                  </a:endParaRPr>
                </a:p>
              </p:txBody>
            </p:sp>
            <p:sp>
              <p:nvSpPr>
                <p:cNvPr id="112" name="Freeform 142"/>
                <p:cNvSpPr>
                  <a:spLocks/>
                </p:cNvSpPr>
                <p:nvPr/>
              </p:nvSpPr>
              <p:spPr bwMode="auto">
                <a:xfrm>
                  <a:off x="3903710" y="4740209"/>
                  <a:ext cx="207019" cy="147946"/>
                </a:xfrm>
                <a:custGeom>
                  <a:avLst/>
                  <a:gdLst>
                    <a:gd name="T0" fmla="*/ 126007831 w 124"/>
                    <a:gd name="T1" fmla="*/ 40322498 h 88"/>
                    <a:gd name="T2" fmla="*/ 211693172 w 124"/>
                    <a:gd name="T3" fmla="*/ 5040312 h 88"/>
                    <a:gd name="T4" fmla="*/ 246975351 w 124"/>
                    <a:gd name="T5" fmla="*/ 0 h 88"/>
                    <a:gd name="T6" fmla="*/ 267136596 w 124"/>
                    <a:gd name="T7" fmla="*/ 10080625 h 88"/>
                    <a:gd name="T8" fmla="*/ 267136596 w 124"/>
                    <a:gd name="T9" fmla="*/ 15120938 h 88"/>
                    <a:gd name="T10" fmla="*/ 191531877 w 124"/>
                    <a:gd name="T11" fmla="*/ 50403120 h 88"/>
                    <a:gd name="T12" fmla="*/ 166330321 w 124"/>
                    <a:gd name="T13" fmla="*/ 65524065 h 88"/>
                    <a:gd name="T14" fmla="*/ 216733483 w 124"/>
                    <a:gd name="T15" fmla="*/ 65524065 h 88"/>
                    <a:gd name="T16" fmla="*/ 302418775 w 124"/>
                    <a:gd name="T17" fmla="*/ 75604686 h 88"/>
                    <a:gd name="T18" fmla="*/ 307459086 w 124"/>
                    <a:gd name="T19" fmla="*/ 80644997 h 88"/>
                    <a:gd name="T20" fmla="*/ 312499397 w 124"/>
                    <a:gd name="T21" fmla="*/ 90725618 h 88"/>
                    <a:gd name="T22" fmla="*/ 302418775 w 124"/>
                    <a:gd name="T23" fmla="*/ 95765929 h 88"/>
                    <a:gd name="T24" fmla="*/ 262096285 w 124"/>
                    <a:gd name="T25" fmla="*/ 100806240 h 88"/>
                    <a:gd name="T26" fmla="*/ 176410944 w 124"/>
                    <a:gd name="T27" fmla="*/ 110886886 h 88"/>
                    <a:gd name="T28" fmla="*/ 241935040 w 124"/>
                    <a:gd name="T29" fmla="*/ 110886886 h 88"/>
                    <a:gd name="T30" fmla="*/ 277217218 w 124"/>
                    <a:gd name="T31" fmla="*/ 110886886 h 88"/>
                    <a:gd name="T32" fmla="*/ 297378464 w 124"/>
                    <a:gd name="T33" fmla="*/ 120967508 h 88"/>
                    <a:gd name="T34" fmla="*/ 297378464 w 124"/>
                    <a:gd name="T35" fmla="*/ 126007818 h 88"/>
                    <a:gd name="T36" fmla="*/ 287297841 w 124"/>
                    <a:gd name="T37" fmla="*/ 141128751 h 88"/>
                    <a:gd name="T38" fmla="*/ 277217218 w 124"/>
                    <a:gd name="T39" fmla="*/ 141128751 h 88"/>
                    <a:gd name="T40" fmla="*/ 146169076 w 124"/>
                    <a:gd name="T41" fmla="*/ 156249683 h 88"/>
                    <a:gd name="T42" fmla="*/ 191531877 w 124"/>
                    <a:gd name="T43" fmla="*/ 166330304 h 88"/>
                    <a:gd name="T44" fmla="*/ 221773795 w 124"/>
                    <a:gd name="T45" fmla="*/ 161289994 h 88"/>
                    <a:gd name="T46" fmla="*/ 236894728 w 124"/>
                    <a:gd name="T47" fmla="*/ 161289994 h 88"/>
                    <a:gd name="T48" fmla="*/ 246975351 w 124"/>
                    <a:gd name="T49" fmla="*/ 171370615 h 88"/>
                    <a:gd name="T50" fmla="*/ 241935040 w 124"/>
                    <a:gd name="T51" fmla="*/ 181451237 h 88"/>
                    <a:gd name="T52" fmla="*/ 216733483 w 124"/>
                    <a:gd name="T53" fmla="*/ 186491547 h 88"/>
                    <a:gd name="T54" fmla="*/ 136088454 w 124"/>
                    <a:gd name="T55" fmla="*/ 191531858 h 88"/>
                    <a:gd name="T56" fmla="*/ 100806250 w 124"/>
                    <a:gd name="T57" fmla="*/ 201612480 h 88"/>
                    <a:gd name="T58" fmla="*/ 65524071 w 124"/>
                    <a:gd name="T59" fmla="*/ 216733462 h 88"/>
                    <a:gd name="T60" fmla="*/ 0 w 124"/>
                    <a:gd name="T61" fmla="*/ 221773772 h 88"/>
                    <a:gd name="T62" fmla="*/ 30241880 w 124"/>
                    <a:gd name="T63" fmla="*/ 171370615 h 88"/>
                    <a:gd name="T64" fmla="*/ 60483760 w 124"/>
                    <a:gd name="T65" fmla="*/ 105846575 h 88"/>
                    <a:gd name="T66" fmla="*/ 65524071 w 124"/>
                    <a:gd name="T67" fmla="*/ 80644997 h 88"/>
                    <a:gd name="T68" fmla="*/ 100806250 w 124"/>
                    <a:gd name="T69" fmla="*/ 50403120 h 88"/>
                    <a:gd name="T70" fmla="*/ 126007831 w 124"/>
                    <a:gd name="T71" fmla="*/ 40322498 h 88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w 124"/>
                    <a:gd name="T109" fmla="*/ 0 h 88"/>
                    <a:gd name="T110" fmla="*/ 124 w 124"/>
                    <a:gd name="T111" fmla="*/ 88 h 88"/>
                  </a:gdLst>
                  <a:ahLst/>
                  <a:cxnLst>
                    <a:cxn ang="T72">
                      <a:pos x="T0" y="T1"/>
                    </a:cxn>
                    <a:cxn ang="T73">
                      <a:pos x="T2" y="T3"/>
                    </a:cxn>
                    <a:cxn ang="T74">
                      <a:pos x="T4" y="T5"/>
                    </a:cxn>
                    <a:cxn ang="T75">
                      <a:pos x="T6" y="T7"/>
                    </a:cxn>
                    <a:cxn ang="T76">
                      <a:pos x="T8" y="T9"/>
                    </a:cxn>
                    <a:cxn ang="T77">
                      <a:pos x="T10" y="T11"/>
                    </a:cxn>
                    <a:cxn ang="T78">
                      <a:pos x="T12" y="T13"/>
                    </a:cxn>
                    <a:cxn ang="T79">
                      <a:pos x="T14" y="T15"/>
                    </a:cxn>
                    <a:cxn ang="T80">
                      <a:pos x="T16" y="T17"/>
                    </a:cxn>
                    <a:cxn ang="T81">
                      <a:pos x="T18" y="T19"/>
                    </a:cxn>
                    <a:cxn ang="T82">
                      <a:pos x="T20" y="T21"/>
                    </a:cxn>
                    <a:cxn ang="T83">
                      <a:pos x="T22" y="T23"/>
                    </a:cxn>
                    <a:cxn ang="T84">
                      <a:pos x="T24" y="T25"/>
                    </a:cxn>
                    <a:cxn ang="T85">
                      <a:pos x="T26" y="T27"/>
                    </a:cxn>
                    <a:cxn ang="T86">
                      <a:pos x="T28" y="T29"/>
                    </a:cxn>
                    <a:cxn ang="T87">
                      <a:pos x="T30" y="T31"/>
                    </a:cxn>
                    <a:cxn ang="T88">
                      <a:pos x="T32" y="T33"/>
                    </a:cxn>
                    <a:cxn ang="T89">
                      <a:pos x="T34" y="T35"/>
                    </a:cxn>
                    <a:cxn ang="T90">
                      <a:pos x="T36" y="T37"/>
                    </a:cxn>
                    <a:cxn ang="T91">
                      <a:pos x="T38" y="T39"/>
                    </a:cxn>
                    <a:cxn ang="T92">
                      <a:pos x="T40" y="T41"/>
                    </a:cxn>
                    <a:cxn ang="T93">
                      <a:pos x="T42" y="T43"/>
                    </a:cxn>
                    <a:cxn ang="T94">
                      <a:pos x="T44" y="T45"/>
                    </a:cxn>
                    <a:cxn ang="T95">
                      <a:pos x="T46" y="T47"/>
                    </a:cxn>
                    <a:cxn ang="T96">
                      <a:pos x="T48" y="T49"/>
                    </a:cxn>
                    <a:cxn ang="T97">
                      <a:pos x="T50" y="T51"/>
                    </a:cxn>
                    <a:cxn ang="T98">
                      <a:pos x="T52" y="T53"/>
                    </a:cxn>
                    <a:cxn ang="T99">
                      <a:pos x="T54" y="T55"/>
                    </a:cxn>
                    <a:cxn ang="T100">
                      <a:pos x="T56" y="T57"/>
                    </a:cxn>
                    <a:cxn ang="T101">
                      <a:pos x="T58" y="T59"/>
                    </a:cxn>
                    <a:cxn ang="T102">
                      <a:pos x="T60" y="T61"/>
                    </a:cxn>
                    <a:cxn ang="T103">
                      <a:pos x="T62" y="T63"/>
                    </a:cxn>
                    <a:cxn ang="T104">
                      <a:pos x="T64" y="T65"/>
                    </a:cxn>
                    <a:cxn ang="T105">
                      <a:pos x="T66" y="T67"/>
                    </a:cxn>
                    <a:cxn ang="T106">
                      <a:pos x="T68" y="T69"/>
                    </a:cxn>
                    <a:cxn ang="T107">
                      <a:pos x="T70" y="T71"/>
                    </a:cxn>
                  </a:cxnLst>
                  <a:rect l="T108" t="T109" r="T110" b="T111"/>
                  <a:pathLst>
                    <a:path w="124" h="88">
                      <a:moveTo>
                        <a:pt x="50" y="16"/>
                      </a:moveTo>
                      <a:lnTo>
                        <a:pt x="50" y="16"/>
                      </a:lnTo>
                      <a:lnTo>
                        <a:pt x="72" y="6"/>
                      </a:lnTo>
                      <a:lnTo>
                        <a:pt x="84" y="2"/>
                      </a:lnTo>
                      <a:lnTo>
                        <a:pt x="98" y="0"/>
                      </a:lnTo>
                      <a:lnTo>
                        <a:pt x="104" y="2"/>
                      </a:lnTo>
                      <a:lnTo>
                        <a:pt x="106" y="4"/>
                      </a:lnTo>
                      <a:lnTo>
                        <a:pt x="106" y="6"/>
                      </a:lnTo>
                      <a:lnTo>
                        <a:pt x="98" y="10"/>
                      </a:lnTo>
                      <a:lnTo>
                        <a:pt x="76" y="20"/>
                      </a:lnTo>
                      <a:lnTo>
                        <a:pt x="66" y="26"/>
                      </a:lnTo>
                      <a:lnTo>
                        <a:pt x="86" y="26"/>
                      </a:lnTo>
                      <a:lnTo>
                        <a:pt x="104" y="28"/>
                      </a:lnTo>
                      <a:lnTo>
                        <a:pt x="120" y="30"/>
                      </a:lnTo>
                      <a:lnTo>
                        <a:pt x="122" y="32"/>
                      </a:lnTo>
                      <a:lnTo>
                        <a:pt x="124" y="34"/>
                      </a:lnTo>
                      <a:lnTo>
                        <a:pt x="124" y="36"/>
                      </a:lnTo>
                      <a:lnTo>
                        <a:pt x="120" y="38"/>
                      </a:lnTo>
                      <a:lnTo>
                        <a:pt x="112" y="40"/>
                      </a:lnTo>
                      <a:lnTo>
                        <a:pt x="104" y="40"/>
                      </a:lnTo>
                      <a:lnTo>
                        <a:pt x="92" y="40"/>
                      </a:lnTo>
                      <a:lnTo>
                        <a:pt x="70" y="44"/>
                      </a:lnTo>
                      <a:lnTo>
                        <a:pt x="96" y="44"/>
                      </a:lnTo>
                      <a:lnTo>
                        <a:pt x="110" y="44"/>
                      </a:lnTo>
                      <a:lnTo>
                        <a:pt x="114" y="46"/>
                      </a:lnTo>
                      <a:lnTo>
                        <a:pt x="118" y="48"/>
                      </a:lnTo>
                      <a:lnTo>
                        <a:pt x="118" y="50"/>
                      </a:lnTo>
                      <a:lnTo>
                        <a:pt x="116" y="54"/>
                      </a:lnTo>
                      <a:lnTo>
                        <a:pt x="114" y="56"/>
                      </a:lnTo>
                      <a:lnTo>
                        <a:pt x="110" y="56"/>
                      </a:lnTo>
                      <a:lnTo>
                        <a:pt x="62" y="60"/>
                      </a:lnTo>
                      <a:lnTo>
                        <a:pt x="58" y="62"/>
                      </a:lnTo>
                      <a:lnTo>
                        <a:pt x="76" y="66"/>
                      </a:lnTo>
                      <a:lnTo>
                        <a:pt x="88" y="64"/>
                      </a:lnTo>
                      <a:lnTo>
                        <a:pt x="94" y="64"/>
                      </a:lnTo>
                      <a:lnTo>
                        <a:pt x="96" y="66"/>
                      </a:lnTo>
                      <a:lnTo>
                        <a:pt x="98" y="68"/>
                      </a:lnTo>
                      <a:lnTo>
                        <a:pt x="96" y="72"/>
                      </a:lnTo>
                      <a:lnTo>
                        <a:pt x="92" y="74"/>
                      </a:lnTo>
                      <a:lnTo>
                        <a:pt x="86" y="74"/>
                      </a:lnTo>
                      <a:lnTo>
                        <a:pt x="54" y="76"/>
                      </a:lnTo>
                      <a:lnTo>
                        <a:pt x="40" y="80"/>
                      </a:lnTo>
                      <a:lnTo>
                        <a:pt x="26" y="86"/>
                      </a:lnTo>
                      <a:lnTo>
                        <a:pt x="14" y="88"/>
                      </a:lnTo>
                      <a:lnTo>
                        <a:pt x="0" y="88"/>
                      </a:lnTo>
                      <a:lnTo>
                        <a:pt x="12" y="68"/>
                      </a:lnTo>
                      <a:lnTo>
                        <a:pt x="22" y="50"/>
                      </a:lnTo>
                      <a:lnTo>
                        <a:pt x="24" y="42"/>
                      </a:lnTo>
                      <a:lnTo>
                        <a:pt x="26" y="32"/>
                      </a:lnTo>
                      <a:lnTo>
                        <a:pt x="32" y="26"/>
                      </a:lnTo>
                      <a:lnTo>
                        <a:pt x="40" y="20"/>
                      </a:lnTo>
                      <a:lnTo>
                        <a:pt x="50" y="16"/>
                      </a:lnTo>
                      <a:close/>
                    </a:path>
                  </a:pathLst>
                </a:custGeom>
                <a:solidFill>
                  <a:schemeClr val="tx1">
                    <a:lumMod val="50000"/>
                  </a:schemeClr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>
                    <a:latin typeface="+mn-lt"/>
                    <a:cs typeface="+mn-cs"/>
                  </a:endParaRPr>
                </a:p>
              </p:txBody>
            </p:sp>
            <p:sp>
              <p:nvSpPr>
                <p:cNvPr id="113" name="Freeform 143"/>
                <p:cNvSpPr>
                  <a:spLocks noEditPoints="1"/>
                </p:cNvSpPr>
                <p:nvPr/>
              </p:nvSpPr>
              <p:spPr bwMode="auto">
                <a:xfrm>
                  <a:off x="3878361" y="5378488"/>
                  <a:ext cx="557680" cy="689000"/>
                </a:xfrm>
                <a:custGeom>
                  <a:avLst/>
                  <a:gdLst>
                    <a:gd name="T0" fmla="*/ 186491543 w 330"/>
                    <a:gd name="T1" fmla="*/ 866933887 h 408"/>
                    <a:gd name="T2" fmla="*/ 151209369 w 330"/>
                    <a:gd name="T3" fmla="*/ 730845292 h 408"/>
                    <a:gd name="T4" fmla="*/ 146169058 w 330"/>
                    <a:gd name="T5" fmla="*/ 720764670 h 408"/>
                    <a:gd name="T6" fmla="*/ 141128747 w 330"/>
                    <a:gd name="T7" fmla="*/ 690522804 h 408"/>
                    <a:gd name="T8" fmla="*/ 141128747 w 330"/>
                    <a:gd name="T9" fmla="*/ 589716584 h 408"/>
                    <a:gd name="T10" fmla="*/ 141128747 w 330"/>
                    <a:gd name="T11" fmla="*/ 554434408 h 408"/>
                    <a:gd name="T12" fmla="*/ 50403119 w 330"/>
                    <a:gd name="T13" fmla="*/ 55443446 h 408"/>
                    <a:gd name="T14" fmla="*/ 35282187 w 330"/>
                    <a:gd name="T15" fmla="*/ 80645001 h 408"/>
                    <a:gd name="T16" fmla="*/ 10080624 w 330"/>
                    <a:gd name="T17" fmla="*/ 156249690 h 408"/>
                    <a:gd name="T18" fmla="*/ 0 w 330"/>
                    <a:gd name="T19" fmla="*/ 282257515 h 408"/>
                    <a:gd name="T20" fmla="*/ 10080624 w 330"/>
                    <a:gd name="T21" fmla="*/ 403224979 h 408"/>
                    <a:gd name="T22" fmla="*/ 25201559 w 330"/>
                    <a:gd name="T23" fmla="*/ 493950676 h 408"/>
                    <a:gd name="T24" fmla="*/ 35282187 w 330"/>
                    <a:gd name="T25" fmla="*/ 599797206 h 408"/>
                    <a:gd name="T26" fmla="*/ 30241876 w 330"/>
                    <a:gd name="T27" fmla="*/ 670361560 h 408"/>
                    <a:gd name="T28" fmla="*/ 30241876 w 330"/>
                    <a:gd name="T29" fmla="*/ 665321249 h 408"/>
                    <a:gd name="T30" fmla="*/ 10080624 w 330"/>
                    <a:gd name="T31" fmla="*/ 801409646 h 408"/>
                    <a:gd name="T32" fmla="*/ 30241876 w 330"/>
                    <a:gd name="T33" fmla="*/ 806449957 h 408"/>
                    <a:gd name="T34" fmla="*/ 30241876 w 330"/>
                    <a:gd name="T35" fmla="*/ 801409646 h 408"/>
                    <a:gd name="T36" fmla="*/ 40322497 w 330"/>
                    <a:gd name="T37" fmla="*/ 846772644 h 408"/>
                    <a:gd name="T38" fmla="*/ 40322497 w 330"/>
                    <a:gd name="T39" fmla="*/ 907256375 h 408"/>
                    <a:gd name="T40" fmla="*/ 60483752 w 330"/>
                    <a:gd name="T41" fmla="*/ 972780418 h 408"/>
                    <a:gd name="T42" fmla="*/ 70564374 w 330"/>
                    <a:gd name="T43" fmla="*/ 992941662 h 408"/>
                    <a:gd name="T44" fmla="*/ 105846573 w 330"/>
                    <a:gd name="T45" fmla="*/ 1018143217 h 408"/>
                    <a:gd name="T46" fmla="*/ 146169058 w 330"/>
                    <a:gd name="T47" fmla="*/ 1028223839 h 408"/>
                    <a:gd name="T48" fmla="*/ 216733457 w 330"/>
                    <a:gd name="T49" fmla="*/ 1018143217 h 408"/>
                    <a:gd name="T50" fmla="*/ 236894699 w 330"/>
                    <a:gd name="T51" fmla="*/ 982861040 h 408"/>
                    <a:gd name="T52" fmla="*/ 236894699 w 330"/>
                    <a:gd name="T53" fmla="*/ 967740107 h 408"/>
                    <a:gd name="T54" fmla="*/ 216733457 w 330"/>
                    <a:gd name="T55" fmla="*/ 922377308 h 408"/>
                    <a:gd name="T56" fmla="*/ 821570832 w 330"/>
                    <a:gd name="T57" fmla="*/ 675401871 h 408"/>
                    <a:gd name="T58" fmla="*/ 816530521 w 330"/>
                    <a:gd name="T59" fmla="*/ 670361560 h 408"/>
                    <a:gd name="T60" fmla="*/ 801409589 w 330"/>
                    <a:gd name="T61" fmla="*/ 660280938 h 408"/>
                    <a:gd name="T62" fmla="*/ 751006483 w 330"/>
                    <a:gd name="T63" fmla="*/ 619958450 h 408"/>
                    <a:gd name="T64" fmla="*/ 735885551 w 330"/>
                    <a:gd name="T65" fmla="*/ 599797206 h 408"/>
                    <a:gd name="T66" fmla="*/ 715724309 w 330"/>
                    <a:gd name="T67" fmla="*/ 579635963 h 408"/>
                    <a:gd name="T68" fmla="*/ 690522756 w 330"/>
                    <a:gd name="T69" fmla="*/ 544353786 h 408"/>
                    <a:gd name="T70" fmla="*/ 675401824 w 330"/>
                    <a:gd name="T71" fmla="*/ 509071609 h 408"/>
                    <a:gd name="T72" fmla="*/ 660280892 w 330"/>
                    <a:gd name="T73" fmla="*/ 463708810 h 408"/>
                    <a:gd name="T74" fmla="*/ 478829709 w 330"/>
                    <a:gd name="T75" fmla="*/ 65524068 h 408"/>
                    <a:gd name="T76" fmla="*/ 483870019 w 330"/>
                    <a:gd name="T77" fmla="*/ 105846580 h 408"/>
                    <a:gd name="T78" fmla="*/ 483870019 w 330"/>
                    <a:gd name="T79" fmla="*/ 166330312 h 408"/>
                    <a:gd name="T80" fmla="*/ 504031262 w 330"/>
                    <a:gd name="T81" fmla="*/ 282257515 h 408"/>
                    <a:gd name="T82" fmla="*/ 534273126 w 330"/>
                    <a:gd name="T83" fmla="*/ 398184668 h 408"/>
                    <a:gd name="T84" fmla="*/ 534273126 w 330"/>
                    <a:gd name="T85" fmla="*/ 448587877 h 408"/>
                    <a:gd name="T86" fmla="*/ 529232815 w 330"/>
                    <a:gd name="T87" fmla="*/ 468749121 h 408"/>
                    <a:gd name="T88" fmla="*/ 509071573 w 330"/>
                    <a:gd name="T89" fmla="*/ 524192542 h 408"/>
                    <a:gd name="T90" fmla="*/ 509071573 w 330"/>
                    <a:gd name="T91" fmla="*/ 574595652 h 408"/>
                    <a:gd name="T92" fmla="*/ 514111883 w 330"/>
                    <a:gd name="T93" fmla="*/ 584676274 h 408"/>
                    <a:gd name="T94" fmla="*/ 524192505 w 330"/>
                    <a:gd name="T95" fmla="*/ 614918139 h 408"/>
                    <a:gd name="T96" fmla="*/ 534273126 w 330"/>
                    <a:gd name="T97" fmla="*/ 695563115 h 408"/>
                    <a:gd name="T98" fmla="*/ 559474679 w 330"/>
                    <a:gd name="T99" fmla="*/ 690522804 h 408"/>
                    <a:gd name="T100" fmla="*/ 564514990 w 330"/>
                    <a:gd name="T101" fmla="*/ 599797206 h 408"/>
                    <a:gd name="T102" fmla="*/ 594756853 w 330"/>
                    <a:gd name="T103" fmla="*/ 614918139 h 408"/>
                    <a:gd name="T104" fmla="*/ 614918096 w 330"/>
                    <a:gd name="T105" fmla="*/ 645160005 h 408"/>
                    <a:gd name="T106" fmla="*/ 619958407 w 330"/>
                    <a:gd name="T107" fmla="*/ 655240627 h 408"/>
                    <a:gd name="T108" fmla="*/ 650200270 w 330"/>
                    <a:gd name="T109" fmla="*/ 720764670 h 408"/>
                    <a:gd name="T110" fmla="*/ 660280892 w 330"/>
                    <a:gd name="T111" fmla="*/ 740925914 h 408"/>
                    <a:gd name="T112" fmla="*/ 690522756 w 330"/>
                    <a:gd name="T113" fmla="*/ 756046847 h 408"/>
                    <a:gd name="T114" fmla="*/ 811490211 w 330"/>
                    <a:gd name="T115" fmla="*/ 766127469 h 408"/>
                    <a:gd name="T116" fmla="*/ 816530521 w 330"/>
                    <a:gd name="T117" fmla="*/ 756046847 h 408"/>
                    <a:gd name="T118" fmla="*/ 826611143 w 330"/>
                    <a:gd name="T119" fmla="*/ 725804981 h 408"/>
                    <a:gd name="T120" fmla="*/ 831651453 w 330"/>
                    <a:gd name="T121" fmla="*/ 715724359 h 408"/>
                    <a:gd name="T122" fmla="*/ 821570832 w 330"/>
                    <a:gd name="T123" fmla="*/ 675401871 h 408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60000 65536"/>
                    <a:gd name="T184" fmla="*/ 0 60000 65536"/>
                    <a:gd name="T185" fmla="*/ 0 60000 65536"/>
                    <a:gd name="T186" fmla="*/ 0 w 330"/>
                    <a:gd name="T187" fmla="*/ 0 h 408"/>
                    <a:gd name="T188" fmla="*/ 330 w 330"/>
                    <a:gd name="T189" fmla="*/ 408 h 408"/>
                  </a:gdLst>
                  <a:ahLst/>
                  <a:cxnLst>
                    <a:cxn ang="T124">
                      <a:pos x="T0" y="T1"/>
                    </a:cxn>
                    <a:cxn ang="T125">
                      <a:pos x="T2" y="T3"/>
                    </a:cxn>
                    <a:cxn ang="T126">
                      <a:pos x="T4" y="T5"/>
                    </a:cxn>
                    <a:cxn ang="T127">
                      <a:pos x="T6" y="T7"/>
                    </a:cxn>
                    <a:cxn ang="T128">
                      <a:pos x="T8" y="T9"/>
                    </a:cxn>
                    <a:cxn ang="T129">
                      <a:pos x="T10" y="T11"/>
                    </a:cxn>
                    <a:cxn ang="T130">
                      <a:pos x="T12" y="T13"/>
                    </a:cxn>
                    <a:cxn ang="T131">
                      <a:pos x="T14" y="T15"/>
                    </a:cxn>
                    <a:cxn ang="T132">
                      <a:pos x="T16" y="T17"/>
                    </a:cxn>
                    <a:cxn ang="T133">
                      <a:pos x="T18" y="T19"/>
                    </a:cxn>
                    <a:cxn ang="T134">
                      <a:pos x="T20" y="T21"/>
                    </a:cxn>
                    <a:cxn ang="T135">
                      <a:pos x="T22" y="T23"/>
                    </a:cxn>
                    <a:cxn ang="T136">
                      <a:pos x="T24" y="T25"/>
                    </a:cxn>
                    <a:cxn ang="T137">
                      <a:pos x="T26" y="T27"/>
                    </a:cxn>
                    <a:cxn ang="T138">
                      <a:pos x="T28" y="T29"/>
                    </a:cxn>
                    <a:cxn ang="T139">
                      <a:pos x="T30" y="T31"/>
                    </a:cxn>
                    <a:cxn ang="T140">
                      <a:pos x="T32" y="T33"/>
                    </a:cxn>
                    <a:cxn ang="T141">
                      <a:pos x="T34" y="T35"/>
                    </a:cxn>
                    <a:cxn ang="T142">
                      <a:pos x="T36" y="T37"/>
                    </a:cxn>
                    <a:cxn ang="T143">
                      <a:pos x="T38" y="T39"/>
                    </a:cxn>
                    <a:cxn ang="T144">
                      <a:pos x="T40" y="T41"/>
                    </a:cxn>
                    <a:cxn ang="T145">
                      <a:pos x="T42" y="T43"/>
                    </a:cxn>
                    <a:cxn ang="T146">
                      <a:pos x="T44" y="T45"/>
                    </a:cxn>
                    <a:cxn ang="T147">
                      <a:pos x="T46" y="T47"/>
                    </a:cxn>
                    <a:cxn ang="T148">
                      <a:pos x="T48" y="T49"/>
                    </a:cxn>
                    <a:cxn ang="T149">
                      <a:pos x="T50" y="T51"/>
                    </a:cxn>
                    <a:cxn ang="T150">
                      <a:pos x="T52" y="T53"/>
                    </a:cxn>
                    <a:cxn ang="T151">
                      <a:pos x="T54" y="T55"/>
                    </a:cxn>
                    <a:cxn ang="T152">
                      <a:pos x="T56" y="T57"/>
                    </a:cxn>
                    <a:cxn ang="T153">
                      <a:pos x="T58" y="T59"/>
                    </a:cxn>
                    <a:cxn ang="T154">
                      <a:pos x="T60" y="T61"/>
                    </a:cxn>
                    <a:cxn ang="T155">
                      <a:pos x="T62" y="T63"/>
                    </a:cxn>
                    <a:cxn ang="T156">
                      <a:pos x="T64" y="T65"/>
                    </a:cxn>
                    <a:cxn ang="T157">
                      <a:pos x="T66" y="T67"/>
                    </a:cxn>
                    <a:cxn ang="T158">
                      <a:pos x="T68" y="T69"/>
                    </a:cxn>
                    <a:cxn ang="T159">
                      <a:pos x="T70" y="T71"/>
                    </a:cxn>
                    <a:cxn ang="T160">
                      <a:pos x="T72" y="T73"/>
                    </a:cxn>
                    <a:cxn ang="T161">
                      <a:pos x="T74" y="T75"/>
                    </a:cxn>
                    <a:cxn ang="T162">
                      <a:pos x="T76" y="T77"/>
                    </a:cxn>
                    <a:cxn ang="T163">
                      <a:pos x="T78" y="T79"/>
                    </a:cxn>
                    <a:cxn ang="T164">
                      <a:pos x="T80" y="T81"/>
                    </a:cxn>
                    <a:cxn ang="T165">
                      <a:pos x="T82" y="T83"/>
                    </a:cxn>
                    <a:cxn ang="T166">
                      <a:pos x="T84" y="T85"/>
                    </a:cxn>
                    <a:cxn ang="T167">
                      <a:pos x="T86" y="T87"/>
                    </a:cxn>
                    <a:cxn ang="T168">
                      <a:pos x="T88" y="T89"/>
                    </a:cxn>
                    <a:cxn ang="T169">
                      <a:pos x="T90" y="T91"/>
                    </a:cxn>
                    <a:cxn ang="T170">
                      <a:pos x="T92" y="T93"/>
                    </a:cxn>
                    <a:cxn ang="T171">
                      <a:pos x="T94" y="T95"/>
                    </a:cxn>
                    <a:cxn ang="T172">
                      <a:pos x="T96" y="T97"/>
                    </a:cxn>
                    <a:cxn ang="T173">
                      <a:pos x="T98" y="T99"/>
                    </a:cxn>
                    <a:cxn ang="T174">
                      <a:pos x="T100" y="T101"/>
                    </a:cxn>
                    <a:cxn ang="T175">
                      <a:pos x="T102" y="T103"/>
                    </a:cxn>
                    <a:cxn ang="T176">
                      <a:pos x="T104" y="T105"/>
                    </a:cxn>
                    <a:cxn ang="T177">
                      <a:pos x="T106" y="T107"/>
                    </a:cxn>
                    <a:cxn ang="T178">
                      <a:pos x="T108" y="T109"/>
                    </a:cxn>
                    <a:cxn ang="T179">
                      <a:pos x="T110" y="T111"/>
                    </a:cxn>
                    <a:cxn ang="T180">
                      <a:pos x="T112" y="T113"/>
                    </a:cxn>
                    <a:cxn ang="T181">
                      <a:pos x="T114" y="T115"/>
                    </a:cxn>
                    <a:cxn ang="T182">
                      <a:pos x="T116" y="T117"/>
                    </a:cxn>
                    <a:cxn ang="T183">
                      <a:pos x="T118" y="T119"/>
                    </a:cxn>
                    <a:cxn ang="T184">
                      <a:pos x="T120" y="T121"/>
                    </a:cxn>
                    <a:cxn ang="T185">
                      <a:pos x="T122" y="T123"/>
                    </a:cxn>
                  </a:cxnLst>
                  <a:rect l="T186" t="T187" r="T188" b="T189"/>
                  <a:pathLst>
                    <a:path w="330" h="408">
                      <a:moveTo>
                        <a:pt x="74" y="344"/>
                      </a:moveTo>
                      <a:lnTo>
                        <a:pt x="74" y="344"/>
                      </a:lnTo>
                      <a:lnTo>
                        <a:pt x="60" y="290"/>
                      </a:lnTo>
                      <a:lnTo>
                        <a:pt x="58" y="286"/>
                      </a:lnTo>
                      <a:lnTo>
                        <a:pt x="56" y="274"/>
                      </a:lnTo>
                      <a:lnTo>
                        <a:pt x="56" y="254"/>
                      </a:lnTo>
                      <a:lnTo>
                        <a:pt x="56" y="234"/>
                      </a:lnTo>
                      <a:lnTo>
                        <a:pt x="56" y="220"/>
                      </a:lnTo>
                      <a:lnTo>
                        <a:pt x="92" y="44"/>
                      </a:lnTo>
                      <a:lnTo>
                        <a:pt x="20" y="22"/>
                      </a:lnTo>
                      <a:lnTo>
                        <a:pt x="14" y="32"/>
                      </a:lnTo>
                      <a:lnTo>
                        <a:pt x="10" y="40"/>
                      </a:lnTo>
                      <a:lnTo>
                        <a:pt x="4" y="62"/>
                      </a:lnTo>
                      <a:lnTo>
                        <a:pt x="2" y="88"/>
                      </a:lnTo>
                      <a:lnTo>
                        <a:pt x="0" y="112"/>
                      </a:lnTo>
                      <a:lnTo>
                        <a:pt x="2" y="138"/>
                      </a:lnTo>
                      <a:lnTo>
                        <a:pt x="4" y="160"/>
                      </a:lnTo>
                      <a:lnTo>
                        <a:pt x="10" y="196"/>
                      </a:lnTo>
                      <a:lnTo>
                        <a:pt x="14" y="218"/>
                      </a:lnTo>
                      <a:lnTo>
                        <a:pt x="14" y="238"/>
                      </a:lnTo>
                      <a:lnTo>
                        <a:pt x="14" y="254"/>
                      </a:lnTo>
                      <a:lnTo>
                        <a:pt x="12" y="266"/>
                      </a:lnTo>
                      <a:lnTo>
                        <a:pt x="12" y="264"/>
                      </a:lnTo>
                      <a:lnTo>
                        <a:pt x="6" y="292"/>
                      </a:lnTo>
                      <a:lnTo>
                        <a:pt x="4" y="318"/>
                      </a:lnTo>
                      <a:lnTo>
                        <a:pt x="8" y="322"/>
                      </a:lnTo>
                      <a:lnTo>
                        <a:pt x="12" y="320"/>
                      </a:lnTo>
                      <a:lnTo>
                        <a:pt x="12" y="318"/>
                      </a:lnTo>
                      <a:lnTo>
                        <a:pt x="16" y="336"/>
                      </a:lnTo>
                      <a:lnTo>
                        <a:pt x="16" y="360"/>
                      </a:lnTo>
                      <a:lnTo>
                        <a:pt x="18" y="370"/>
                      </a:lnTo>
                      <a:lnTo>
                        <a:pt x="24" y="386"/>
                      </a:lnTo>
                      <a:lnTo>
                        <a:pt x="28" y="394"/>
                      </a:lnTo>
                      <a:lnTo>
                        <a:pt x="42" y="404"/>
                      </a:lnTo>
                      <a:lnTo>
                        <a:pt x="50" y="406"/>
                      </a:lnTo>
                      <a:lnTo>
                        <a:pt x="58" y="408"/>
                      </a:lnTo>
                      <a:lnTo>
                        <a:pt x="74" y="406"/>
                      </a:lnTo>
                      <a:lnTo>
                        <a:pt x="86" y="404"/>
                      </a:lnTo>
                      <a:lnTo>
                        <a:pt x="92" y="402"/>
                      </a:lnTo>
                      <a:lnTo>
                        <a:pt x="94" y="390"/>
                      </a:lnTo>
                      <a:lnTo>
                        <a:pt x="94" y="384"/>
                      </a:lnTo>
                      <a:lnTo>
                        <a:pt x="92" y="376"/>
                      </a:lnTo>
                      <a:lnTo>
                        <a:pt x="86" y="366"/>
                      </a:lnTo>
                      <a:lnTo>
                        <a:pt x="74" y="344"/>
                      </a:lnTo>
                      <a:close/>
                      <a:moveTo>
                        <a:pt x="326" y="268"/>
                      </a:moveTo>
                      <a:lnTo>
                        <a:pt x="326" y="268"/>
                      </a:lnTo>
                      <a:lnTo>
                        <a:pt x="324" y="266"/>
                      </a:lnTo>
                      <a:lnTo>
                        <a:pt x="318" y="262"/>
                      </a:lnTo>
                      <a:lnTo>
                        <a:pt x="310" y="254"/>
                      </a:lnTo>
                      <a:lnTo>
                        <a:pt x="298" y="246"/>
                      </a:lnTo>
                      <a:lnTo>
                        <a:pt x="292" y="238"/>
                      </a:lnTo>
                      <a:lnTo>
                        <a:pt x="284" y="230"/>
                      </a:lnTo>
                      <a:lnTo>
                        <a:pt x="280" y="224"/>
                      </a:lnTo>
                      <a:lnTo>
                        <a:pt x="274" y="216"/>
                      </a:lnTo>
                      <a:lnTo>
                        <a:pt x="268" y="202"/>
                      </a:lnTo>
                      <a:lnTo>
                        <a:pt x="262" y="184"/>
                      </a:lnTo>
                      <a:lnTo>
                        <a:pt x="260" y="0"/>
                      </a:lnTo>
                      <a:lnTo>
                        <a:pt x="190" y="26"/>
                      </a:lnTo>
                      <a:lnTo>
                        <a:pt x="192" y="42"/>
                      </a:lnTo>
                      <a:lnTo>
                        <a:pt x="192" y="66"/>
                      </a:lnTo>
                      <a:lnTo>
                        <a:pt x="194" y="82"/>
                      </a:lnTo>
                      <a:lnTo>
                        <a:pt x="200" y="112"/>
                      </a:lnTo>
                      <a:lnTo>
                        <a:pt x="212" y="158"/>
                      </a:lnTo>
                      <a:lnTo>
                        <a:pt x="212" y="178"/>
                      </a:lnTo>
                      <a:lnTo>
                        <a:pt x="210" y="186"/>
                      </a:lnTo>
                      <a:lnTo>
                        <a:pt x="206" y="194"/>
                      </a:lnTo>
                      <a:lnTo>
                        <a:pt x="202" y="208"/>
                      </a:lnTo>
                      <a:lnTo>
                        <a:pt x="200" y="222"/>
                      </a:lnTo>
                      <a:lnTo>
                        <a:pt x="202" y="228"/>
                      </a:lnTo>
                      <a:lnTo>
                        <a:pt x="204" y="232"/>
                      </a:lnTo>
                      <a:lnTo>
                        <a:pt x="206" y="238"/>
                      </a:lnTo>
                      <a:lnTo>
                        <a:pt x="208" y="244"/>
                      </a:lnTo>
                      <a:lnTo>
                        <a:pt x="210" y="258"/>
                      </a:lnTo>
                      <a:lnTo>
                        <a:pt x="212" y="276"/>
                      </a:lnTo>
                      <a:lnTo>
                        <a:pt x="218" y="278"/>
                      </a:lnTo>
                      <a:lnTo>
                        <a:pt x="222" y="274"/>
                      </a:lnTo>
                      <a:lnTo>
                        <a:pt x="218" y="232"/>
                      </a:lnTo>
                      <a:lnTo>
                        <a:pt x="224" y="238"/>
                      </a:lnTo>
                      <a:lnTo>
                        <a:pt x="236" y="244"/>
                      </a:lnTo>
                      <a:lnTo>
                        <a:pt x="242" y="250"/>
                      </a:lnTo>
                      <a:lnTo>
                        <a:pt x="244" y="256"/>
                      </a:lnTo>
                      <a:lnTo>
                        <a:pt x="246" y="260"/>
                      </a:lnTo>
                      <a:lnTo>
                        <a:pt x="252" y="276"/>
                      </a:lnTo>
                      <a:lnTo>
                        <a:pt x="258" y="286"/>
                      </a:lnTo>
                      <a:lnTo>
                        <a:pt x="262" y="294"/>
                      </a:lnTo>
                      <a:lnTo>
                        <a:pt x="266" y="298"/>
                      </a:lnTo>
                      <a:lnTo>
                        <a:pt x="274" y="300"/>
                      </a:lnTo>
                      <a:lnTo>
                        <a:pt x="294" y="302"/>
                      </a:lnTo>
                      <a:lnTo>
                        <a:pt x="322" y="304"/>
                      </a:lnTo>
                      <a:lnTo>
                        <a:pt x="324" y="300"/>
                      </a:lnTo>
                      <a:lnTo>
                        <a:pt x="326" y="296"/>
                      </a:lnTo>
                      <a:lnTo>
                        <a:pt x="328" y="288"/>
                      </a:lnTo>
                      <a:lnTo>
                        <a:pt x="330" y="284"/>
                      </a:lnTo>
                      <a:lnTo>
                        <a:pt x="328" y="276"/>
                      </a:lnTo>
                      <a:lnTo>
                        <a:pt x="326" y="268"/>
                      </a:lnTo>
                      <a:close/>
                    </a:path>
                  </a:pathLst>
                </a:custGeom>
                <a:solidFill>
                  <a:schemeClr val="tx1">
                    <a:lumMod val="50000"/>
                  </a:schemeClr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>
                    <a:latin typeface="+mn-lt"/>
                    <a:cs typeface="+mn-cs"/>
                  </a:endParaRPr>
                </a:p>
              </p:txBody>
            </p:sp>
            <p:sp>
              <p:nvSpPr>
                <p:cNvPr id="114" name="Freeform 144"/>
                <p:cNvSpPr>
                  <a:spLocks/>
                </p:cNvSpPr>
                <p:nvPr/>
              </p:nvSpPr>
              <p:spPr bwMode="auto">
                <a:xfrm>
                  <a:off x="3612197" y="4178019"/>
                  <a:ext cx="337988" cy="718591"/>
                </a:xfrm>
                <a:custGeom>
                  <a:avLst/>
                  <a:gdLst>
                    <a:gd name="T0" fmla="*/ 418346010 w 202"/>
                    <a:gd name="T1" fmla="*/ 463708816 h 426"/>
                    <a:gd name="T2" fmla="*/ 352821868 w 202"/>
                    <a:gd name="T3" fmla="*/ 529232859 h 426"/>
                    <a:gd name="T4" fmla="*/ 327620313 w 202"/>
                    <a:gd name="T5" fmla="*/ 569555348 h 426"/>
                    <a:gd name="T6" fmla="*/ 297378447 w 202"/>
                    <a:gd name="T7" fmla="*/ 609877836 h 426"/>
                    <a:gd name="T8" fmla="*/ 231854404 w 202"/>
                    <a:gd name="T9" fmla="*/ 650200325 h 426"/>
                    <a:gd name="T10" fmla="*/ 221773782 w 202"/>
                    <a:gd name="T11" fmla="*/ 650200325 h 426"/>
                    <a:gd name="T12" fmla="*/ 216733471 w 202"/>
                    <a:gd name="T13" fmla="*/ 670361569 h 426"/>
                    <a:gd name="T14" fmla="*/ 226814093 w 202"/>
                    <a:gd name="T15" fmla="*/ 675401880 h 426"/>
                    <a:gd name="T16" fmla="*/ 236894715 w 202"/>
                    <a:gd name="T17" fmla="*/ 685482502 h 426"/>
                    <a:gd name="T18" fmla="*/ 246975337 w 202"/>
                    <a:gd name="T19" fmla="*/ 710684057 h 426"/>
                    <a:gd name="T20" fmla="*/ 292338136 w 202"/>
                    <a:gd name="T21" fmla="*/ 771167790 h 426"/>
                    <a:gd name="T22" fmla="*/ 357862179 w 202"/>
                    <a:gd name="T23" fmla="*/ 846772654 h 426"/>
                    <a:gd name="T24" fmla="*/ 418346010 w 202"/>
                    <a:gd name="T25" fmla="*/ 877014521 h 426"/>
                    <a:gd name="T26" fmla="*/ 493950674 w 202"/>
                    <a:gd name="T27" fmla="*/ 907256387 h 426"/>
                    <a:gd name="T28" fmla="*/ 498990985 w 202"/>
                    <a:gd name="T29" fmla="*/ 912296698 h 426"/>
                    <a:gd name="T30" fmla="*/ 483870052 w 202"/>
                    <a:gd name="T31" fmla="*/ 982861053 h 426"/>
                    <a:gd name="T32" fmla="*/ 453628186 w 202"/>
                    <a:gd name="T33" fmla="*/ 1038304474 h 426"/>
                    <a:gd name="T34" fmla="*/ 413305599 w 202"/>
                    <a:gd name="T35" fmla="*/ 1073586652 h 426"/>
                    <a:gd name="T36" fmla="*/ 120967513 w 202"/>
                    <a:gd name="T37" fmla="*/ 841732343 h 426"/>
                    <a:gd name="T38" fmla="*/ 85685311 w 202"/>
                    <a:gd name="T39" fmla="*/ 811490278 h 426"/>
                    <a:gd name="T40" fmla="*/ 50403122 w 202"/>
                    <a:gd name="T41" fmla="*/ 771167790 h 426"/>
                    <a:gd name="T42" fmla="*/ 15120939 w 202"/>
                    <a:gd name="T43" fmla="*/ 710684057 h 426"/>
                    <a:gd name="T44" fmla="*/ 10080625 w 202"/>
                    <a:gd name="T45" fmla="*/ 700603435 h 426"/>
                    <a:gd name="T46" fmla="*/ 0 w 202"/>
                    <a:gd name="T47" fmla="*/ 660280947 h 426"/>
                    <a:gd name="T48" fmla="*/ 10080625 w 202"/>
                    <a:gd name="T49" fmla="*/ 635079391 h 426"/>
                    <a:gd name="T50" fmla="*/ 206652800 w 202"/>
                    <a:gd name="T51" fmla="*/ 312499385 h 426"/>
                    <a:gd name="T52" fmla="*/ 262096270 w 202"/>
                    <a:gd name="T53" fmla="*/ 156249692 h 426"/>
                    <a:gd name="T54" fmla="*/ 297378447 w 202"/>
                    <a:gd name="T55" fmla="*/ 90725624 h 426"/>
                    <a:gd name="T56" fmla="*/ 312499380 w 202"/>
                    <a:gd name="T57" fmla="*/ 70564380 h 426"/>
                    <a:gd name="T58" fmla="*/ 337700935 w 202"/>
                    <a:gd name="T59" fmla="*/ 55443446 h 426"/>
                    <a:gd name="T60" fmla="*/ 362902490 w 202"/>
                    <a:gd name="T61" fmla="*/ 50403123 h 426"/>
                    <a:gd name="T62" fmla="*/ 509071607 w 202"/>
                    <a:gd name="T63" fmla="*/ 0 h 426"/>
                    <a:gd name="T64" fmla="*/ 483870052 w 202"/>
                    <a:gd name="T65" fmla="*/ 196572181 h 426"/>
                    <a:gd name="T66" fmla="*/ 458668497 w 202"/>
                    <a:gd name="T67" fmla="*/ 347781562 h 426"/>
                    <a:gd name="T68" fmla="*/ 418346010 w 202"/>
                    <a:gd name="T69" fmla="*/ 463708816 h 42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w 202"/>
                    <a:gd name="T106" fmla="*/ 0 h 426"/>
                    <a:gd name="T107" fmla="*/ 202 w 202"/>
                    <a:gd name="T108" fmla="*/ 426 h 426"/>
                  </a:gdLst>
                  <a:ahLst/>
                  <a:cxnLst>
                    <a:cxn ang="T70">
                      <a:pos x="T0" y="T1"/>
                    </a:cxn>
                    <a:cxn ang="T71">
                      <a:pos x="T2" y="T3"/>
                    </a:cxn>
                    <a:cxn ang="T72">
                      <a:pos x="T4" y="T5"/>
                    </a:cxn>
                    <a:cxn ang="T73">
                      <a:pos x="T6" y="T7"/>
                    </a:cxn>
                    <a:cxn ang="T74">
                      <a:pos x="T8" y="T9"/>
                    </a:cxn>
                    <a:cxn ang="T75">
                      <a:pos x="T10" y="T11"/>
                    </a:cxn>
                    <a:cxn ang="T76">
                      <a:pos x="T12" y="T13"/>
                    </a:cxn>
                    <a:cxn ang="T77">
                      <a:pos x="T14" y="T15"/>
                    </a:cxn>
                    <a:cxn ang="T78">
                      <a:pos x="T16" y="T17"/>
                    </a:cxn>
                    <a:cxn ang="T79">
                      <a:pos x="T18" y="T19"/>
                    </a:cxn>
                    <a:cxn ang="T80">
                      <a:pos x="T20" y="T21"/>
                    </a:cxn>
                    <a:cxn ang="T81">
                      <a:pos x="T22" y="T23"/>
                    </a:cxn>
                    <a:cxn ang="T82">
                      <a:pos x="T24" y="T25"/>
                    </a:cxn>
                    <a:cxn ang="T83">
                      <a:pos x="T26" y="T27"/>
                    </a:cxn>
                    <a:cxn ang="T84">
                      <a:pos x="T28" y="T29"/>
                    </a:cxn>
                    <a:cxn ang="T85">
                      <a:pos x="T30" y="T31"/>
                    </a:cxn>
                    <a:cxn ang="T86">
                      <a:pos x="T32" y="T33"/>
                    </a:cxn>
                    <a:cxn ang="T87">
                      <a:pos x="T34" y="T35"/>
                    </a:cxn>
                    <a:cxn ang="T88">
                      <a:pos x="T36" y="T37"/>
                    </a:cxn>
                    <a:cxn ang="T89">
                      <a:pos x="T38" y="T39"/>
                    </a:cxn>
                    <a:cxn ang="T90">
                      <a:pos x="T40" y="T41"/>
                    </a:cxn>
                    <a:cxn ang="T91">
                      <a:pos x="T42" y="T43"/>
                    </a:cxn>
                    <a:cxn ang="T92">
                      <a:pos x="T44" y="T45"/>
                    </a:cxn>
                    <a:cxn ang="T93">
                      <a:pos x="T46" y="T47"/>
                    </a:cxn>
                    <a:cxn ang="T94">
                      <a:pos x="T48" y="T49"/>
                    </a:cxn>
                    <a:cxn ang="T95">
                      <a:pos x="T50" y="T51"/>
                    </a:cxn>
                    <a:cxn ang="T96">
                      <a:pos x="T52" y="T53"/>
                    </a:cxn>
                    <a:cxn ang="T97">
                      <a:pos x="T54" y="T55"/>
                    </a:cxn>
                    <a:cxn ang="T98">
                      <a:pos x="T56" y="T57"/>
                    </a:cxn>
                    <a:cxn ang="T99">
                      <a:pos x="T58" y="T59"/>
                    </a:cxn>
                    <a:cxn ang="T100">
                      <a:pos x="T60" y="T61"/>
                    </a:cxn>
                    <a:cxn ang="T101">
                      <a:pos x="T62" y="T63"/>
                    </a:cxn>
                    <a:cxn ang="T102">
                      <a:pos x="T64" y="T65"/>
                    </a:cxn>
                    <a:cxn ang="T103">
                      <a:pos x="T66" y="T67"/>
                    </a:cxn>
                    <a:cxn ang="T104">
                      <a:pos x="T68" y="T69"/>
                    </a:cxn>
                  </a:cxnLst>
                  <a:rect l="T105" t="T106" r="T107" b="T108"/>
                  <a:pathLst>
                    <a:path w="202" h="426">
                      <a:moveTo>
                        <a:pt x="166" y="184"/>
                      </a:moveTo>
                      <a:lnTo>
                        <a:pt x="166" y="184"/>
                      </a:lnTo>
                      <a:lnTo>
                        <a:pt x="152" y="196"/>
                      </a:lnTo>
                      <a:lnTo>
                        <a:pt x="140" y="210"/>
                      </a:lnTo>
                      <a:lnTo>
                        <a:pt x="130" y="226"/>
                      </a:lnTo>
                      <a:lnTo>
                        <a:pt x="124" y="236"/>
                      </a:lnTo>
                      <a:lnTo>
                        <a:pt x="118" y="242"/>
                      </a:lnTo>
                      <a:lnTo>
                        <a:pt x="104" y="252"/>
                      </a:lnTo>
                      <a:lnTo>
                        <a:pt x="92" y="258"/>
                      </a:lnTo>
                      <a:lnTo>
                        <a:pt x="88" y="258"/>
                      </a:lnTo>
                      <a:lnTo>
                        <a:pt x="86" y="262"/>
                      </a:lnTo>
                      <a:lnTo>
                        <a:pt x="86" y="266"/>
                      </a:lnTo>
                      <a:lnTo>
                        <a:pt x="90" y="268"/>
                      </a:lnTo>
                      <a:lnTo>
                        <a:pt x="92" y="270"/>
                      </a:lnTo>
                      <a:lnTo>
                        <a:pt x="94" y="272"/>
                      </a:lnTo>
                      <a:lnTo>
                        <a:pt x="98" y="282"/>
                      </a:lnTo>
                      <a:lnTo>
                        <a:pt x="104" y="292"/>
                      </a:lnTo>
                      <a:lnTo>
                        <a:pt x="116" y="306"/>
                      </a:lnTo>
                      <a:lnTo>
                        <a:pt x="134" y="324"/>
                      </a:lnTo>
                      <a:lnTo>
                        <a:pt x="142" y="336"/>
                      </a:lnTo>
                      <a:lnTo>
                        <a:pt x="166" y="348"/>
                      </a:lnTo>
                      <a:lnTo>
                        <a:pt x="184" y="356"/>
                      </a:lnTo>
                      <a:lnTo>
                        <a:pt x="196" y="360"/>
                      </a:lnTo>
                      <a:lnTo>
                        <a:pt x="198" y="362"/>
                      </a:lnTo>
                      <a:lnTo>
                        <a:pt x="198" y="370"/>
                      </a:lnTo>
                      <a:lnTo>
                        <a:pt x="192" y="390"/>
                      </a:lnTo>
                      <a:lnTo>
                        <a:pt x="186" y="400"/>
                      </a:lnTo>
                      <a:lnTo>
                        <a:pt x="180" y="412"/>
                      </a:lnTo>
                      <a:lnTo>
                        <a:pt x="172" y="420"/>
                      </a:lnTo>
                      <a:lnTo>
                        <a:pt x="164" y="426"/>
                      </a:lnTo>
                      <a:lnTo>
                        <a:pt x="48" y="334"/>
                      </a:lnTo>
                      <a:lnTo>
                        <a:pt x="34" y="322"/>
                      </a:lnTo>
                      <a:lnTo>
                        <a:pt x="26" y="314"/>
                      </a:lnTo>
                      <a:lnTo>
                        <a:pt x="20" y="306"/>
                      </a:lnTo>
                      <a:lnTo>
                        <a:pt x="6" y="282"/>
                      </a:lnTo>
                      <a:lnTo>
                        <a:pt x="4" y="278"/>
                      </a:lnTo>
                      <a:lnTo>
                        <a:pt x="0" y="270"/>
                      </a:lnTo>
                      <a:lnTo>
                        <a:pt x="0" y="262"/>
                      </a:lnTo>
                      <a:lnTo>
                        <a:pt x="0" y="258"/>
                      </a:lnTo>
                      <a:lnTo>
                        <a:pt x="4" y="252"/>
                      </a:lnTo>
                      <a:lnTo>
                        <a:pt x="82" y="124"/>
                      </a:lnTo>
                      <a:lnTo>
                        <a:pt x="104" y="62"/>
                      </a:lnTo>
                      <a:lnTo>
                        <a:pt x="112" y="48"/>
                      </a:lnTo>
                      <a:lnTo>
                        <a:pt x="118" y="36"/>
                      </a:lnTo>
                      <a:lnTo>
                        <a:pt x="124" y="28"/>
                      </a:lnTo>
                      <a:lnTo>
                        <a:pt x="130" y="24"/>
                      </a:lnTo>
                      <a:lnTo>
                        <a:pt x="134" y="22"/>
                      </a:lnTo>
                      <a:lnTo>
                        <a:pt x="144" y="20"/>
                      </a:lnTo>
                      <a:lnTo>
                        <a:pt x="202" y="0"/>
                      </a:lnTo>
                      <a:lnTo>
                        <a:pt x="200" y="24"/>
                      </a:lnTo>
                      <a:lnTo>
                        <a:pt x="192" y="78"/>
                      </a:lnTo>
                      <a:lnTo>
                        <a:pt x="188" y="108"/>
                      </a:lnTo>
                      <a:lnTo>
                        <a:pt x="182" y="138"/>
                      </a:lnTo>
                      <a:lnTo>
                        <a:pt x="174" y="164"/>
                      </a:lnTo>
                      <a:lnTo>
                        <a:pt x="166" y="184"/>
                      </a:lnTo>
                      <a:close/>
                    </a:path>
                  </a:pathLst>
                </a:custGeom>
                <a:solidFill>
                  <a:schemeClr val="tx1">
                    <a:lumMod val="50000"/>
                  </a:schemeClr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>
                    <a:latin typeface="+mn-lt"/>
                    <a:cs typeface="+mn-cs"/>
                  </a:endParaRPr>
                </a:p>
              </p:txBody>
            </p:sp>
          </p:grpSp>
          <p:sp>
            <p:nvSpPr>
              <p:cNvPr id="107" name="Freeform 138"/>
              <p:cNvSpPr>
                <a:spLocks/>
              </p:cNvSpPr>
              <p:nvPr/>
            </p:nvSpPr>
            <p:spPr bwMode="auto">
              <a:xfrm>
                <a:off x="3544225" y="4214357"/>
                <a:ext cx="202273" cy="330410"/>
              </a:xfrm>
              <a:custGeom>
                <a:avLst/>
                <a:gdLst>
                  <a:gd name="T0" fmla="*/ 2147483647 w 120"/>
                  <a:gd name="T1" fmla="*/ 2147483647 h 196"/>
                  <a:gd name="T2" fmla="*/ 2147483647 w 120"/>
                  <a:gd name="T3" fmla="*/ 2147483647 h 196"/>
                  <a:gd name="T4" fmla="*/ 2147483647 w 120"/>
                  <a:gd name="T5" fmla="*/ 2147483647 h 196"/>
                  <a:gd name="T6" fmla="*/ 2147483647 w 120"/>
                  <a:gd name="T7" fmla="*/ 2147483647 h 196"/>
                  <a:gd name="T8" fmla="*/ 2147483647 w 120"/>
                  <a:gd name="T9" fmla="*/ 2147483647 h 196"/>
                  <a:gd name="T10" fmla="*/ 2147483647 w 120"/>
                  <a:gd name="T11" fmla="*/ 2147483647 h 196"/>
                  <a:gd name="T12" fmla="*/ 2147483647 w 120"/>
                  <a:gd name="T13" fmla="*/ 2147483647 h 196"/>
                  <a:gd name="T14" fmla="*/ 2147483647 w 120"/>
                  <a:gd name="T15" fmla="*/ 2147483647 h 196"/>
                  <a:gd name="T16" fmla="*/ 2147483647 w 120"/>
                  <a:gd name="T17" fmla="*/ 2147483647 h 196"/>
                  <a:gd name="T18" fmla="*/ 2147483647 w 120"/>
                  <a:gd name="T19" fmla="*/ 2147483647 h 196"/>
                  <a:gd name="T20" fmla="*/ 2147483647 w 120"/>
                  <a:gd name="T21" fmla="*/ 2147483647 h 196"/>
                  <a:gd name="T22" fmla="*/ 2147483647 w 120"/>
                  <a:gd name="T23" fmla="*/ 2147483647 h 196"/>
                  <a:gd name="T24" fmla="*/ 2147483647 w 120"/>
                  <a:gd name="T25" fmla="*/ 2147483647 h 196"/>
                  <a:gd name="T26" fmla="*/ 2147483647 w 120"/>
                  <a:gd name="T27" fmla="*/ 2147483647 h 196"/>
                  <a:gd name="T28" fmla="*/ 2147483647 w 120"/>
                  <a:gd name="T29" fmla="*/ 2147483647 h 196"/>
                  <a:gd name="T30" fmla="*/ 2147483647 w 120"/>
                  <a:gd name="T31" fmla="*/ 2147483647 h 196"/>
                  <a:gd name="T32" fmla="*/ 2147483647 w 120"/>
                  <a:gd name="T33" fmla="*/ 2147483647 h 196"/>
                  <a:gd name="T34" fmla="*/ 2147483647 w 120"/>
                  <a:gd name="T35" fmla="*/ 2147483647 h 196"/>
                  <a:gd name="T36" fmla="*/ 2147483647 w 120"/>
                  <a:gd name="T37" fmla="*/ 2147483647 h 196"/>
                  <a:gd name="T38" fmla="*/ 2147483647 w 120"/>
                  <a:gd name="T39" fmla="*/ 2147483647 h 196"/>
                  <a:gd name="T40" fmla="*/ 0 w 120"/>
                  <a:gd name="T41" fmla="*/ 2147483647 h 196"/>
                  <a:gd name="T42" fmla="*/ 2147483647 w 120"/>
                  <a:gd name="T43" fmla="*/ 2147483647 h 196"/>
                  <a:gd name="T44" fmla="*/ 2147483647 w 120"/>
                  <a:gd name="T45" fmla="*/ 2147483647 h 196"/>
                  <a:gd name="T46" fmla="*/ 2147483647 w 120"/>
                  <a:gd name="T47" fmla="*/ 2147483647 h 196"/>
                  <a:gd name="T48" fmla="*/ 2147483647 w 120"/>
                  <a:gd name="T49" fmla="*/ 0 h 196"/>
                  <a:gd name="T50" fmla="*/ 2147483647 w 120"/>
                  <a:gd name="T51" fmla="*/ 0 h 196"/>
                  <a:gd name="T52" fmla="*/ 2147483647 w 120"/>
                  <a:gd name="T53" fmla="*/ 2147483647 h 196"/>
                  <a:gd name="T54" fmla="*/ 2147483647 w 120"/>
                  <a:gd name="T55" fmla="*/ 2147483647 h 19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w 120"/>
                  <a:gd name="T85" fmla="*/ 0 h 196"/>
                  <a:gd name="T86" fmla="*/ 120 w 120"/>
                  <a:gd name="T87" fmla="*/ 196 h 196"/>
                </a:gdLst>
                <a:ahLst/>
                <a:cxnLst>
                  <a:cxn ang="T56">
                    <a:pos x="T0" y="T1"/>
                  </a:cxn>
                  <a:cxn ang="T57">
                    <a:pos x="T2" y="T3"/>
                  </a:cxn>
                  <a:cxn ang="T58">
                    <a:pos x="T4" y="T5"/>
                  </a:cxn>
                  <a:cxn ang="T59">
                    <a:pos x="T6" y="T7"/>
                  </a:cxn>
                  <a:cxn ang="T60">
                    <a:pos x="T8" y="T9"/>
                  </a:cxn>
                  <a:cxn ang="T61">
                    <a:pos x="T10" y="T11"/>
                  </a:cxn>
                  <a:cxn ang="T62">
                    <a:pos x="T12" y="T13"/>
                  </a:cxn>
                  <a:cxn ang="T63">
                    <a:pos x="T14" y="T15"/>
                  </a:cxn>
                  <a:cxn ang="T64">
                    <a:pos x="T16" y="T17"/>
                  </a:cxn>
                  <a:cxn ang="T65">
                    <a:pos x="T18" y="T19"/>
                  </a:cxn>
                  <a:cxn ang="T66">
                    <a:pos x="T20" y="T21"/>
                  </a:cxn>
                  <a:cxn ang="T67">
                    <a:pos x="T22" y="T23"/>
                  </a:cxn>
                  <a:cxn ang="T68">
                    <a:pos x="T24" y="T25"/>
                  </a:cxn>
                  <a:cxn ang="T69">
                    <a:pos x="T26" y="T27"/>
                  </a:cxn>
                  <a:cxn ang="T70">
                    <a:pos x="T28" y="T29"/>
                  </a:cxn>
                  <a:cxn ang="T71">
                    <a:pos x="T30" y="T31"/>
                  </a:cxn>
                  <a:cxn ang="T72">
                    <a:pos x="T32" y="T33"/>
                  </a:cxn>
                  <a:cxn ang="T73">
                    <a:pos x="T34" y="T35"/>
                  </a:cxn>
                  <a:cxn ang="T74">
                    <a:pos x="T36" y="T37"/>
                  </a:cxn>
                  <a:cxn ang="T75">
                    <a:pos x="T38" y="T39"/>
                  </a:cxn>
                  <a:cxn ang="T76">
                    <a:pos x="T40" y="T41"/>
                  </a:cxn>
                  <a:cxn ang="T77">
                    <a:pos x="T42" y="T43"/>
                  </a:cxn>
                  <a:cxn ang="T78">
                    <a:pos x="T44" y="T45"/>
                  </a:cxn>
                  <a:cxn ang="T79">
                    <a:pos x="T46" y="T47"/>
                  </a:cxn>
                  <a:cxn ang="T80">
                    <a:pos x="T48" y="T49"/>
                  </a:cxn>
                  <a:cxn ang="T81">
                    <a:pos x="T50" y="T51"/>
                  </a:cxn>
                  <a:cxn ang="T82">
                    <a:pos x="T52" y="T53"/>
                  </a:cxn>
                  <a:cxn ang="T83">
                    <a:pos x="T54" y="T55"/>
                  </a:cxn>
                </a:cxnLst>
                <a:rect l="T84" t="T85" r="T86" b="T87"/>
                <a:pathLst>
                  <a:path w="120" h="196">
                    <a:moveTo>
                      <a:pt x="82" y="2"/>
                    </a:moveTo>
                    <a:lnTo>
                      <a:pt x="82" y="2"/>
                    </a:lnTo>
                    <a:lnTo>
                      <a:pt x="96" y="24"/>
                    </a:lnTo>
                    <a:lnTo>
                      <a:pt x="98" y="34"/>
                    </a:lnTo>
                    <a:lnTo>
                      <a:pt x="102" y="46"/>
                    </a:lnTo>
                    <a:lnTo>
                      <a:pt x="106" y="70"/>
                    </a:lnTo>
                    <a:lnTo>
                      <a:pt x="114" y="120"/>
                    </a:lnTo>
                    <a:lnTo>
                      <a:pt x="118" y="170"/>
                    </a:lnTo>
                    <a:lnTo>
                      <a:pt x="120" y="188"/>
                    </a:lnTo>
                    <a:lnTo>
                      <a:pt x="118" y="196"/>
                    </a:lnTo>
                    <a:lnTo>
                      <a:pt x="106" y="174"/>
                    </a:lnTo>
                    <a:lnTo>
                      <a:pt x="76" y="120"/>
                    </a:lnTo>
                    <a:lnTo>
                      <a:pt x="58" y="90"/>
                    </a:lnTo>
                    <a:lnTo>
                      <a:pt x="38" y="62"/>
                    </a:lnTo>
                    <a:lnTo>
                      <a:pt x="22" y="40"/>
                    </a:lnTo>
                    <a:lnTo>
                      <a:pt x="14" y="32"/>
                    </a:lnTo>
                    <a:lnTo>
                      <a:pt x="8" y="26"/>
                    </a:lnTo>
                    <a:lnTo>
                      <a:pt x="0" y="22"/>
                    </a:lnTo>
                    <a:lnTo>
                      <a:pt x="2" y="12"/>
                    </a:lnTo>
                    <a:lnTo>
                      <a:pt x="36" y="4"/>
                    </a:lnTo>
                    <a:lnTo>
                      <a:pt x="64" y="0"/>
                    </a:lnTo>
                    <a:lnTo>
                      <a:pt x="74" y="0"/>
                    </a:lnTo>
                    <a:lnTo>
                      <a:pt x="82" y="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alibri" pitchFamily="-112" charset="0"/>
                </a:endParaRPr>
              </a:p>
            </p:txBody>
          </p:sp>
          <p:sp>
            <p:nvSpPr>
              <p:cNvPr id="108" name="Freeform 140"/>
              <p:cNvSpPr>
                <a:spLocks/>
              </p:cNvSpPr>
              <p:nvPr/>
            </p:nvSpPr>
            <p:spPr bwMode="auto">
              <a:xfrm>
                <a:off x="3573904" y="4137656"/>
                <a:ext cx="152095" cy="236712"/>
              </a:xfrm>
              <a:custGeom>
                <a:avLst/>
                <a:gdLst>
                  <a:gd name="T0" fmla="*/ 196572170 w 90"/>
                  <a:gd name="T1" fmla="*/ 120967497 h 140"/>
                  <a:gd name="T2" fmla="*/ 196572170 w 90"/>
                  <a:gd name="T3" fmla="*/ 120967497 h 140"/>
                  <a:gd name="T4" fmla="*/ 191531860 w 90"/>
                  <a:gd name="T5" fmla="*/ 136088428 h 140"/>
                  <a:gd name="T6" fmla="*/ 181451238 w 90"/>
                  <a:gd name="T7" fmla="*/ 171370600 h 140"/>
                  <a:gd name="T8" fmla="*/ 181451238 w 90"/>
                  <a:gd name="T9" fmla="*/ 196572151 h 140"/>
                  <a:gd name="T10" fmla="*/ 186491549 w 90"/>
                  <a:gd name="T11" fmla="*/ 211693132 h 140"/>
                  <a:gd name="T12" fmla="*/ 191531860 w 90"/>
                  <a:gd name="T13" fmla="*/ 226814063 h 140"/>
                  <a:gd name="T14" fmla="*/ 206652792 w 90"/>
                  <a:gd name="T15" fmla="*/ 236894683 h 140"/>
                  <a:gd name="T16" fmla="*/ 206652792 w 90"/>
                  <a:gd name="T17" fmla="*/ 236894683 h 140"/>
                  <a:gd name="T18" fmla="*/ 226814085 w 90"/>
                  <a:gd name="T19" fmla="*/ 241934994 h 140"/>
                  <a:gd name="T20" fmla="*/ 226814085 w 90"/>
                  <a:gd name="T21" fmla="*/ 241934994 h 140"/>
                  <a:gd name="T22" fmla="*/ 226814085 w 90"/>
                  <a:gd name="T23" fmla="*/ 257055925 h 140"/>
                  <a:gd name="T24" fmla="*/ 226814085 w 90"/>
                  <a:gd name="T25" fmla="*/ 272176856 h 140"/>
                  <a:gd name="T26" fmla="*/ 221773774 w 90"/>
                  <a:gd name="T27" fmla="*/ 282257476 h 140"/>
                  <a:gd name="T28" fmla="*/ 221773774 w 90"/>
                  <a:gd name="T29" fmla="*/ 282257476 h 140"/>
                  <a:gd name="T30" fmla="*/ 211693152 w 90"/>
                  <a:gd name="T31" fmla="*/ 297378407 h 140"/>
                  <a:gd name="T32" fmla="*/ 206652792 w 90"/>
                  <a:gd name="T33" fmla="*/ 322579959 h 140"/>
                  <a:gd name="T34" fmla="*/ 196572170 w 90"/>
                  <a:gd name="T35" fmla="*/ 352821820 h 140"/>
                  <a:gd name="T36" fmla="*/ 186491549 w 90"/>
                  <a:gd name="T37" fmla="*/ 347781510 h 140"/>
                  <a:gd name="T38" fmla="*/ 186491549 w 90"/>
                  <a:gd name="T39" fmla="*/ 347781510 h 140"/>
                  <a:gd name="T40" fmla="*/ 196572170 w 90"/>
                  <a:gd name="T41" fmla="*/ 337700889 h 140"/>
                  <a:gd name="T42" fmla="*/ 196572170 w 90"/>
                  <a:gd name="T43" fmla="*/ 322579959 h 140"/>
                  <a:gd name="T44" fmla="*/ 186491549 w 90"/>
                  <a:gd name="T45" fmla="*/ 307459028 h 140"/>
                  <a:gd name="T46" fmla="*/ 186491549 w 90"/>
                  <a:gd name="T47" fmla="*/ 307459028 h 140"/>
                  <a:gd name="T48" fmla="*/ 171370617 w 90"/>
                  <a:gd name="T49" fmla="*/ 297378407 h 140"/>
                  <a:gd name="T50" fmla="*/ 146169063 w 90"/>
                  <a:gd name="T51" fmla="*/ 282257476 h 140"/>
                  <a:gd name="T52" fmla="*/ 95765930 w 90"/>
                  <a:gd name="T53" fmla="*/ 257055925 h 140"/>
                  <a:gd name="T54" fmla="*/ 95765930 w 90"/>
                  <a:gd name="T55" fmla="*/ 257055925 h 140"/>
                  <a:gd name="T56" fmla="*/ 70564376 w 90"/>
                  <a:gd name="T57" fmla="*/ 241934994 h 140"/>
                  <a:gd name="T58" fmla="*/ 55443444 w 90"/>
                  <a:gd name="T59" fmla="*/ 226814063 h 140"/>
                  <a:gd name="T60" fmla="*/ 35282188 w 90"/>
                  <a:gd name="T61" fmla="*/ 206652772 h 140"/>
                  <a:gd name="T62" fmla="*/ 20161249 w 90"/>
                  <a:gd name="T63" fmla="*/ 191531841 h 140"/>
                  <a:gd name="T64" fmla="*/ 20161249 w 90"/>
                  <a:gd name="T65" fmla="*/ 191531841 h 140"/>
                  <a:gd name="T66" fmla="*/ 15120939 w 90"/>
                  <a:gd name="T67" fmla="*/ 120967497 h 140"/>
                  <a:gd name="T68" fmla="*/ 15120939 w 90"/>
                  <a:gd name="T69" fmla="*/ 120967497 h 140"/>
                  <a:gd name="T70" fmla="*/ 10080625 w 90"/>
                  <a:gd name="T71" fmla="*/ 70564369 h 140"/>
                  <a:gd name="T72" fmla="*/ 0 w 90"/>
                  <a:gd name="T73" fmla="*/ 35282185 h 140"/>
                  <a:gd name="T74" fmla="*/ 0 w 90"/>
                  <a:gd name="T75" fmla="*/ 35282185 h 140"/>
                  <a:gd name="T76" fmla="*/ 10080625 w 90"/>
                  <a:gd name="T77" fmla="*/ 25201558 h 140"/>
                  <a:gd name="T78" fmla="*/ 20161249 w 90"/>
                  <a:gd name="T79" fmla="*/ 5040312 h 140"/>
                  <a:gd name="T80" fmla="*/ 20161249 w 90"/>
                  <a:gd name="T81" fmla="*/ 5040312 h 140"/>
                  <a:gd name="T82" fmla="*/ 25201560 w 90"/>
                  <a:gd name="T83" fmla="*/ 0 h 140"/>
                  <a:gd name="T84" fmla="*/ 30241877 w 90"/>
                  <a:gd name="T85" fmla="*/ 5040312 h 140"/>
                  <a:gd name="T86" fmla="*/ 50403120 w 90"/>
                  <a:gd name="T87" fmla="*/ 15120937 h 140"/>
                  <a:gd name="T88" fmla="*/ 110886887 w 90"/>
                  <a:gd name="T89" fmla="*/ 55443438 h 140"/>
                  <a:gd name="T90" fmla="*/ 196572170 w 90"/>
                  <a:gd name="T91" fmla="*/ 120967497 h 140"/>
                  <a:gd name="T92" fmla="*/ 196572170 w 90"/>
                  <a:gd name="T93" fmla="*/ 120967497 h 140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w 90"/>
                  <a:gd name="T142" fmla="*/ 0 h 140"/>
                  <a:gd name="T143" fmla="*/ 90 w 90"/>
                  <a:gd name="T144" fmla="*/ 140 h 140"/>
                </a:gdLst>
                <a:ahLst/>
                <a:cxnLst>
                  <a:cxn ang="T94">
                    <a:pos x="T0" y="T1"/>
                  </a:cxn>
                  <a:cxn ang="T95">
                    <a:pos x="T2" y="T3"/>
                  </a:cxn>
                  <a:cxn ang="T96">
                    <a:pos x="T4" y="T5"/>
                  </a:cxn>
                  <a:cxn ang="T97">
                    <a:pos x="T6" y="T7"/>
                  </a:cxn>
                  <a:cxn ang="T98">
                    <a:pos x="T8" y="T9"/>
                  </a:cxn>
                  <a:cxn ang="T99">
                    <a:pos x="T10" y="T11"/>
                  </a:cxn>
                  <a:cxn ang="T100">
                    <a:pos x="T12" y="T13"/>
                  </a:cxn>
                  <a:cxn ang="T101">
                    <a:pos x="T14" y="T15"/>
                  </a:cxn>
                  <a:cxn ang="T102">
                    <a:pos x="T16" y="T17"/>
                  </a:cxn>
                  <a:cxn ang="T103">
                    <a:pos x="T18" y="T19"/>
                  </a:cxn>
                  <a:cxn ang="T104">
                    <a:pos x="T20" y="T21"/>
                  </a:cxn>
                  <a:cxn ang="T105">
                    <a:pos x="T22" y="T23"/>
                  </a:cxn>
                  <a:cxn ang="T106">
                    <a:pos x="T24" y="T25"/>
                  </a:cxn>
                  <a:cxn ang="T107">
                    <a:pos x="T26" y="T27"/>
                  </a:cxn>
                  <a:cxn ang="T108">
                    <a:pos x="T28" y="T29"/>
                  </a:cxn>
                  <a:cxn ang="T109">
                    <a:pos x="T30" y="T31"/>
                  </a:cxn>
                  <a:cxn ang="T110">
                    <a:pos x="T32" y="T33"/>
                  </a:cxn>
                  <a:cxn ang="T111">
                    <a:pos x="T34" y="T35"/>
                  </a:cxn>
                  <a:cxn ang="T112">
                    <a:pos x="T36" y="T37"/>
                  </a:cxn>
                  <a:cxn ang="T113">
                    <a:pos x="T38" y="T39"/>
                  </a:cxn>
                  <a:cxn ang="T114">
                    <a:pos x="T40" y="T41"/>
                  </a:cxn>
                  <a:cxn ang="T115">
                    <a:pos x="T42" y="T43"/>
                  </a:cxn>
                  <a:cxn ang="T116">
                    <a:pos x="T44" y="T45"/>
                  </a:cxn>
                  <a:cxn ang="T117">
                    <a:pos x="T46" y="T47"/>
                  </a:cxn>
                  <a:cxn ang="T118">
                    <a:pos x="T48" y="T49"/>
                  </a:cxn>
                  <a:cxn ang="T119">
                    <a:pos x="T50" y="T51"/>
                  </a:cxn>
                  <a:cxn ang="T120">
                    <a:pos x="T52" y="T53"/>
                  </a:cxn>
                  <a:cxn ang="T121">
                    <a:pos x="T54" y="T55"/>
                  </a:cxn>
                  <a:cxn ang="T122">
                    <a:pos x="T56" y="T57"/>
                  </a:cxn>
                  <a:cxn ang="T123">
                    <a:pos x="T58" y="T59"/>
                  </a:cxn>
                  <a:cxn ang="T124">
                    <a:pos x="T60" y="T61"/>
                  </a:cxn>
                  <a:cxn ang="T125">
                    <a:pos x="T62" y="T63"/>
                  </a:cxn>
                  <a:cxn ang="T126">
                    <a:pos x="T64" y="T65"/>
                  </a:cxn>
                  <a:cxn ang="T127">
                    <a:pos x="T66" y="T67"/>
                  </a:cxn>
                  <a:cxn ang="T128">
                    <a:pos x="T68" y="T69"/>
                  </a:cxn>
                  <a:cxn ang="T129">
                    <a:pos x="T70" y="T71"/>
                  </a:cxn>
                  <a:cxn ang="T130">
                    <a:pos x="T72" y="T73"/>
                  </a:cxn>
                  <a:cxn ang="T131">
                    <a:pos x="T74" y="T75"/>
                  </a:cxn>
                  <a:cxn ang="T132">
                    <a:pos x="T76" y="T77"/>
                  </a:cxn>
                  <a:cxn ang="T133">
                    <a:pos x="T78" y="T79"/>
                  </a:cxn>
                  <a:cxn ang="T134">
                    <a:pos x="T80" y="T81"/>
                  </a:cxn>
                  <a:cxn ang="T135">
                    <a:pos x="T82" y="T83"/>
                  </a:cxn>
                  <a:cxn ang="T136">
                    <a:pos x="T84" y="T85"/>
                  </a:cxn>
                  <a:cxn ang="T137">
                    <a:pos x="T86" y="T87"/>
                  </a:cxn>
                  <a:cxn ang="T138">
                    <a:pos x="T88" y="T89"/>
                  </a:cxn>
                  <a:cxn ang="T139">
                    <a:pos x="T90" y="T91"/>
                  </a:cxn>
                  <a:cxn ang="T140">
                    <a:pos x="T92" y="T93"/>
                  </a:cxn>
                </a:cxnLst>
                <a:rect l="T141" t="T142" r="T143" b="T144"/>
                <a:pathLst>
                  <a:path w="90" h="140">
                    <a:moveTo>
                      <a:pt x="78" y="48"/>
                    </a:moveTo>
                    <a:lnTo>
                      <a:pt x="78" y="48"/>
                    </a:lnTo>
                    <a:lnTo>
                      <a:pt x="76" y="54"/>
                    </a:lnTo>
                    <a:lnTo>
                      <a:pt x="72" y="68"/>
                    </a:lnTo>
                    <a:lnTo>
                      <a:pt x="72" y="78"/>
                    </a:lnTo>
                    <a:lnTo>
                      <a:pt x="74" y="84"/>
                    </a:lnTo>
                    <a:lnTo>
                      <a:pt x="76" y="90"/>
                    </a:lnTo>
                    <a:lnTo>
                      <a:pt x="82" y="94"/>
                    </a:lnTo>
                    <a:lnTo>
                      <a:pt x="90" y="96"/>
                    </a:lnTo>
                    <a:lnTo>
                      <a:pt x="90" y="102"/>
                    </a:lnTo>
                    <a:lnTo>
                      <a:pt x="90" y="108"/>
                    </a:lnTo>
                    <a:lnTo>
                      <a:pt x="88" y="112"/>
                    </a:lnTo>
                    <a:lnTo>
                      <a:pt x="84" y="118"/>
                    </a:lnTo>
                    <a:lnTo>
                      <a:pt x="82" y="128"/>
                    </a:lnTo>
                    <a:lnTo>
                      <a:pt x="78" y="140"/>
                    </a:lnTo>
                    <a:lnTo>
                      <a:pt x="74" y="138"/>
                    </a:lnTo>
                    <a:lnTo>
                      <a:pt x="78" y="134"/>
                    </a:lnTo>
                    <a:lnTo>
                      <a:pt x="78" y="128"/>
                    </a:lnTo>
                    <a:lnTo>
                      <a:pt x="74" y="122"/>
                    </a:lnTo>
                    <a:lnTo>
                      <a:pt x="68" y="118"/>
                    </a:lnTo>
                    <a:lnTo>
                      <a:pt x="58" y="112"/>
                    </a:lnTo>
                    <a:lnTo>
                      <a:pt x="38" y="102"/>
                    </a:lnTo>
                    <a:lnTo>
                      <a:pt x="28" y="96"/>
                    </a:lnTo>
                    <a:lnTo>
                      <a:pt x="22" y="90"/>
                    </a:lnTo>
                    <a:lnTo>
                      <a:pt x="14" y="82"/>
                    </a:lnTo>
                    <a:lnTo>
                      <a:pt x="8" y="76"/>
                    </a:lnTo>
                    <a:lnTo>
                      <a:pt x="6" y="48"/>
                    </a:lnTo>
                    <a:lnTo>
                      <a:pt x="4" y="28"/>
                    </a:lnTo>
                    <a:lnTo>
                      <a:pt x="0" y="14"/>
                    </a:lnTo>
                    <a:lnTo>
                      <a:pt x="4" y="10"/>
                    </a:lnTo>
                    <a:lnTo>
                      <a:pt x="8" y="2"/>
                    </a:lnTo>
                    <a:lnTo>
                      <a:pt x="10" y="0"/>
                    </a:lnTo>
                    <a:lnTo>
                      <a:pt x="12" y="2"/>
                    </a:lnTo>
                    <a:lnTo>
                      <a:pt x="20" y="6"/>
                    </a:lnTo>
                    <a:lnTo>
                      <a:pt x="44" y="22"/>
                    </a:lnTo>
                    <a:lnTo>
                      <a:pt x="78" y="48"/>
                    </a:lnTo>
                    <a:close/>
                  </a:path>
                </a:pathLst>
              </a:custGeom>
              <a:solidFill>
                <a:schemeClr val="tx1">
                  <a:lumMod val="50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>
                  <a:latin typeface="+mn-lt"/>
                  <a:cs typeface="+mn-cs"/>
                </a:endParaRPr>
              </a:p>
            </p:txBody>
          </p:sp>
        </p:grpSp>
        <p:sp>
          <p:nvSpPr>
            <p:cNvPr id="100" name="Freeform 5"/>
            <p:cNvSpPr>
              <a:spLocks noEditPoints="1"/>
            </p:cNvSpPr>
            <p:nvPr/>
          </p:nvSpPr>
          <p:spPr bwMode="auto">
            <a:xfrm>
              <a:off x="3158739" y="1956918"/>
              <a:ext cx="235812" cy="617523"/>
            </a:xfrm>
            <a:custGeom>
              <a:avLst/>
              <a:gdLst>
                <a:gd name="T0" fmla="*/ 2147483647 w 600"/>
                <a:gd name="T1" fmla="*/ 1302100615 h 1727"/>
                <a:gd name="T2" fmla="*/ 2132965708 w 600"/>
                <a:gd name="T3" fmla="*/ 1014817518 h 1727"/>
                <a:gd name="T4" fmla="*/ 2114775135 w 600"/>
                <a:gd name="T5" fmla="*/ 861847602 h 1727"/>
                <a:gd name="T6" fmla="*/ 1982886016 w 600"/>
                <a:gd name="T7" fmla="*/ 936466814 h 1727"/>
                <a:gd name="T8" fmla="*/ 1791874337 w 600"/>
                <a:gd name="T9" fmla="*/ 179084624 h 1727"/>
                <a:gd name="T10" fmla="*/ 1664531796 w 600"/>
                <a:gd name="T11" fmla="*/ 41039906 h 1727"/>
                <a:gd name="T12" fmla="*/ 1459878253 w 600"/>
                <a:gd name="T13" fmla="*/ 22385578 h 1727"/>
                <a:gd name="T14" fmla="*/ 1064208499 w 600"/>
                <a:gd name="T15" fmla="*/ 813345211 h 1727"/>
                <a:gd name="T16" fmla="*/ 1059661922 w 600"/>
                <a:gd name="T17" fmla="*/ 820807712 h 1727"/>
                <a:gd name="T18" fmla="*/ 786788399 w 600"/>
                <a:gd name="T19" fmla="*/ 1085705480 h 1727"/>
                <a:gd name="T20" fmla="*/ 650350571 w 600"/>
                <a:gd name="T21" fmla="*/ 1078242979 h 1727"/>
                <a:gd name="T22" fmla="*/ 659445858 w 600"/>
                <a:gd name="T23" fmla="*/ 1227481403 h 1727"/>
                <a:gd name="T24" fmla="*/ 418406771 w 600"/>
                <a:gd name="T25" fmla="*/ 1652809174 h 1727"/>
                <a:gd name="T26" fmla="*/ 18190581 w 600"/>
                <a:gd name="T27" fmla="*/ 2147483647 h 1727"/>
                <a:gd name="T28" fmla="*/ 841362251 w 600"/>
                <a:gd name="T29" fmla="*/ 2147483647 h 1727"/>
                <a:gd name="T30" fmla="*/ 768595694 w 600"/>
                <a:gd name="T31" fmla="*/ 2147483647 h 1727"/>
                <a:gd name="T32" fmla="*/ 463885336 w 600"/>
                <a:gd name="T33" fmla="*/ 2147483647 h 1727"/>
                <a:gd name="T34" fmla="*/ 836813541 w 600"/>
                <a:gd name="T35" fmla="*/ 1757274526 h 1727"/>
                <a:gd name="T36" fmla="*/ 941416800 w 600"/>
                <a:gd name="T37" fmla="*/ 2089329247 h 1727"/>
                <a:gd name="T38" fmla="*/ 809527682 w 600"/>
                <a:gd name="T39" fmla="*/ 2147483647 h 1727"/>
                <a:gd name="T40" fmla="*/ 845910960 w 600"/>
                <a:gd name="T41" fmla="*/ 2147483647 h 1727"/>
                <a:gd name="T42" fmla="*/ 668541144 w 600"/>
                <a:gd name="T43" fmla="*/ 2147483647 h 1727"/>
                <a:gd name="T44" fmla="*/ 886840816 w 600"/>
                <a:gd name="T45" fmla="*/ 2147483647 h 1727"/>
                <a:gd name="T46" fmla="*/ 968702659 w 600"/>
                <a:gd name="T47" fmla="*/ 2147483647 h 1727"/>
                <a:gd name="T48" fmla="*/ 1296152433 w 600"/>
                <a:gd name="T49" fmla="*/ 2147483647 h 1727"/>
                <a:gd name="T50" fmla="*/ 1368918990 w 600"/>
                <a:gd name="T51" fmla="*/ 2147483647 h 1727"/>
                <a:gd name="T52" fmla="*/ 1878284890 w 600"/>
                <a:gd name="T53" fmla="*/ 2147483647 h 1727"/>
                <a:gd name="T54" fmla="*/ 1987434726 w 600"/>
                <a:gd name="T55" fmla="*/ 2147483647 h 1727"/>
                <a:gd name="T56" fmla="*/ 2147483647 w 600"/>
                <a:gd name="T57" fmla="*/ 2147483647 h 1727"/>
                <a:gd name="T58" fmla="*/ 2147483647 w 600"/>
                <a:gd name="T59" fmla="*/ 2147483647 h 1727"/>
                <a:gd name="T60" fmla="*/ 2147483647 w 600"/>
                <a:gd name="T61" fmla="*/ 2147483647 h 1727"/>
                <a:gd name="T62" fmla="*/ 1700915074 w 600"/>
                <a:gd name="T63" fmla="*/ 2147483647 h 1727"/>
                <a:gd name="T64" fmla="*/ 1891928886 w 600"/>
                <a:gd name="T65" fmla="*/ 2147483647 h 1727"/>
                <a:gd name="T66" fmla="*/ 1650889932 w 600"/>
                <a:gd name="T67" fmla="*/ 2147483647 h 1727"/>
                <a:gd name="T68" fmla="*/ 1578123375 w 600"/>
                <a:gd name="T69" fmla="*/ 2147483647 h 1727"/>
                <a:gd name="T70" fmla="*/ 1455329543 w 600"/>
                <a:gd name="T71" fmla="*/ 2147483647 h 1727"/>
                <a:gd name="T72" fmla="*/ 1432590261 w 600"/>
                <a:gd name="T73" fmla="*/ 2147483647 h 1727"/>
                <a:gd name="T74" fmla="*/ 1964693311 w 600"/>
                <a:gd name="T75" fmla="*/ 2147483647 h 1727"/>
                <a:gd name="T76" fmla="*/ 1782779051 w 600"/>
                <a:gd name="T77" fmla="*/ 1962477842 h 1727"/>
                <a:gd name="T78" fmla="*/ 1105140487 w 600"/>
                <a:gd name="T79" fmla="*/ 1414028468 h 1727"/>
                <a:gd name="T80" fmla="*/ 1332535712 w 600"/>
                <a:gd name="T81" fmla="*/ 1201364583 h 1727"/>
                <a:gd name="T82" fmla="*/ 1896475463 w 600"/>
                <a:gd name="T83" fmla="*/ 1354332326 h 1727"/>
                <a:gd name="T84" fmla="*/ 1937407451 w 600"/>
                <a:gd name="T85" fmla="*/ 1078242979 h 1727"/>
                <a:gd name="T86" fmla="*/ 2147483647 w 600"/>
                <a:gd name="T87" fmla="*/ 2147483647 h 1727"/>
                <a:gd name="T88" fmla="*/ 2147483647 w 600"/>
                <a:gd name="T89" fmla="*/ 2147483647 h 1727"/>
                <a:gd name="T90" fmla="*/ 2147483647 w 600"/>
                <a:gd name="T91" fmla="*/ 1839356238 h 1727"/>
                <a:gd name="T92" fmla="*/ 2147483647 w 600"/>
                <a:gd name="T93" fmla="*/ 2147483647 h 1727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600"/>
                <a:gd name="T142" fmla="*/ 0 h 1727"/>
                <a:gd name="T143" fmla="*/ 600 w 600"/>
                <a:gd name="T144" fmla="*/ 1727 h 1727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600" h="1727">
                  <a:moveTo>
                    <a:pt x="588" y="660"/>
                  </a:moveTo>
                  <a:cubicBezTo>
                    <a:pt x="584" y="609"/>
                    <a:pt x="581" y="557"/>
                    <a:pt x="581" y="506"/>
                  </a:cubicBezTo>
                  <a:cubicBezTo>
                    <a:pt x="580" y="455"/>
                    <a:pt x="582" y="399"/>
                    <a:pt x="567" y="349"/>
                  </a:cubicBezTo>
                  <a:cubicBezTo>
                    <a:pt x="562" y="333"/>
                    <a:pt x="560" y="307"/>
                    <a:pt x="545" y="296"/>
                  </a:cubicBezTo>
                  <a:cubicBezTo>
                    <a:pt x="535" y="288"/>
                    <a:pt x="517" y="285"/>
                    <a:pt x="504" y="281"/>
                  </a:cubicBezTo>
                  <a:cubicBezTo>
                    <a:pt x="493" y="277"/>
                    <a:pt x="481" y="274"/>
                    <a:pt x="469" y="272"/>
                  </a:cubicBezTo>
                  <a:cubicBezTo>
                    <a:pt x="477" y="267"/>
                    <a:pt x="490" y="260"/>
                    <a:pt x="486" y="250"/>
                  </a:cubicBezTo>
                  <a:cubicBezTo>
                    <a:pt x="478" y="255"/>
                    <a:pt x="472" y="262"/>
                    <a:pt x="461" y="259"/>
                  </a:cubicBezTo>
                  <a:cubicBezTo>
                    <a:pt x="464" y="250"/>
                    <a:pt x="469" y="241"/>
                    <a:pt x="465" y="231"/>
                  </a:cubicBezTo>
                  <a:cubicBezTo>
                    <a:pt x="463" y="239"/>
                    <a:pt x="461" y="251"/>
                    <a:pt x="452" y="254"/>
                  </a:cubicBezTo>
                  <a:cubicBezTo>
                    <a:pt x="450" y="248"/>
                    <a:pt x="449" y="240"/>
                    <a:pt x="448" y="233"/>
                  </a:cubicBezTo>
                  <a:cubicBezTo>
                    <a:pt x="448" y="244"/>
                    <a:pt x="443" y="255"/>
                    <a:pt x="436" y="251"/>
                  </a:cubicBezTo>
                  <a:cubicBezTo>
                    <a:pt x="433" y="237"/>
                    <a:pt x="431" y="222"/>
                    <a:pt x="427" y="208"/>
                  </a:cubicBezTo>
                  <a:cubicBezTo>
                    <a:pt x="420" y="176"/>
                    <a:pt x="418" y="143"/>
                    <a:pt x="413" y="110"/>
                  </a:cubicBezTo>
                  <a:cubicBezTo>
                    <a:pt x="409" y="91"/>
                    <a:pt x="404" y="67"/>
                    <a:pt x="394" y="48"/>
                  </a:cubicBezTo>
                  <a:cubicBezTo>
                    <a:pt x="392" y="41"/>
                    <a:pt x="389" y="35"/>
                    <a:pt x="386" y="29"/>
                  </a:cubicBezTo>
                  <a:cubicBezTo>
                    <a:pt x="384" y="26"/>
                    <a:pt x="381" y="22"/>
                    <a:pt x="378" y="19"/>
                  </a:cubicBezTo>
                  <a:cubicBezTo>
                    <a:pt x="374" y="14"/>
                    <a:pt x="370" y="11"/>
                    <a:pt x="366" y="11"/>
                  </a:cubicBezTo>
                  <a:cubicBezTo>
                    <a:pt x="356" y="4"/>
                    <a:pt x="344" y="0"/>
                    <a:pt x="334" y="2"/>
                  </a:cubicBezTo>
                  <a:cubicBezTo>
                    <a:pt x="328" y="4"/>
                    <a:pt x="326" y="7"/>
                    <a:pt x="319" y="5"/>
                  </a:cubicBezTo>
                  <a:cubicBezTo>
                    <a:pt x="321" y="6"/>
                    <a:pt x="321" y="6"/>
                    <a:pt x="321" y="6"/>
                  </a:cubicBezTo>
                  <a:cubicBezTo>
                    <a:pt x="211" y="11"/>
                    <a:pt x="239" y="136"/>
                    <a:pt x="235" y="208"/>
                  </a:cubicBezTo>
                  <a:cubicBezTo>
                    <a:pt x="233" y="220"/>
                    <a:pt x="233" y="220"/>
                    <a:pt x="233" y="220"/>
                  </a:cubicBezTo>
                  <a:cubicBezTo>
                    <a:pt x="233" y="219"/>
                    <a:pt x="234" y="219"/>
                    <a:pt x="234" y="218"/>
                  </a:cubicBezTo>
                  <a:cubicBezTo>
                    <a:pt x="234" y="219"/>
                    <a:pt x="234" y="219"/>
                    <a:pt x="234" y="219"/>
                  </a:cubicBezTo>
                  <a:cubicBezTo>
                    <a:pt x="233" y="226"/>
                    <a:pt x="232" y="234"/>
                    <a:pt x="230" y="242"/>
                  </a:cubicBezTo>
                  <a:cubicBezTo>
                    <a:pt x="233" y="220"/>
                    <a:pt x="233" y="220"/>
                    <a:pt x="233" y="220"/>
                  </a:cubicBezTo>
                  <a:cubicBezTo>
                    <a:pt x="233" y="221"/>
                    <a:pt x="232" y="223"/>
                    <a:pt x="232" y="224"/>
                  </a:cubicBezTo>
                  <a:cubicBezTo>
                    <a:pt x="226" y="238"/>
                    <a:pt x="221" y="253"/>
                    <a:pt x="212" y="265"/>
                  </a:cubicBezTo>
                  <a:cubicBezTo>
                    <a:pt x="203" y="278"/>
                    <a:pt x="191" y="292"/>
                    <a:pt x="173" y="291"/>
                  </a:cubicBezTo>
                  <a:cubicBezTo>
                    <a:pt x="165" y="291"/>
                    <a:pt x="156" y="287"/>
                    <a:pt x="153" y="280"/>
                  </a:cubicBezTo>
                  <a:cubicBezTo>
                    <a:pt x="155" y="292"/>
                    <a:pt x="155" y="300"/>
                    <a:pt x="171" y="306"/>
                  </a:cubicBezTo>
                  <a:cubicBezTo>
                    <a:pt x="157" y="307"/>
                    <a:pt x="151" y="297"/>
                    <a:pt x="143" y="289"/>
                  </a:cubicBezTo>
                  <a:cubicBezTo>
                    <a:pt x="144" y="297"/>
                    <a:pt x="151" y="307"/>
                    <a:pt x="158" y="312"/>
                  </a:cubicBezTo>
                  <a:cubicBezTo>
                    <a:pt x="162" y="314"/>
                    <a:pt x="166" y="317"/>
                    <a:pt x="170" y="318"/>
                  </a:cubicBezTo>
                  <a:cubicBezTo>
                    <a:pt x="161" y="321"/>
                    <a:pt x="152" y="324"/>
                    <a:pt x="145" y="329"/>
                  </a:cubicBezTo>
                  <a:cubicBezTo>
                    <a:pt x="135" y="335"/>
                    <a:pt x="138" y="340"/>
                    <a:pt x="135" y="349"/>
                  </a:cubicBezTo>
                  <a:cubicBezTo>
                    <a:pt x="133" y="354"/>
                    <a:pt x="124" y="368"/>
                    <a:pt x="126" y="375"/>
                  </a:cubicBezTo>
                  <a:cubicBezTo>
                    <a:pt x="118" y="398"/>
                    <a:pt x="102" y="421"/>
                    <a:pt x="92" y="443"/>
                  </a:cubicBezTo>
                  <a:cubicBezTo>
                    <a:pt x="85" y="460"/>
                    <a:pt x="77" y="476"/>
                    <a:pt x="68" y="492"/>
                  </a:cubicBezTo>
                  <a:cubicBezTo>
                    <a:pt x="57" y="512"/>
                    <a:pt x="44" y="534"/>
                    <a:pt x="30" y="551"/>
                  </a:cubicBezTo>
                  <a:cubicBezTo>
                    <a:pt x="16" y="568"/>
                    <a:pt x="0" y="578"/>
                    <a:pt x="4" y="599"/>
                  </a:cubicBezTo>
                  <a:cubicBezTo>
                    <a:pt x="16" y="669"/>
                    <a:pt x="113" y="687"/>
                    <a:pt x="157" y="739"/>
                  </a:cubicBezTo>
                  <a:cubicBezTo>
                    <a:pt x="161" y="728"/>
                    <a:pt x="171" y="731"/>
                    <a:pt x="178" y="724"/>
                  </a:cubicBezTo>
                  <a:cubicBezTo>
                    <a:pt x="182" y="720"/>
                    <a:pt x="184" y="712"/>
                    <a:pt x="185" y="706"/>
                  </a:cubicBezTo>
                  <a:cubicBezTo>
                    <a:pt x="183" y="709"/>
                    <a:pt x="179" y="713"/>
                    <a:pt x="171" y="716"/>
                  </a:cubicBezTo>
                  <a:cubicBezTo>
                    <a:pt x="142" y="725"/>
                    <a:pt x="137" y="650"/>
                    <a:pt x="160" y="655"/>
                  </a:cubicBezTo>
                  <a:cubicBezTo>
                    <a:pt x="163" y="655"/>
                    <a:pt x="166" y="655"/>
                    <a:pt x="169" y="655"/>
                  </a:cubicBezTo>
                  <a:cubicBezTo>
                    <a:pt x="143" y="640"/>
                    <a:pt x="121" y="619"/>
                    <a:pt x="100" y="599"/>
                  </a:cubicBezTo>
                  <a:cubicBezTo>
                    <a:pt x="103" y="598"/>
                    <a:pt x="106" y="597"/>
                    <a:pt x="109" y="596"/>
                  </a:cubicBezTo>
                  <a:cubicBezTo>
                    <a:pt x="105" y="592"/>
                    <a:pt x="102" y="586"/>
                    <a:pt x="102" y="580"/>
                  </a:cubicBezTo>
                  <a:cubicBezTo>
                    <a:pt x="121" y="557"/>
                    <a:pt x="132" y="526"/>
                    <a:pt x="152" y="501"/>
                  </a:cubicBezTo>
                  <a:cubicBezTo>
                    <a:pt x="158" y="493"/>
                    <a:pt x="167" y="482"/>
                    <a:pt x="176" y="476"/>
                  </a:cubicBezTo>
                  <a:cubicBezTo>
                    <a:pt x="179" y="474"/>
                    <a:pt x="181" y="473"/>
                    <a:pt x="184" y="471"/>
                  </a:cubicBezTo>
                  <a:cubicBezTo>
                    <a:pt x="185" y="474"/>
                    <a:pt x="186" y="477"/>
                    <a:pt x="187" y="479"/>
                  </a:cubicBezTo>
                  <a:cubicBezTo>
                    <a:pt x="193" y="492"/>
                    <a:pt x="200" y="506"/>
                    <a:pt x="204" y="519"/>
                  </a:cubicBezTo>
                  <a:cubicBezTo>
                    <a:pt x="209" y="535"/>
                    <a:pt x="206" y="546"/>
                    <a:pt x="207" y="560"/>
                  </a:cubicBezTo>
                  <a:cubicBezTo>
                    <a:pt x="209" y="574"/>
                    <a:pt x="219" y="589"/>
                    <a:pt x="221" y="603"/>
                  </a:cubicBezTo>
                  <a:cubicBezTo>
                    <a:pt x="222" y="608"/>
                    <a:pt x="222" y="613"/>
                    <a:pt x="222" y="617"/>
                  </a:cubicBezTo>
                  <a:cubicBezTo>
                    <a:pt x="199" y="623"/>
                    <a:pt x="198" y="646"/>
                    <a:pt x="178" y="659"/>
                  </a:cubicBezTo>
                  <a:cubicBezTo>
                    <a:pt x="178" y="659"/>
                    <a:pt x="177" y="659"/>
                    <a:pt x="177" y="658"/>
                  </a:cubicBezTo>
                  <a:cubicBezTo>
                    <a:pt x="163" y="687"/>
                    <a:pt x="181" y="700"/>
                    <a:pt x="186" y="702"/>
                  </a:cubicBezTo>
                  <a:cubicBezTo>
                    <a:pt x="186" y="702"/>
                    <a:pt x="186" y="702"/>
                    <a:pt x="186" y="701"/>
                  </a:cubicBezTo>
                  <a:cubicBezTo>
                    <a:pt x="190" y="702"/>
                    <a:pt x="194" y="702"/>
                    <a:pt x="198" y="703"/>
                  </a:cubicBezTo>
                  <a:cubicBezTo>
                    <a:pt x="197" y="705"/>
                    <a:pt x="196" y="708"/>
                    <a:pt x="195" y="710"/>
                  </a:cubicBezTo>
                  <a:cubicBezTo>
                    <a:pt x="176" y="749"/>
                    <a:pt x="158" y="791"/>
                    <a:pt x="147" y="832"/>
                  </a:cubicBezTo>
                  <a:cubicBezTo>
                    <a:pt x="154" y="833"/>
                    <a:pt x="195" y="837"/>
                    <a:pt x="202" y="842"/>
                  </a:cubicBezTo>
                  <a:cubicBezTo>
                    <a:pt x="201" y="863"/>
                    <a:pt x="197" y="891"/>
                    <a:pt x="196" y="915"/>
                  </a:cubicBezTo>
                  <a:cubicBezTo>
                    <a:pt x="194" y="963"/>
                    <a:pt x="190" y="990"/>
                    <a:pt x="195" y="1029"/>
                  </a:cubicBezTo>
                  <a:cubicBezTo>
                    <a:pt x="201" y="1081"/>
                    <a:pt x="197" y="1136"/>
                    <a:pt x="190" y="1187"/>
                  </a:cubicBezTo>
                  <a:cubicBezTo>
                    <a:pt x="200" y="1191"/>
                    <a:pt x="209" y="1191"/>
                    <a:pt x="218" y="1191"/>
                  </a:cubicBezTo>
                  <a:cubicBezTo>
                    <a:pt x="216" y="1206"/>
                    <a:pt x="213" y="1221"/>
                    <a:pt x="213" y="1237"/>
                  </a:cubicBezTo>
                  <a:cubicBezTo>
                    <a:pt x="212" y="1255"/>
                    <a:pt x="214" y="1273"/>
                    <a:pt x="217" y="1291"/>
                  </a:cubicBezTo>
                  <a:cubicBezTo>
                    <a:pt x="225" y="1341"/>
                    <a:pt x="240" y="1389"/>
                    <a:pt x="259" y="1436"/>
                  </a:cubicBezTo>
                  <a:cubicBezTo>
                    <a:pt x="274" y="1473"/>
                    <a:pt x="294" y="1521"/>
                    <a:pt x="285" y="1560"/>
                  </a:cubicBezTo>
                  <a:cubicBezTo>
                    <a:pt x="280" y="1583"/>
                    <a:pt x="279" y="1609"/>
                    <a:pt x="281" y="1632"/>
                  </a:cubicBezTo>
                  <a:cubicBezTo>
                    <a:pt x="283" y="1648"/>
                    <a:pt x="290" y="1663"/>
                    <a:pt x="292" y="1679"/>
                  </a:cubicBezTo>
                  <a:cubicBezTo>
                    <a:pt x="294" y="1691"/>
                    <a:pt x="287" y="1699"/>
                    <a:pt x="301" y="1706"/>
                  </a:cubicBezTo>
                  <a:cubicBezTo>
                    <a:pt x="317" y="1713"/>
                    <a:pt x="366" y="1727"/>
                    <a:pt x="383" y="1719"/>
                  </a:cubicBezTo>
                  <a:cubicBezTo>
                    <a:pt x="392" y="1714"/>
                    <a:pt x="396" y="1709"/>
                    <a:pt x="398" y="1703"/>
                  </a:cubicBezTo>
                  <a:cubicBezTo>
                    <a:pt x="401" y="1708"/>
                    <a:pt x="405" y="1711"/>
                    <a:pt x="413" y="1712"/>
                  </a:cubicBezTo>
                  <a:cubicBezTo>
                    <a:pt x="428" y="1715"/>
                    <a:pt x="442" y="1713"/>
                    <a:pt x="456" y="1709"/>
                  </a:cubicBezTo>
                  <a:cubicBezTo>
                    <a:pt x="500" y="1697"/>
                    <a:pt x="454" y="1666"/>
                    <a:pt x="443" y="1643"/>
                  </a:cubicBezTo>
                  <a:cubicBezTo>
                    <a:pt x="439" y="1634"/>
                    <a:pt x="438" y="1622"/>
                    <a:pt x="437" y="1610"/>
                  </a:cubicBezTo>
                  <a:cubicBezTo>
                    <a:pt x="437" y="1588"/>
                    <a:pt x="432" y="1578"/>
                    <a:pt x="433" y="1563"/>
                  </a:cubicBezTo>
                  <a:cubicBezTo>
                    <a:pt x="434" y="1546"/>
                    <a:pt x="475" y="1428"/>
                    <a:pt x="479" y="1417"/>
                  </a:cubicBezTo>
                  <a:cubicBezTo>
                    <a:pt x="482" y="1406"/>
                    <a:pt x="519" y="1310"/>
                    <a:pt x="522" y="1297"/>
                  </a:cubicBezTo>
                  <a:cubicBezTo>
                    <a:pt x="524" y="1287"/>
                    <a:pt x="538" y="1222"/>
                    <a:pt x="542" y="1204"/>
                  </a:cubicBezTo>
                  <a:cubicBezTo>
                    <a:pt x="550" y="1201"/>
                    <a:pt x="549" y="1016"/>
                    <a:pt x="561" y="923"/>
                  </a:cubicBezTo>
                  <a:cubicBezTo>
                    <a:pt x="569" y="860"/>
                    <a:pt x="568" y="859"/>
                    <a:pt x="582" y="855"/>
                  </a:cubicBezTo>
                  <a:cubicBezTo>
                    <a:pt x="587" y="849"/>
                    <a:pt x="591" y="840"/>
                    <a:pt x="594" y="830"/>
                  </a:cubicBezTo>
                  <a:cubicBezTo>
                    <a:pt x="596" y="821"/>
                    <a:pt x="598" y="808"/>
                    <a:pt x="598" y="795"/>
                  </a:cubicBezTo>
                  <a:cubicBezTo>
                    <a:pt x="600" y="750"/>
                    <a:pt x="591" y="706"/>
                    <a:pt x="588" y="660"/>
                  </a:cubicBezTo>
                  <a:close/>
                  <a:moveTo>
                    <a:pt x="376" y="1659"/>
                  </a:moveTo>
                  <a:cubicBezTo>
                    <a:pt x="366" y="1644"/>
                    <a:pt x="365" y="1625"/>
                    <a:pt x="362" y="1608"/>
                  </a:cubicBezTo>
                  <a:cubicBezTo>
                    <a:pt x="367" y="1612"/>
                    <a:pt x="372" y="1616"/>
                    <a:pt x="374" y="1623"/>
                  </a:cubicBezTo>
                  <a:cubicBezTo>
                    <a:pt x="378" y="1635"/>
                    <a:pt x="376" y="1647"/>
                    <a:pt x="376" y="1659"/>
                  </a:cubicBezTo>
                  <a:close/>
                  <a:moveTo>
                    <a:pt x="432" y="1268"/>
                  </a:moveTo>
                  <a:cubicBezTo>
                    <a:pt x="429" y="1284"/>
                    <a:pt x="421" y="1302"/>
                    <a:pt x="416" y="1317"/>
                  </a:cubicBezTo>
                  <a:cubicBezTo>
                    <a:pt x="409" y="1339"/>
                    <a:pt x="408" y="1361"/>
                    <a:pt x="406" y="1383"/>
                  </a:cubicBezTo>
                  <a:cubicBezTo>
                    <a:pt x="404" y="1425"/>
                    <a:pt x="404" y="1467"/>
                    <a:pt x="388" y="1507"/>
                  </a:cubicBezTo>
                  <a:cubicBezTo>
                    <a:pt x="382" y="1522"/>
                    <a:pt x="374" y="1535"/>
                    <a:pt x="363" y="1547"/>
                  </a:cubicBezTo>
                  <a:cubicBezTo>
                    <a:pt x="361" y="1550"/>
                    <a:pt x="357" y="1553"/>
                    <a:pt x="353" y="1557"/>
                  </a:cubicBezTo>
                  <a:cubicBezTo>
                    <a:pt x="353" y="1553"/>
                    <a:pt x="352" y="1549"/>
                    <a:pt x="350" y="1546"/>
                  </a:cubicBezTo>
                  <a:cubicBezTo>
                    <a:pt x="349" y="1543"/>
                    <a:pt x="348" y="1541"/>
                    <a:pt x="347" y="1538"/>
                  </a:cubicBezTo>
                  <a:cubicBezTo>
                    <a:pt x="340" y="1511"/>
                    <a:pt x="330" y="1467"/>
                    <a:pt x="329" y="1444"/>
                  </a:cubicBezTo>
                  <a:cubicBezTo>
                    <a:pt x="327" y="1417"/>
                    <a:pt x="320" y="1330"/>
                    <a:pt x="320" y="1330"/>
                  </a:cubicBezTo>
                  <a:cubicBezTo>
                    <a:pt x="320" y="1330"/>
                    <a:pt x="320" y="1330"/>
                    <a:pt x="320" y="1330"/>
                  </a:cubicBezTo>
                  <a:cubicBezTo>
                    <a:pt x="319" y="1315"/>
                    <a:pt x="317" y="1300"/>
                    <a:pt x="315" y="1285"/>
                  </a:cubicBezTo>
                  <a:cubicBezTo>
                    <a:pt x="312" y="1268"/>
                    <a:pt x="307" y="1252"/>
                    <a:pt x="308" y="1235"/>
                  </a:cubicBezTo>
                  <a:cubicBezTo>
                    <a:pt x="310" y="1221"/>
                    <a:pt x="313" y="1208"/>
                    <a:pt x="315" y="1195"/>
                  </a:cubicBezTo>
                  <a:cubicBezTo>
                    <a:pt x="317" y="1194"/>
                    <a:pt x="319" y="1194"/>
                    <a:pt x="322" y="1194"/>
                  </a:cubicBezTo>
                  <a:cubicBezTo>
                    <a:pt x="335" y="1193"/>
                    <a:pt x="347" y="1193"/>
                    <a:pt x="360" y="1194"/>
                  </a:cubicBezTo>
                  <a:cubicBezTo>
                    <a:pt x="372" y="1195"/>
                    <a:pt x="420" y="1196"/>
                    <a:pt x="432" y="1197"/>
                  </a:cubicBezTo>
                  <a:cubicBezTo>
                    <a:pt x="432" y="1210"/>
                    <a:pt x="440" y="1213"/>
                    <a:pt x="432" y="1268"/>
                  </a:cubicBezTo>
                  <a:close/>
                  <a:moveTo>
                    <a:pt x="426" y="371"/>
                  </a:moveTo>
                  <a:cubicBezTo>
                    <a:pt x="417" y="395"/>
                    <a:pt x="392" y="526"/>
                    <a:pt x="392" y="526"/>
                  </a:cubicBezTo>
                  <a:cubicBezTo>
                    <a:pt x="392" y="526"/>
                    <a:pt x="392" y="526"/>
                    <a:pt x="384" y="526"/>
                  </a:cubicBezTo>
                  <a:cubicBezTo>
                    <a:pt x="384" y="526"/>
                    <a:pt x="384" y="526"/>
                    <a:pt x="301" y="363"/>
                  </a:cubicBezTo>
                  <a:cubicBezTo>
                    <a:pt x="301" y="354"/>
                    <a:pt x="243" y="379"/>
                    <a:pt x="243" y="379"/>
                  </a:cubicBezTo>
                  <a:cubicBezTo>
                    <a:pt x="243" y="379"/>
                    <a:pt x="243" y="346"/>
                    <a:pt x="243" y="273"/>
                  </a:cubicBezTo>
                  <a:cubicBezTo>
                    <a:pt x="243" y="273"/>
                    <a:pt x="243" y="273"/>
                    <a:pt x="276" y="264"/>
                  </a:cubicBezTo>
                  <a:cubicBezTo>
                    <a:pt x="285" y="289"/>
                    <a:pt x="293" y="322"/>
                    <a:pt x="293" y="322"/>
                  </a:cubicBezTo>
                  <a:cubicBezTo>
                    <a:pt x="293" y="322"/>
                    <a:pt x="293" y="322"/>
                    <a:pt x="310" y="354"/>
                  </a:cubicBezTo>
                  <a:cubicBezTo>
                    <a:pt x="384" y="485"/>
                    <a:pt x="384" y="485"/>
                    <a:pt x="384" y="485"/>
                  </a:cubicBezTo>
                  <a:cubicBezTo>
                    <a:pt x="384" y="485"/>
                    <a:pt x="384" y="485"/>
                    <a:pt x="417" y="363"/>
                  </a:cubicBezTo>
                  <a:cubicBezTo>
                    <a:pt x="426" y="354"/>
                    <a:pt x="417" y="297"/>
                    <a:pt x="417" y="297"/>
                  </a:cubicBezTo>
                  <a:cubicBezTo>
                    <a:pt x="417" y="297"/>
                    <a:pt x="417" y="297"/>
                    <a:pt x="417" y="281"/>
                  </a:cubicBezTo>
                  <a:cubicBezTo>
                    <a:pt x="417" y="281"/>
                    <a:pt x="417" y="281"/>
                    <a:pt x="426" y="289"/>
                  </a:cubicBezTo>
                  <a:cubicBezTo>
                    <a:pt x="426" y="289"/>
                    <a:pt x="426" y="289"/>
                    <a:pt x="467" y="371"/>
                  </a:cubicBezTo>
                  <a:cubicBezTo>
                    <a:pt x="467" y="371"/>
                    <a:pt x="467" y="371"/>
                    <a:pt x="426" y="371"/>
                  </a:cubicBezTo>
                  <a:close/>
                  <a:moveTo>
                    <a:pt x="487" y="649"/>
                  </a:moveTo>
                  <a:cubicBezTo>
                    <a:pt x="483" y="649"/>
                    <a:pt x="483" y="649"/>
                    <a:pt x="483" y="649"/>
                  </a:cubicBezTo>
                  <a:cubicBezTo>
                    <a:pt x="483" y="644"/>
                    <a:pt x="475" y="632"/>
                    <a:pt x="474" y="622"/>
                  </a:cubicBezTo>
                  <a:cubicBezTo>
                    <a:pt x="472" y="613"/>
                    <a:pt x="474" y="599"/>
                    <a:pt x="474" y="588"/>
                  </a:cubicBezTo>
                  <a:cubicBezTo>
                    <a:pt x="476" y="556"/>
                    <a:pt x="487" y="525"/>
                    <a:pt x="487" y="493"/>
                  </a:cubicBezTo>
                  <a:cubicBezTo>
                    <a:pt x="487" y="490"/>
                    <a:pt x="487" y="488"/>
                    <a:pt x="487" y="486"/>
                  </a:cubicBezTo>
                  <a:cubicBezTo>
                    <a:pt x="487" y="488"/>
                    <a:pt x="487" y="490"/>
                    <a:pt x="487" y="493"/>
                  </a:cubicBezTo>
                  <a:cubicBezTo>
                    <a:pt x="488" y="525"/>
                    <a:pt x="493" y="556"/>
                    <a:pt x="481" y="587"/>
                  </a:cubicBezTo>
                  <a:cubicBezTo>
                    <a:pt x="484" y="586"/>
                    <a:pt x="487" y="587"/>
                    <a:pt x="489" y="587"/>
                  </a:cubicBezTo>
                  <a:cubicBezTo>
                    <a:pt x="484" y="599"/>
                    <a:pt x="492" y="605"/>
                    <a:pt x="492" y="616"/>
                  </a:cubicBezTo>
                  <a:cubicBezTo>
                    <a:pt x="492" y="627"/>
                    <a:pt x="488" y="638"/>
                    <a:pt x="487" y="649"/>
                  </a:cubicBezTo>
                  <a:close/>
                </a:path>
              </a:pathLst>
            </a:custGeom>
            <a:solidFill>
              <a:schemeClr val="tx1">
                <a:lumMod val="50000"/>
              </a:schemeClr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grpSp>
          <p:nvGrpSpPr>
            <p:cNvPr id="101" name="Gruppe 51"/>
            <p:cNvGrpSpPr>
              <a:grpSpLocks/>
            </p:cNvGrpSpPr>
            <p:nvPr/>
          </p:nvGrpSpPr>
          <p:grpSpPr bwMode="auto">
            <a:xfrm>
              <a:off x="3038092" y="1930398"/>
              <a:ext cx="203938" cy="665228"/>
              <a:chOff x="2761494" y="1597101"/>
              <a:chExt cx="749466" cy="2442448"/>
            </a:xfrm>
          </p:grpSpPr>
          <p:sp>
            <p:nvSpPr>
              <p:cNvPr id="103" name="Freeform 125"/>
              <p:cNvSpPr>
                <a:spLocks/>
              </p:cNvSpPr>
              <p:nvPr/>
            </p:nvSpPr>
            <p:spPr bwMode="auto">
              <a:xfrm>
                <a:off x="2759982" y="1597101"/>
                <a:ext cx="750748" cy="2443491"/>
              </a:xfrm>
              <a:custGeom>
                <a:avLst/>
                <a:gdLst>
                  <a:gd name="T0" fmla="*/ 2147483647 w 364"/>
                  <a:gd name="T1" fmla="*/ 2147483647 h 1186"/>
                  <a:gd name="T2" fmla="*/ 2147483647 w 364"/>
                  <a:gd name="T3" fmla="*/ 2147483647 h 1186"/>
                  <a:gd name="T4" fmla="*/ 2147483647 w 364"/>
                  <a:gd name="T5" fmla="*/ 2147483647 h 1186"/>
                  <a:gd name="T6" fmla="*/ 2147483647 w 364"/>
                  <a:gd name="T7" fmla="*/ 2147483647 h 1186"/>
                  <a:gd name="T8" fmla="*/ 2147483647 w 364"/>
                  <a:gd name="T9" fmla="*/ 2147483647 h 1186"/>
                  <a:gd name="T10" fmla="*/ 2147483647 w 364"/>
                  <a:gd name="T11" fmla="*/ 2147483647 h 1186"/>
                  <a:gd name="T12" fmla="*/ 2147483647 w 364"/>
                  <a:gd name="T13" fmla="*/ 2147483647 h 1186"/>
                  <a:gd name="T14" fmla="*/ 2147483647 w 364"/>
                  <a:gd name="T15" fmla="*/ 2147483647 h 1186"/>
                  <a:gd name="T16" fmla="*/ 2147483647 w 364"/>
                  <a:gd name="T17" fmla="*/ 0 h 1186"/>
                  <a:gd name="T18" fmla="*/ 2147483647 w 364"/>
                  <a:gd name="T19" fmla="*/ 2147483647 h 1186"/>
                  <a:gd name="T20" fmla="*/ 2147483647 w 364"/>
                  <a:gd name="T21" fmla="*/ 2147483647 h 1186"/>
                  <a:gd name="T22" fmla="*/ 2147483647 w 364"/>
                  <a:gd name="T23" fmla="*/ 2147483647 h 1186"/>
                  <a:gd name="T24" fmla="*/ 2147483647 w 364"/>
                  <a:gd name="T25" fmla="*/ 2147483647 h 1186"/>
                  <a:gd name="T26" fmla="*/ 2147483647 w 364"/>
                  <a:gd name="T27" fmla="*/ 2147483647 h 1186"/>
                  <a:gd name="T28" fmla="*/ 2147483647 w 364"/>
                  <a:gd name="T29" fmla="*/ 2147483647 h 1186"/>
                  <a:gd name="T30" fmla="*/ 2147483647 w 364"/>
                  <a:gd name="T31" fmla="*/ 2147483647 h 1186"/>
                  <a:gd name="T32" fmla="*/ 2147483647 w 364"/>
                  <a:gd name="T33" fmla="*/ 2147483647 h 1186"/>
                  <a:gd name="T34" fmla="*/ 2147483647 w 364"/>
                  <a:gd name="T35" fmla="*/ 2147483647 h 1186"/>
                  <a:gd name="T36" fmla="*/ 2147483647 w 364"/>
                  <a:gd name="T37" fmla="*/ 2147483647 h 1186"/>
                  <a:gd name="T38" fmla="*/ 2147483647 w 364"/>
                  <a:gd name="T39" fmla="*/ 2147483647 h 1186"/>
                  <a:gd name="T40" fmla="*/ 2147483647 w 364"/>
                  <a:gd name="T41" fmla="*/ 2147483647 h 1186"/>
                  <a:gd name="T42" fmla="*/ 0 w 364"/>
                  <a:gd name="T43" fmla="*/ 2147483647 h 1186"/>
                  <a:gd name="T44" fmla="*/ 2147483647 w 364"/>
                  <a:gd name="T45" fmla="*/ 2147483647 h 1186"/>
                  <a:gd name="T46" fmla="*/ 2147483647 w 364"/>
                  <a:gd name="T47" fmla="*/ 2147483647 h 1186"/>
                  <a:gd name="T48" fmla="*/ 2147483647 w 364"/>
                  <a:gd name="T49" fmla="*/ 2147483647 h 1186"/>
                  <a:gd name="T50" fmla="*/ 2147483647 w 364"/>
                  <a:gd name="T51" fmla="*/ 2147483647 h 1186"/>
                  <a:gd name="T52" fmla="*/ 2147483647 w 364"/>
                  <a:gd name="T53" fmla="*/ 2147483647 h 1186"/>
                  <a:gd name="T54" fmla="*/ 2147483647 w 364"/>
                  <a:gd name="T55" fmla="*/ 2147483647 h 1186"/>
                  <a:gd name="T56" fmla="*/ 2147483647 w 364"/>
                  <a:gd name="T57" fmla="*/ 2147483647 h 1186"/>
                  <a:gd name="T58" fmla="*/ 2147483647 w 364"/>
                  <a:gd name="T59" fmla="*/ 2147483647 h 1186"/>
                  <a:gd name="T60" fmla="*/ 2147483647 w 364"/>
                  <a:gd name="T61" fmla="*/ 2147483647 h 1186"/>
                  <a:gd name="T62" fmla="*/ 2147483647 w 364"/>
                  <a:gd name="T63" fmla="*/ 2147483647 h 1186"/>
                  <a:gd name="T64" fmla="*/ 2147483647 w 364"/>
                  <a:gd name="T65" fmla="*/ 2147483647 h 1186"/>
                  <a:gd name="T66" fmla="*/ 2147483647 w 364"/>
                  <a:gd name="T67" fmla="*/ 2147483647 h 1186"/>
                  <a:gd name="T68" fmla="*/ 2147483647 w 364"/>
                  <a:gd name="T69" fmla="*/ 2147483647 h 1186"/>
                  <a:gd name="T70" fmla="*/ 2147483647 w 364"/>
                  <a:gd name="T71" fmla="*/ 2147483647 h 1186"/>
                  <a:gd name="T72" fmla="*/ 2147483647 w 364"/>
                  <a:gd name="T73" fmla="*/ 2147483647 h 1186"/>
                  <a:gd name="T74" fmla="*/ 2147483647 w 364"/>
                  <a:gd name="T75" fmla="*/ 2147483647 h 1186"/>
                  <a:gd name="T76" fmla="*/ 2147483647 w 364"/>
                  <a:gd name="T77" fmla="*/ 2147483647 h 1186"/>
                  <a:gd name="T78" fmla="*/ 2147483647 w 364"/>
                  <a:gd name="T79" fmla="*/ 2147483647 h 1186"/>
                  <a:gd name="T80" fmla="*/ 2147483647 w 364"/>
                  <a:gd name="T81" fmla="*/ 2147483647 h 1186"/>
                  <a:gd name="T82" fmla="*/ 2147483647 w 364"/>
                  <a:gd name="T83" fmla="*/ 2147483647 h 1186"/>
                  <a:gd name="T84" fmla="*/ 2147483647 w 364"/>
                  <a:gd name="T85" fmla="*/ 2147483647 h 1186"/>
                  <a:gd name="T86" fmla="*/ 2147483647 w 364"/>
                  <a:gd name="T87" fmla="*/ 2147483647 h 1186"/>
                  <a:gd name="T88" fmla="*/ 2147483647 w 364"/>
                  <a:gd name="T89" fmla="*/ 2147483647 h 1186"/>
                  <a:gd name="T90" fmla="*/ 2147483647 w 364"/>
                  <a:gd name="T91" fmla="*/ 2147483647 h 1186"/>
                  <a:gd name="T92" fmla="*/ 2147483647 w 364"/>
                  <a:gd name="T93" fmla="*/ 2147483647 h 1186"/>
                  <a:gd name="T94" fmla="*/ 2147483647 w 364"/>
                  <a:gd name="T95" fmla="*/ 2147483647 h 1186"/>
                  <a:gd name="T96" fmla="*/ 2147483647 w 364"/>
                  <a:gd name="T97" fmla="*/ 2147483647 h 1186"/>
                  <a:gd name="T98" fmla="*/ 2147483647 w 364"/>
                  <a:gd name="T99" fmla="*/ 2147483647 h 1186"/>
                  <a:gd name="T100" fmla="*/ 2147483647 w 364"/>
                  <a:gd name="T101" fmla="*/ 2147483647 h 1186"/>
                  <a:gd name="T102" fmla="*/ 2147483647 w 364"/>
                  <a:gd name="T103" fmla="*/ 2147483647 h 1186"/>
                  <a:gd name="T104" fmla="*/ 2147483647 w 364"/>
                  <a:gd name="T105" fmla="*/ 2147483647 h 1186"/>
                  <a:gd name="T106" fmla="*/ 2147483647 w 364"/>
                  <a:gd name="T107" fmla="*/ 2147483647 h 1186"/>
                  <a:gd name="T108" fmla="*/ 2147483647 w 364"/>
                  <a:gd name="T109" fmla="*/ 2147483647 h 1186"/>
                  <a:gd name="T110" fmla="*/ 2147483647 w 364"/>
                  <a:gd name="T111" fmla="*/ 2147483647 h 1186"/>
                  <a:gd name="T112" fmla="*/ 2147483647 w 364"/>
                  <a:gd name="T113" fmla="*/ 2147483647 h 1186"/>
                  <a:gd name="T114" fmla="*/ 2147483647 w 364"/>
                  <a:gd name="T115" fmla="*/ 2147483647 h 1186"/>
                  <a:gd name="T116" fmla="*/ 2147483647 w 364"/>
                  <a:gd name="T117" fmla="*/ 2147483647 h 118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w 364"/>
                  <a:gd name="T178" fmla="*/ 0 h 1186"/>
                  <a:gd name="T179" fmla="*/ 364 w 364"/>
                  <a:gd name="T180" fmla="*/ 1186 h 1186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T177" t="T178" r="T179" b="T180"/>
                <a:pathLst>
                  <a:path w="364" h="1186">
                    <a:moveTo>
                      <a:pt x="350" y="338"/>
                    </a:moveTo>
                    <a:lnTo>
                      <a:pt x="350" y="338"/>
                    </a:lnTo>
                    <a:lnTo>
                      <a:pt x="342" y="314"/>
                    </a:lnTo>
                    <a:lnTo>
                      <a:pt x="336" y="286"/>
                    </a:lnTo>
                    <a:lnTo>
                      <a:pt x="326" y="232"/>
                    </a:lnTo>
                    <a:lnTo>
                      <a:pt x="322" y="224"/>
                    </a:lnTo>
                    <a:lnTo>
                      <a:pt x="318" y="216"/>
                    </a:lnTo>
                    <a:lnTo>
                      <a:pt x="312" y="212"/>
                    </a:lnTo>
                    <a:lnTo>
                      <a:pt x="306" y="210"/>
                    </a:lnTo>
                    <a:lnTo>
                      <a:pt x="278" y="200"/>
                    </a:lnTo>
                    <a:lnTo>
                      <a:pt x="258" y="192"/>
                    </a:lnTo>
                    <a:lnTo>
                      <a:pt x="246" y="186"/>
                    </a:lnTo>
                    <a:lnTo>
                      <a:pt x="240" y="180"/>
                    </a:lnTo>
                    <a:lnTo>
                      <a:pt x="234" y="174"/>
                    </a:lnTo>
                    <a:lnTo>
                      <a:pt x="230" y="168"/>
                    </a:lnTo>
                    <a:lnTo>
                      <a:pt x="224" y="162"/>
                    </a:lnTo>
                    <a:lnTo>
                      <a:pt x="220" y="158"/>
                    </a:lnTo>
                    <a:lnTo>
                      <a:pt x="216" y="156"/>
                    </a:lnTo>
                    <a:lnTo>
                      <a:pt x="216" y="146"/>
                    </a:lnTo>
                    <a:lnTo>
                      <a:pt x="218" y="140"/>
                    </a:lnTo>
                    <a:lnTo>
                      <a:pt x="222" y="136"/>
                    </a:lnTo>
                    <a:lnTo>
                      <a:pt x="228" y="126"/>
                    </a:lnTo>
                    <a:lnTo>
                      <a:pt x="236" y="110"/>
                    </a:lnTo>
                    <a:lnTo>
                      <a:pt x="238" y="102"/>
                    </a:lnTo>
                    <a:lnTo>
                      <a:pt x="238" y="96"/>
                    </a:lnTo>
                    <a:lnTo>
                      <a:pt x="238" y="90"/>
                    </a:lnTo>
                    <a:lnTo>
                      <a:pt x="234" y="88"/>
                    </a:lnTo>
                    <a:lnTo>
                      <a:pt x="236" y="76"/>
                    </a:lnTo>
                    <a:lnTo>
                      <a:pt x="236" y="68"/>
                    </a:lnTo>
                    <a:lnTo>
                      <a:pt x="236" y="56"/>
                    </a:lnTo>
                    <a:lnTo>
                      <a:pt x="232" y="42"/>
                    </a:lnTo>
                    <a:lnTo>
                      <a:pt x="230" y="32"/>
                    </a:lnTo>
                    <a:lnTo>
                      <a:pt x="226" y="24"/>
                    </a:lnTo>
                    <a:lnTo>
                      <a:pt x="222" y="16"/>
                    </a:lnTo>
                    <a:lnTo>
                      <a:pt x="214" y="10"/>
                    </a:lnTo>
                    <a:lnTo>
                      <a:pt x="204" y="4"/>
                    </a:lnTo>
                    <a:lnTo>
                      <a:pt x="192" y="0"/>
                    </a:lnTo>
                    <a:lnTo>
                      <a:pt x="174" y="0"/>
                    </a:lnTo>
                    <a:lnTo>
                      <a:pt x="158" y="2"/>
                    </a:lnTo>
                    <a:lnTo>
                      <a:pt x="146" y="6"/>
                    </a:lnTo>
                    <a:lnTo>
                      <a:pt x="136" y="14"/>
                    </a:lnTo>
                    <a:lnTo>
                      <a:pt x="128" y="20"/>
                    </a:lnTo>
                    <a:lnTo>
                      <a:pt x="124" y="28"/>
                    </a:lnTo>
                    <a:lnTo>
                      <a:pt x="120" y="36"/>
                    </a:lnTo>
                    <a:lnTo>
                      <a:pt x="118" y="44"/>
                    </a:lnTo>
                    <a:lnTo>
                      <a:pt x="116" y="60"/>
                    </a:lnTo>
                    <a:lnTo>
                      <a:pt x="118" y="72"/>
                    </a:lnTo>
                    <a:lnTo>
                      <a:pt x="120" y="82"/>
                    </a:lnTo>
                    <a:lnTo>
                      <a:pt x="118" y="84"/>
                    </a:lnTo>
                    <a:lnTo>
                      <a:pt x="116" y="92"/>
                    </a:lnTo>
                    <a:lnTo>
                      <a:pt x="116" y="98"/>
                    </a:lnTo>
                    <a:lnTo>
                      <a:pt x="118" y="106"/>
                    </a:lnTo>
                    <a:lnTo>
                      <a:pt x="122" y="116"/>
                    </a:lnTo>
                    <a:lnTo>
                      <a:pt x="130" y="126"/>
                    </a:lnTo>
                    <a:lnTo>
                      <a:pt x="132" y="128"/>
                    </a:lnTo>
                    <a:lnTo>
                      <a:pt x="134" y="130"/>
                    </a:lnTo>
                    <a:lnTo>
                      <a:pt x="136" y="136"/>
                    </a:lnTo>
                    <a:lnTo>
                      <a:pt x="138" y="152"/>
                    </a:lnTo>
                    <a:lnTo>
                      <a:pt x="140" y="158"/>
                    </a:lnTo>
                    <a:lnTo>
                      <a:pt x="138" y="164"/>
                    </a:lnTo>
                    <a:lnTo>
                      <a:pt x="134" y="168"/>
                    </a:lnTo>
                    <a:lnTo>
                      <a:pt x="126" y="174"/>
                    </a:lnTo>
                    <a:lnTo>
                      <a:pt x="112" y="186"/>
                    </a:lnTo>
                    <a:lnTo>
                      <a:pt x="102" y="192"/>
                    </a:lnTo>
                    <a:lnTo>
                      <a:pt x="90" y="198"/>
                    </a:lnTo>
                    <a:lnTo>
                      <a:pt x="70" y="204"/>
                    </a:lnTo>
                    <a:lnTo>
                      <a:pt x="62" y="208"/>
                    </a:lnTo>
                    <a:lnTo>
                      <a:pt x="52" y="212"/>
                    </a:lnTo>
                    <a:lnTo>
                      <a:pt x="46" y="216"/>
                    </a:lnTo>
                    <a:lnTo>
                      <a:pt x="42" y="222"/>
                    </a:lnTo>
                    <a:lnTo>
                      <a:pt x="38" y="228"/>
                    </a:lnTo>
                    <a:lnTo>
                      <a:pt x="36" y="236"/>
                    </a:lnTo>
                    <a:lnTo>
                      <a:pt x="32" y="274"/>
                    </a:lnTo>
                    <a:lnTo>
                      <a:pt x="30" y="302"/>
                    </a:lnTo>
                    <a:lnTo>
                      <a:pt x="24" y="392"/>
                    </a:lnTo>
                    <a:lnTo>
                      <a:pt x="18" y="448"/>
                    </a:lnTo>
                    <a:lnTo>
                      <a:pt x="14" y="482"/>
                    </a:lnTo>
                    <a:lnTo>
                      <a:pt x="10" y="514"/>
                    </a:lnTo>
                    <a:lnTo>
                      <a:pt x="8" y="540"/>
                    </a:lnTo>
                    <a:lnTo>
                      <a:pt x="6" y="566"/>
                    </a:lnTo>
                    <a:lnTo>
                      <a:pt x="4" y="588"/>
                    </a:lnTo>
                    <a:lnTo>
                      <a:pt x="6" y="594"/>
                    </a:lnTo>
                    <a:lnTo>
                      <a:pt x="8" y="598"/>
                    </a:lnTo>
                    <a:lnTo>
                      <a:pt x="12" y="598"/>
                    </a:lnTo>
                    <a:lnTo>
                      <a:pt x="4" y="616"/>
                    </a:lnTo>
                    <a:lnTo>
                      <a:pt x="2" y="626"/>
                    </a:lnTo>
                    <a:lnTo>
                      <a:pt x="0" y="638"/>
                    </a:lnTo>
                    <a:lnTo>
                      <a:pt x="2" y="650"/>
                    </a:lnTo>
                    <a:lnTo>
                      <a:pt x="6" y="660"/>
                    </a:lnTo>
                    <a:lnTo>
                      <a:pt x="14" y="670"/>
                    </a:lnTo>
                    <a:lnTo>
                      <a:pt x="26" y="676"/>
                    </a:lnTo>
                    <a:lnTo>
                      <a:pt x="36" y="680"/>
                    </a:lnTo>
                    <a:lnTo>
                      <a:pt x="40" y="680"/>
                    </a:lnTo>
                    <a:lnTo>
                      <a:pt x="42" y="678"/>
                    </a:lnTo>
                    <a:lnTo>
                      <a:pt x="42" y="674"/>
                    </a:lnTo>
                    <a:lnTo>
                      <a:pt x="38" y="670"/>
                    </a:lnTo>
                    <a:lnTo>
                      <a:pt x="36" y="664"/>
                    </a:lnTo>
                    <a:lnTo>
                      <a:pt x="34" y="660"/>
                    </a:lnTo>
                    <a:lnTo>
                      <a:pt x="34" y="654"/>
                    </a:lnTo>
                    <a:lnTo>
                      <a:pt x="36" y="650"/>
                    </a:lnTo>
                    <a:lnTo>
                      <a:pt x="34" y="644"/>
                    </a:lnTo>
                    <a:lnTo>
                      <a:pt x="34" y="636"/>
                    </a:lnTo>
                    <a:lnTo>
                      <a:pt x="38" y="628"/>
                    </a:lnTo>
                    <a:lnTo>
                      <a:pt x="40" y="622"/>
                    </a:lnTo>
                    <a:lnTo>
                      <a:pt x="38" y="616"/>
                    </a:lnTo>
                    <a:lnTo>
                      <a:pt x="38" y="612"/>
                    </a:lnTo>
                    <a:lnTo>
                      <a:pt x="38" y="608"/>
                    </a:lnTo>
                    <a:lnTo>
                      <a:pt x="40" y="606"/>
                    </a:lnTo>
                    <a:lnTo>
                      <a:pt x="42" y="604"/>
                    </a:lnTo>
                    <a:lnTo>
                      <a:pt x="44" y="604"/>
                    </a:lnTo>
                    <a:lnTo>
                      <a:pt x="48" y="602"/>
                    </a:lnTo>
                    <a:lnTo>
                      <a:pt x="50" y="596"/>
                    </a:lnTo>
                    <a:lnTo>
                      <a:pt x="50" y="594"/>
                    </a:lnTo>
                    <a:lnTo>
                      <a:pt x="58" y="534"/>
                    </a:lnTo>
                    <a:lnTo>
                      <a:pt x="56" y="568"/>
                    </a:lnTo>
                    <a:lnTo>
                      <a:pt x="56" y="578"/>
                    </a:lnTo>
                    <a:lnTo>
                      <a:pt x="56" y="586"/>
                    </a:lnTo>
                    <a:lnTo>
                      <a:pt x="60" y="598"/>
                    </a:lnTo>
                    <a:lnTo>
                      <a:pt x="62" y="612"/>
                    </a:lnTo>
                    <a:lnTo>
                      <a:pt x="62" y="644"/>
                    </a:lnTo>
                    <a:lnTo>
                      <a:pt x="64" y="686"/>
                    </a:lnTo>
                    <a:lnTo>
                      <a:pt x="70" y="758"/>
                    </a:lnTo>
                    <a:lnTo>
                      <a:pt x="76" y="832"/>
                    </a:lnTo>
                    <a:lnTo>
                      <a:pt x="78" y="876"/>
                    </a:lnTo>
                    <a:lnTo>
                      <a:pt x="80" y="948"/>
                    </a:lnTo>
                    <a:lnTo>
                      <a:pt x="80" y="990"/>
                    </a:lnTo>
                    <a:lnTo>
                      <a:pt x="76" y="1022"/>
                    </a:lnTo>
                    <a:lnTo>
                      <a:pt x="74" y="1044"/>
                    </a:lnTo>
                    <a:lnTo>
                      <a:pt x="72" y="1068"/>
                    </a:lnTo>
                    <a:lnTo>
                      <a:pt x="74" y="1088"/>
                    </a:lnTo>
                    <a:lnTo>
                      <a:pt x="76" y="1104"/>
                    </a:lnTo>
                    <a:lnTo>
                      <a:pt x="84" y="1124"/>
                    </a:lnTo>
                    <a:lnTo>
                      <a:pt x="86" y="1130"/>
                    </a:lnTo>
                    <a:lnTo>
                      <a:pt x="84" y="1134"/>
                    </a:lnTo>
                    <a:lnTo>
                      <a:pt x="66" y="1150"/>
                    </a:lnTo>
                    <a:lnTo>
                      <a:pt x="56" y="1162"/>
                    </a:lnTo>
                    <a:lnTo>
                      <a:pt x="54" y="1166"/>
                    </a:lnTo>
                    <a:lnTo>
                      <a:pt x="54" y="1170"/>
                    </a:lnTo>
                    <a:lnTo>
                      <a:pt x="56" y="1174"/>
                    </a:lnTo>
                    <a:lnTo>
                      <a:pt x="60" y="1176"/>
                    </a:lnTo>
                    <a:lnTo>
                      <a:pt x="72" y="1180"/>
                    </a:lnTo>
                    <a:lnTo>
                      <a:pt x="86" y="1180"/>
                    </a:lnTo>
                    <a:lnTo>
                      <a:pt x="102" y="1174"/>
                    </a:lnTo>
                    <a:lnTo>
                      <a:pt x="118" y="1168"/>
                    </a:lnTo>
                    <a:lnTo>
                      <a:pt x="134" y="1164"/>
                    </a:lnTo>
                    <a:lnTo>
                      <a:pt x="146" y="1160"/>
                    </a:lnTo>
                    <a:lnTo>
                      <a:pt x="150" y="1158"/>
                    </a:lnTo>
                    <a:lnTo>
                      <a:pt x="152" y="1156"/>
                    </a:lnTo>
                    <a:lnTo>
                      <a:pt x="152" y="1152"/>
                    </a:lnTo>
                    <a:lnTo>
                      <a:pt x="150" y="1146"/>
                    </a:lnTo>
                    <a:lnTo>
                      <a:pt x="148" y="1138"/>
                    </a:lnTo>
                    <a:lnTo>
                      <a:pt x="150" y="1130"/>
                    </a:lnTo>
                    <a:lnTo>
                      <a:pt x="154" y="1116"/>
                    </a:lnTo>
                    <a:lnTo>
                      <a:pt x="156" y="1106"/>
                    </a:lnTo>
                    <a:lnTo>
                      <a:pt x="156" y="1090"/>
                    </a:lnTo>
                    <a:lnTo>
                      <a:pt x="156" y="1052"/>
                    </a:lnTo>
                    <a:lnTo>
                      <a:pt x="156" y="984"/>
                    </a:lnTo>
                    <a:lnTo>
                      <a:pt x="158" y="920"/>
                    </a:lnTo>
                    <a:lnTo>
                      <a:pt x="162" y="886"/>
                    </a:lnTo>
                    <a:lnTo>
                      <a:pt x="164" y="868"/>
                    </a:lnTo>
                    <a:lnTo>
                      <a:pt x="168" y="840"/>
                    </a:lnTo>
                    <a:lnTo>
                      <a:pt x="174" y="772"/>
                    </a:lnTo>
                    <a:lnTo>
                      <a:pt x="178" y="706"/>
                    </a:lnTo>
                    <a:lnTo>
                      <a:pt x="178" y="666"/>
                    </a:lnTo>
                    <a:lnTo>
                      <a:pt x="178" y="624"/>
                    </a:lnTo>
                    <a:lnTo>
                      <a:pt x="182" y="650"/>
                    </a:lnTo>
                    <a:lnTo>
                      <a:pt x="190" y="714"/>
                    </a:lnTo>
                    <a:lnTo>
                      <a:pt x="194" y="756"/>
                    </a:lnTo>
                    <a:lnTo>
                      <a:pt x="196" y="800"/>
                    </a:lnTo>
                    <a:lnTo>
                      <a:pt x="200" y="840"/>
                    </a:lnTo>
                    <a:lnTo>
                      <a:pt x="204" y="878"/>
                    </a:lnTo>
                    <a:lnTo>
                      <a:pt x="206" y="914"/>
                    </a:lnTo>
                    <a:lnTo>
                      <a:pt x="208" y="954"/>
                    </a:lnTo>
                    <a:lnTo>
                      <a:pt x="206" y="1012"/>
                    </a:lnTo>
                    <a:lnTo>
                      <a:pt x="206" y="1040"/>
                    </a:lnTo>
                    <a:lnTo>
                      <a:pt x="206" y="1078"/>
                    </a:lnTo>
                    <a:lnTo>
                      <a:pt x="208" y="1096"/>
                    </a:lnTo>
                    <a:lnTo>
                      <a:pt x="208" y="1112"/>
                    </a:lnTo>
                    <a:lnTo>
                      <a:pt x="212" y="1124"/>
                    </a:lnTo>
                    <a:lnTo>
                      <a:pt x="214" y="1126"/>
                    </a:lnTo>
                    <a:lnTo>
                      <a:pt x="216" y="1128"/>
                    </a:lnTo>
                    <a:lnTo>
                      <a:pt x="218" y="1142"/>
                    </a:lnTo>
                    <a:lnTo>
                      <a:pt x="220" y="1154"/>
                    </a:lnTo>
                    <a:lnTo>
                      <a:pt x="222" y="1162"/>
                    </a:lnTo>
                    <a:lnTo>
                      <a:pt x="226" y="1172"/>
                    </a:lnTo>
                    <a:lnTo>
                      <a:pt x="234" y="1178"/>
                    </a:lnTo>
                    <a:lnTo>
                      <a:pt x="246" y="1184"/>
                    </a:lnTo>
                    <a:lnTo>
                      <a:pt x="252" y="1186"/>
                    </a:lnTo>
                    <a:lnTo>
                      <a:pt x="262" y="1186"/>
                    </a:lnTo>
                    <a:lnTo>
                      <a:pt x="282" y="1182"/>
                    </a:lnTo>
                    <a:lnTo>
                      <a:pt x="290" y="1178"/>
                    </a:lnTo>
                    <a:lnTo>
                      <a:pt x="292" y="1176"/>
                    </a:lnTo>
                    <a:lnTo>
                      <a:pt x="294" y="1174"/>
                    </a:lnTo>
                    <a:lnTo>
                      <a:pt x="292" y="1168"/>
                    </a:lnTo>
                    <a:lnTo>
                      <a:pt x="288" y="1162"/>
                    </a:lnTo>
                    <a:lnTo>
                      <a:pt x="276" y="1148"/>
                    </a:lnTo>
                    <a:lnTo>
                      <a:pt x="274" y="1142"/>
                    </a:lnTo>
                    <a:lnTo>
                      <a:pt x="274" y="1140"/>
                    </a:lnTo>
                    <a:lnTo>
                      <a:pt x="274" y="1138"/>
                    </a:lnTo>
                    <a:lnTo>
                      <a:pt x="280" y="1132"/>
                    </a:lnTo>
                    <a:lnTo>
                      <a:pt x="284" y="1130"/>
                    </a:lnTo>
                    <a:lnTo>
                      <a:pt x="288" y="1128"/>
                    </a:lnTo>
                    <a:lnTo>
                      <a:pt x="288" y="1122"/>
                    </a:lnTo>
                    <a:lnTo>
                      <a:pt x="286" y="936"/>
                    </a:lnTo>
                    <a:lnTo>
                      <a:pt x="288" y="864"/>
                    </a:lnTo>
                    <a:lnTo>
                      <a:pt x="288" y="834"/>
                    </a:lnTo>
                    <a:lnTo>
                      <a:pt x="286" y="810"/>
                    </a:lnTo>
                    <a:lnTo>
                      <a:pt x="286" y="780"/>
                    </a:lnTo>
                    <a:lnTo>
                      <a:pt x="288" y="738"/>
                    </a:lnTo>
                    <a:lnTo>
                      <a:pt x="290" y="660"/>
                    </a:lnTo>
                    <a:lnTo>
                      <a:pt x="290" y="602"/>
                    </a:lnTo>
                    <a:lnTo>
                      <a:pt x="304" y="598"/>
                    </a:lnTo>
                    <a:lnTo>
                      <a:pt x="314" y="590"/>
                    </a:lnTo>
                    <a:lnTo>
                      <a:pt x="322" y="582"/>
                    </a:lnTo>
                    <a:lnTo>
                      <a:pt x="326" y="572"/>
                    </a:lnTo>
                    <a:lnTo>
                      <a:pt x="330" y="564"/>
                    </a:lnTo>
                    <a:lnTo>
                      <a:pt x="330" y="556"/>
                    </a:lnTo>
                    <a:lnTo>
                      <a:pt x="330" y="544"/>
                    </a:lnTo>
                    <a:lnTo>
                      <a:pt x="332" y="536"/>
                    </a:lnTo>
                    <a:lnTo>
                      <a:pt x="334" y="530"/>
                    </a:lnTo>
                    <a:lnTo>
                      <a:pt x="338" y="526"/>
                    </a:lnTo>
                    <a:lnTo>
                      <a:pt x="340" y="526"/>
                    </a:lnTo>
                    <a:lnTo>
                      <a:pt x="344" y="526"/>
                    </a:lnTo>
                    <a:lnTo>
                      <a:pt x="346" y="526"/>
                    </a:lnTo>
                    <a:lnTo>
                      <a:pt x="348" y="524"/>
                    </a:lnTo>
                    <a:lnTo>
                      <a:pt x="352" y="514"/>
                    </a:lnTo>
                    <a:lnTo>
                      <a:pt x="354" y="502"/>
                    </a:lnTo>
                    <a:lnTo>
                      <a:pt x="356" y="492"/>
                    </a:lnTo>
                    <a:lnTo>
                      <a:pt x="358" y="454"/>
                    </a:lnTo>
                    <a:lnTo>
                      <a:pt x="362" y="416"/>
                    </a:lnTo>
                    <a:lnTo>
                      <a:pt x="364" y="396"/>
                    </a:lnTo>
                    <a:lnTo>
                      <a:pt x="362" y="382"/>
                    </a:lnTo>
                    <a:lnTo>
                      <a:pt x="356" y="362"/>
                    </a:lnTo>
                    <a:lnTo>
                      <a:pt x="350" y="338"/>
                    </a:lnTo>
                    <a:close/>
                  </a:path>
                </a:pathLst>
              </a:custGeom>
              <a:solidFill>
                <a:schemeClr val="tx1">
                  <a:lumMod val="50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>
                  <a:latin typeface="+mn-lt"/>
                  <a:cs typeface="+mn-cs"/>
                </a:endParaRPr>
              </a:p>
            </p:txBody>
          </p:sp>
          <p:sp>
            <p:nvSpPr>
              <p:cNvPr id="104" name="Freeform 127"/>
              <p:cNvSpPr>
                <a:spLocks/>
              </p:cNvSpPr>
              <p:nvPr/>
            </p:nvSpPr>
            <p:spPr bwMode="auto">
              <a:xfrm>
                <a:off x="3016156" y="1924561"/>
                <a:ext cx="209678" cy="353852"/>
              </a:xfrm>
              <a:custGeom>
                <a:avLst/>
                <a:gdLst>
                  <a:gd name="T0" fmla="*/ 0 w 102"/>
                  <a:gd name="T1" fmla="*/ 2147483647 h 172"/>
                  <a:gd name="T2" fmla="*/ 0 w 102"/>
                  <a:gd name="T3" fmla="*/ 2147483647 h 172"/>
                  <a:gd name="T4" fmla="*/ 2147483647 w 102"/>
                  <a:gd name="T5" fmla="*/ 2147483647 h 172"/>
                  <a:gd name="T6" fmla="*/ 2147483647 w 102"/>
                  <a:gd name="T7" fmla="*/ 2147483647 h 172"/>
                  <a:gd name="T8" fmla="*/ 2147483647 w 102"/>
                  <a:gd name="T9" fmla="*/ 2147483647 h 172"/>
                  <a:gd name="T10" fmla="*/ 2147483647 w 102"/>
                  <a:gd name="T11" fmla="*/ 2147483647 h 172"/>
                  <a:gd name="T12" fmla="*/ 2147483647 w 102"/>
                  <a:gd name="T13" fmla="*/ 2147483647 h 172"/>
                  <a:gd name="T14" fmla="*/ 2147483647 w 102"/>
                  <a:gd name="T15" fmla="*/ 2147483647 h 172"/>
                  <a:gd name="T16" fmla="*/ 2147483647 w 102"/>
                  <a:gd name="T17" fmla="*/ 2147483647 h 172"/>
                  <a:gd name="T18" fmla="*/ 2147483647 w 102"/>
                  <a:gd name="T19" fmla="*/ 2147483647 h 172"/>
                  <a:gd name="T20" fmla="*/ 2147483647 w 102"/>
                  <a:gd name="T21" fmla="*/ 2147483647 h 172"/>
                  <a:gd name="T22" fmla="*/ 2147483647 w 102"/>
                  <a:gd name="T23" fmla="*/ 2147483647 h 172"/>
                  <a:gd name="T24" fmla="*/ 2147483647 w 102"/>
                  <a:gd name="T25" fmla="*/ 2147483647 h 172"/>
                  <a:gd name="T26" fmla="*/ 2147483647 w 102"/>
                  <a:gd name="T27" fmla="*/ 2147483647 h 172"/>
                  <a:gd name="T28" fmla="*/ 2147483647 w 102"/>
                  <a:gd name="T29" fmla="*/ 2147483647 h 172"/>
                  <a:gd name="T30" fmla="*/ 2147483647 w 102"/>
                  <a:gd name="T31" fmla="*/ 2147483647 h 172"/>
                  <a:gd name="T32" fmla="*/ 2147483647 w 102"/>
                  <a:gd name="T33" fmla="*/ 2147483647 h 172"/>
                  <a:gd name="T34" fmla="*/ 2147483647 w 102"/>
                  <a:gd name="T35" fmla="*/ 2147483647 h 172"/>
                  <a:gd name="T36" fmla="*/ 2147483647 w 102"/>
                  <a:gd name="T37" fmla="*/ 2147483647 h 172"/>
                  <a:gd name="T38" fmla="*/ 2147483647 w 102"/>
                  <a:gd name="T39" fmla="*/ 2147483647 h 172"/>
                  <a:gd name="T40" fmla="*/ 2147483647 w 102"/>
                  <a:gd name="T41" fmla="*/ 2147483647 h 172"/>
                  <a:gd name="T42" fmla="*/ 2147483647 w 102"/>
                  <a:gd name="T43" fmla="*/ 2147483647 h 172"/>
                  <a:gd name="T44" fmla="*/ 2147483647 w 102"/>
                  <a:gd name="T45" fmla="*/ 2147483647 h 172"/>
                  <a:gd name="T46" fmla="*/ 2147483647 w 102"/>
                  <a:gd name="T47" fmla="*/ 2147483647 h 172"/>
                  <a:gd name="T48" fmla="*/ 2147483647 w 102"/>
                  <a:gd name="T49" fmla="*/ 2147483647 h 172"/>
                  <a:gd name="T50" fmla="*/ 2147483647 w 102"/>
                  <a:gd name="T51" fmla="*/ 0 h 172"/>
                  <a:gd name="T52" fmla="*/ 2147483647 w 102"/>
                  <a:gd name="T53" fmla="*/ 0 h 172"/>
                  <a:gd name="T54" fmla="*/ 2147483647 w 102"/>
                  <a:gd name="T55" fmla="*/ 0 h 172"/>
                  <a:gd name="T56" fmla="*/ 2147483647 w 102"/>
                  <a:gd name="T57" fmla="*/ 2147483647 h 172"/>
                  <a:gd name="T58" fmla="*/ 2147483647 w 102"/>
                  <a:gd name="T59" fmla="*/ 2147483647 h 172"/>
                  <a:gd name="T60" fmla="*/ 2147483647 w 102"/>
                  <a:gd name="T61" fmla="*/ 2147483647 h 172"/>
                  <a:gd name="T62" fmla="*/ 2147483647 w 102"/>
                  <a:gd name="T63" fmla="*/ 2147483647 h 172"/>
                  <a:gd name="T64" fmla="*/ 2147483647 w 102"/>
                  <a:gd name="T65" fmla="*/ 2147483647 h 172"/>
                  <a:gd name="T66" fmla="*/ 2147483647 w 102"/>
                  <a:gd name="T67" fmla="*/ 2147483647 h 172"/>
                  <a:gd name="T68" fmla="*/ 2147483647 w 102"/>
                  <a:gd name="T69" fmla="*/ 2147483647 h 172"/>
                  <a:gd name="T70" fmla="*/ 2147483647 w 102"/>
                  <a:gd name="T71" fmla="*/ 2147483647 h 172"/>
                  <a:gd name="T72" fmla="*/ 2147483647 w 102"/>
                  <a:gd name="T73" fmla="*/ 2147483647 h 172"/>
                  <a:gd name="T74" fmla="*/ 2147483647 w 102"/>
                  <a:gd name="T75" fmla="*/ 2147483647 h 172"/>
                  <a:gd name="T76" fmla="*/ 2147483647 w 102"/>
                  <a:gd name="T77" fmla="*/ 2147483647 h 172"/>
                  <a:gd name="T78" fmla="*/ 2147483647 w 102"/>
                  <a:gd name="T79" fmla="*/ 2147483647 h 172"/>
                  <a:gd name="T80" fmla="*/ 2147483647 w 102"/>
                  <a:gd name="T81" fmla="*/ 2147483647 h 172"/>
                  <a:gd name="T82" fmla="*/ 2147483647 w 102"/>
                  <a:gd name="T83" fmla="*/ 2147483647 h 172"/>
                  <a:gd name="T84" fmla="*/ 0 w 102"/>
                  <a:gd name="T85" fmla="*/ 2147483647 h 172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102"/>
                  <a:gd name="T130" fmla="*/ 0 h 172"/>
                  <a:gd name="T131" fmla="*/ 102 w 102"/>
                  <a:gd name="T132" fmla="*/ 172 h 172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102" h="172">
                    <a:moveTo>
                      <a:pt x="0" y="14"/>
                    </a:moveTo>
                    <a:lnTo>
                      <a:pt x="0" y="14"/>
                    </a:lnTo>
                    <a:lnTo>
                      <a:pt x="2" y="22"/>
                    </a:lnTo>
                    <a:lnTo>
                      <a:pt x="4" y="32"/>
                    </a:lnTo>
                    <a:lnTo>
                      <a:pt x="8" y="42"/>
                    </a:lnTo>
                    <a:lnTo>
                      <a:pt x="12" y="66"/>
                    </a:lnTo>
                    <a:lnTo>
                      <a:pt x="18" y="106"/>
                    </a:lnTo>
                    <a:lnTo>
                      <a:pt x="24" y="126"/>
                    </a:lnTo>
                    <a:lnTo>
                      <a:pt x="30" y="146"/>
                    </a:lnTo>
                    <a:lnTo>
                      <a:pt x="38" y="162"/>
                    </a:lnTo>
                    <a:lnTo>
                      <a:pt x="42" y="168"/>
                    </a:lnTo>
                    <a:lnTo>
                      <a:pt x="46" y="172"/>
                    </a:lnTo>
                    <a:lnTo>
                      <a:pt x="64" y="144"/>
                    </a:lnTo>
                    <a:lnTo>
                      <a:pt x="78" y="118"/>
                    </a:lnTo>
                    <a:lnTo>
                      <a:pt x="90" y="94"/>
                    </a:lnTo>
                    <a:lnTo>
                      <a:pt x="98" y="72"/>
                    </a:lnTo>
                    <a:lnTo>
                      <a:pt x="102" y="52"/>
                    </a:lnTo>
                    <a:lnTo>
                      <a:pt x="102" y="34"/>
                    </a:lnTo>
                    <a:lnTo>
                      <a:pt x="100" y="16"/>
                    </a:lnTo>
                    <a:lnTo>
                      <a:pt x="100" y="10"/>
                    </a:lnTo>
                    <a:lnTo>
                      <a:pt x="96" y="6"/>
                    </a:lnTo>
                    <a:lnTo>
                      <a:pt x="90" y="0"/>
                    </a:lnTo>
                    <a:lnTo>
                      <a:pt x="88" y="0"/>
                    </a:lnTo>
                    <a:lnTo>
                      <a:pt x="88" y="2"/>
                    </a:lnTo>
                    <a:lnTo>
                      <a:pt x="86" y="6"/>
                    </a:lnTo>
                    <a:lnTo>
                      <a:pt x="86" y="14"/>
                    </a:lnTo>
                    <a:lnTo>
                      <a:pt x="82" y="20"/>
                    </a:lnTo>
                    <a:lnTo>
                      <a:pt x="74" y="30"/>
                    </a:lnTo>
                    <a:lnTo>
                      <a:pt x="66" y="34"/>
                    </a:lnTo>
                    <a:lnTo>
                      <a:pt x="56" y="38"/>
                    </a:lnTo>
                    <a:lnTo>
                      <a:pt x="44" y="38"/>
                    </a:lnTo>
                    <a:lnTo>
                      <a:pt x="32" y="34"/>
                    </a:lnTo>
                    <a:lnTo>
                      <a:pt x="20" y="26"/>
                    </a:lnTo>
                    <a:lnTo>
                      <a:pt x="12" y="16"/>
                    </a:lnTo>
                    <a:lnTo>
                      <a:pt x="6" y="6"/>
                    </a:lnTo>
                    <a:lnTo>
                      <a:pt x="0" y="1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alibri" pitchFamily="-112" charset="0"/>
                </a:endParaRPr>
              </a:p>
            </p:txBody>
          </p:sp>
          <p:sp>
            <p:nvSpPr>
              <p:cNvPr id="105" name="Freeform 128"/>
              <p:cNvSpPr>
                <a:spLocks/>
              </p:cNvSpPr>
              <p:nvPr/>
            </p:nvSpPr>
            <p:spPr bwMode="auto">
              <a:xfrm>
                <a:off x="3089012" y="2005122"/>
                <a:ext cx="64879" cy="282834"/>
              </a:xfrm>
              <a:custGeom>
                <a:avLst/>
                <a:gdLst>
                  <a:gd name="T0" fmla="*/ 2147483647 w 30"/>
                  <a:gd name="T1" fmla="*/ 2147483647 h 136"/>
                  <a:gd name="T2" fmla="*/ 2147483647 w 30"/>
                  <a:gd name="T3" fmla="*/ 2147483647 h 136"/>
                  <a:gd name="T4" fmla="*/ 2147483647 w 30"/>
                  <a:gd name="T5" fmla="*/ 2147483647 h 136"/>
                  <a:gd name="T6" fmla="*/ 0 w 30"/>
                  <a:gd name="T7" fmla="*/ 2147483647 h 136"/>
                  <a:gd name="T8" fmla="*/ 2147483647 w 30"/>
                  <a:gd name="T9" fmla="*/ 2147483647 h 136"/>
                  <a:gd name="T10" fmla="*/ 2147483647 w 30"/>
                  <a:gd name="T11" fmla="*/ 2147483647 h 136"/>
                  <a:gd name="T12" fmla="*/ 2147483647 w 30"/>
                  <a:gd name="T13" fmla="*/ 2147483647 h 136"/>
                  <a:gd name="T14" fmla="*/ 2147483647 w 30"/>
                  <a:gd name="T15" fmla="*/ 2147483647 h 136"/>
                  <a:gd name="T16" fmla="*/ 2147483647 w 30"/>
                  <a:gd name="T17" fmla="*/ 2147483647 h 136"/>
                  <a:gd name="T18" fmla="*/ 2147483647 w 30"/>
                  <a:gd name="T19" fmla="*/ 2147483647 h 136"/>
                  <a:gd name="T20" fmla="*/ 2147483647 w 30"/>
                  <a:gd name="T21" fmla="*/ 2147483647 h 136"/>
                  <a:gd name="T22" fmla="*/ 2147483647 w 30"/>
                  <a:gd name="T23" fmla="*/ 2147483647 h 136"/>
                  <a:gd name="T24" fmla="*/ 0 w 30"/>
                  <a:gd name="T25" fmla="*/ 2147483647 h 136"/>
                  <a:gd name="T26" fmla="*/ 0 w 30"/>
                  <a:gd name="T27" fmla="*/ 2147483647 h 136"/>
                  <a:gd name="T28" fmla="*/ 0 w 30"/>
                  <a:gd name="T29" fmla="*/ 2147483647 h 136"/>
                  <a:gd name="T30" fmla="*/ 2147483647 w 30"/>
                  <a:gd name="T31" fmla="*/ 2147483647 h 136"/>
                  <a:gd name="T32" fmla="*/ 2147483647 w 30"/>
                  <a:gd name="T33" fmla="*/ 0 h 136"/>
                  <a:gd name="T34" fmla="*/ 2147483647 w 30"/>
                  <a:gd name="T35" fmla="*/ 0 h 136"/>
                  <a:gd name="T36" fmla="*/ 2147483647 w 30"/>
                  <a:gd name="T37" fmla="*/ 2147483647 h 136"/>
                  <a:gd name="T38" fmla="*/ 2147483647 w 30"/>
                  <a:gd name="T39" fmla="*/ 2147483647 h 136"/>
                  <a:gd name="T40" fmla="*/ 2147483647 w 30"/>
                  <a:gd name="T41" fmla="*/ 2147483647 h 136"/>
                  <a:gd name="T42" fmla="*/ 2147483647 w 30"/>
                  <a:gd name="T43" fmla="*/ 2147483647 h 136"/>
                  <a:gd name="T44" fmla="*/ 2147483647 w 30"/>
                  <a:gd name="T45" fmla="*/ 2147483647 h 136"/>
                  <a:gd name="T46" fmla="*/ 2147483647 w 30"/>
                  <a:gd name="T47" fmla="*/ 2147483647 h 136"/>
                  <a:gd name="T48" fmla="*/ 2147483647 w 30"/>
                  <a:gd name="T49" fmla="*/ 2147483647 h 136"/>
                  <a:gd name="T50" fmla="*/ 2147483647 w 30"/>
                  <a:gd name="T51" fmla="*/ 2147483647 h 136"/>
                  <a:gd name="T52" fmla="*/ 2147483647 w 30"/>
                  <a:gd name="T53" fmla="*/ 2147483647 h 136"/>
                  <a:gd name="T54" fmla="*/ 2147483647 w 30"/>
                  <a:gd name="T55" fmla="*/ 2147483647 h 136"/>
                  <a:gd name="T56" fmla="*/ 2147483647 w 30"/>
                  <a:gd name="T57" fmla="*/ 2147483647 h 136"/>
                  <a:gd name="T58" fmla="*/ 2147483647 w 30"/>
                  <a:gd name="T59" fmla="*/ 2147483647 h 136"/>
                  <a:gd name="T60" fmla="*/ 2147483647 w 30"/>
                  <a:gd name="T61" fmla="*/ 2147483647 h 136"/>
                  <a:gd name="T62" fmla="*/ 2147483647 w 30"/>
                  <a:gd name="T63" fmla="*/ 2147483647 h 136"/>
                  <a:gd name="T64" fmla="*/ 2147483647 w 30"/>
                  <a:gd name="T65" fmla="*/ 2147483647 h 136"/>
                  <a:gd name="T66" fmla="*/ 2147483647 w 30"/>
                  <a:gd name="T67" fmla="*/ 2147483647 h 136"/>
                  <a:gd name="T68" fmla="*/ 2147483647 w 30"/>
                  <a:gd name="T69" fmla="*/ 2147483647 h 136"/>
                  <a:gd name="T70" fmla="*/ 2147483647 w 30"/>
                  <a:gd name="T71" fmla="*/ 2147483647 h 136"/>
                  <a:gd name="T72" fmla="*/ 2147483647 w 30"/>
                  <a:gd name="T73" fmla="*/ 2147483647 h 1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w 30"/>
                  <a:gd name="T112" fmla="*/ 0 h 136"/>
                  <a:gd name="T113" fmla="*/ 30 w 30"/>
                  <a:gd name="T114" fmla="*/ 136 h 136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T111" t="T112" r="T113" b="T114"/>
                <a:pathLst>
                  <a:path w="30" h="136">
                    <a:moveTo>
                      <a:pt x="4" y="134"/>
                    </a:moveTo>
                    <a:lnTo>
                      <a:pt x="4" y="134"/>
                    </a:lnTo>
                    <a:lnTo>
                      <a:pt x="2" y="124"/>
                    </a:lnTo>
                    <a:lnTo>
                      <a:pt x="0" y="104"/>
                    </a:lnTo>
                    <a:lnTo>
                      <a:pt x="2" y="62"/>
                    </a:lnTo>
                    <a:lnTo>
                      <a:pt x="2" y="50"/>
                    </a:lnTo>
                    <a:lnTo>
                      <a:pt x="6" y="40"/>
                    </a:lnTo>
                    <a:lnTo>
                      <a:pt x="10" y="28"/>
                    </a:lnTo>
                    <a:lnTo>
                      <a:pt x="8" y="24"/>
                    </a:lnTo>
                    <a:lnTo>
                      <a:pt x="6" y="18"/>
                    </a:lnTo>
                    <a:lnTo>
                      <a:pt x="0" y="8"/>
                    </a:lnTo>
                    <a:lnTo>
                      <a:pt x="0" y="6"/>
                    </a:lnTo>
                    <a:lnTo>
                      <a:pt x="4" y="2"/>
                    </a:lnTo>
                    <a:lnTo>
                      <a:pt x="14" y="0"/>
                    </a:lnTo>
                    <a:lnTo>
                      <a:pt x="18" y="2"/>
                    </a:lnTo>
                    <a:lnTo>
                      <a:pt x="22" y="4"/>
                    </a:lnTo>
                    <a:lnTo>
                      <a:pt x="26" y="8"/>
                    </a:lnTo>
                    <a:lnTo>
                      <a:pt x="24" y="14"/>
                    </a:lnTo>
                    <a:lnTo>
                      <a:pt x="20" y="20"/>
                    </a:lnTo>
                    <a:lnTo>
                      <a:pt x="20" y="24"/>
                    </a:lnTo>
                    <a:lnTo>
                      <a:pt x="20" y="28"/>
                    </a:lnTo>
                    <a:lnTo>
                      <a:pt x="26" y="66"/>
                    </a:lnTo>
                    <a:lnTo>
                      <a:pt x="30" y="104"/>
                    </a:lnTo>
                    <a:lnTo>
                      <a:pt x="28" y="114"/>
                    </a:lnTo>
                    <a:lnTo>
                      <a:pt x="22" y="126"/>
                    </a:lnTo>
                    <a:lnTo>
                      <a:pt x="18" y="132"/>
                    </a:lnTo>
                    <a:lnTo>
                      <a:pt x="14" y="134"/>
                    </a:lnTo>
                    <a:lnTo>
                      <a:pt x="8" y="136"/>
                    </a:lnTo>
                    <a:lnTo>
                      <a:pt x="4" y="134"/>
                    </a:lnTo>
                    <a:close/>
                  </a:path>
                </a:pathLst>
              </a:custGeom>
              <a:solidFill>
                <a:schemeClr val="tx1">
                  <a:lumMod val="50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>
                  <a:latin typeface="+mn-lt"/>
                  <a:cs typeface="+mn-cs"/>
                </a:endParaRPr>
              </a:p>
            </p:txBody>
          </p:sp>
        </p:grpSp>
        <p:sp>
          <p:nvSpPr>
            <p:cNvPr id="102" name="Freeform 5"/>
            <p:cNvSpPr>
              <a:spLocks noEditPoints="1"/>
            </p:cNvSpPr>
            <p:nvPr/>
          </p:nvSpPr>
          <p:spPr bwMode="auto">
            <a:xfrm>
              <a:off x="3361764" y="1943026"/>
              <a:ext cx="206809" cy="641517"/>
            </a:xfrm>
            <a:custGeom>
              <a:avLst/>
              <a:gdLst/>
              <a:ahLst/>
              <a:cxnLst>
                <a:cxn ang="0">
                  <a:pos x="463" y="788"/>
                </a:cxn>
                <a:cxn ang="0">
                  <a:pos x="470" y="944"/>
                </a:cxn>
                <a:cxn ang="0">
                  <a:pos x="497" y="1404"/>
                </a:cxn>
                <a:cxn ang="0">
                  <a:pos x="485" y="1473"/>
                </a:cxn>
                <a:cxn ang="0">
                  <a:pos x="509" y="1592"/>
                </a:cxn>
                <a:cxn ang="0">
                  <a:pos x="386" y="1521"/>
                </a:cxn>
                <a:cxn ang="0">
                  <a:pos x="349" y="1293"/>
                </a:cxn>
                <a:cxn ang="0">
                  <a:pos x="354" y="1113"/>
                </a:cxn>
                <a:cxn ang="0">
                  <a:pos x="301" y="973"/>
                </a:cxn>
                <a:cxn ang="0">
                  <a:pos x="279" y="1144"/>
                </a:cxn>
                <a:cxn ang="0">
                  <a:pos x="283" y="1349"/>
                </a:cxn>
                <a:cxn ang="0">
                  <a:pos x="308" y="1501"/>
                </a:cxn>
                <a:cxn ang="0">
                  <a:pos x="290" y="1540"/>
                </a:cxn>
                <a:cxn ang="0">
                  <a:pos x="270" y="1579"/>
                </a:cxn>
                <a:cxn ang="0">
                  <a:pos x="196" y="1603"/>
                </a:cxn>
                <a:cxn ang="0">
                  <a:pos x="192" y="1541"/>
                </a:cxn>
                <a:cxn ang="0">
                  <a:pos x="176" y="1433"/>
                </a:cxn>
                <a:cxn ang="0">
                  <a:pos x="171" y="1303"/>
                </a:cxn>
                <a:cxn ang="0">
                  <a:pos x="138" y="1082"/>
                </a:cxn>
                <a:cxn ang="0">
                  <a:pos x="115" y="941"/>
                </a:cxn>
                <a:cxn ang="0">
                  <a:pos x="24" y="874"/>
                </a:cxn>
                <a:cxn ang="0">
                  <a:pos x="14" y="848"/>
                </a:cxn>
                <a:cxn ang="0">
                  <a:pos x="11" y="479"/>
                </a:cxn>
                <a:cxn ang="0">
                  <a:pos x="108" y="264"/>
                </a:cxn>
                <a:cxn ang="0">
                  <a:pos x="176" y="217"/>
                </a:cxn>
                <a:cxn ang="0">
                  <a:pos x="159" y="156"/>
                </a:cxn>
                <a:cxn ang="0">
                  <a:pos x="146" y="92"/>
                </a:cxn>
                <a:cxn ang="0">
                  <a:pos x="295" y="92"/>
                </a:cxn>
                <a:cxn ang="0">
                  <a:pos x="293" y="144"/>
                </a:cxn>
                <a:cxn ang="0">
                  <a:pos x="283" y="172"/>
                </a:cxn>
                <a:cxn ang="0">
                  <a:pos x="304" y="231"/>
                </a:cxn>
                <a:cxn ang="0">
                  <a:pos x="409" y="260"/>
                </a:cxn>
                <a:cxn ang="0">
                  <a:pos x="457" y="306"/>
                </a:cxn>
                <a:cxn ang="0">
                  <a:pos x="472" y="389"/>
                </a:cxn>
                <a:cxn ang="0">
                  <a:pos x="494" y="532"/>
                </a:cxn>
                <a:cxn ang="0">
                  <a:pos x="500" y="582"/>
                </a:cxn>
                <a:cxn ang="0">
                  <a:pos x="498" y="634"/>
                </a:cxn>
                <a:cxn ang="0">
                  <a:pos x="475" y="785"/>
                </a:cxn>
                <a:cxn ang="0">
                  <a:pos x="193" y="359"/>
                </a:cxn>
                <a:cxn ang="0">
                  <a:pos x="383" y="694"/>
                </a:cxn>
                <a:cxn ang="0">
                  <a:pos x="324" y="529"/>
                </a:cxn>
                <a:cxn ang="0">
                  <a:pos x="299" y="423"/>
                </a:cxn>
                <a:cxn ang="0">
                  <a:pos x="281" y="220"/>
                </a:cxn>
                <a:cxn ang="0">
                  <a:pos x="244" y="305"/>
                </a:cxn>
                <a:cxn ang="0">
                  <a:pos x="201" y="258"/>
                </a:cxn>
                <a:cxn ang="0">
                  <a:pos x="179" y="220"/>
                </a:cxn>
              </a:cxnLst>
              <a:rect l="0" t="0" r="r" b="b"/>
              <a:pathLst>
                <a:path w="516" h="1608">
                  <a:moveTo>
                    <a:pt x="475" y="785"/>
                  </a:moveTo>
                  <a:cubicBezTo>
                    <a:pt x="474" y="788"/>
                    <a:pt x="466" y="786"/>
                    <a:pt x="463" y="788"/>
                  </a:cubicBezTo>
                  <a:cubicBezTo>
                    <a:pt x="468" y="818"/>
                    <a:pt x="460" y="848"/>
                    <a:pt x="460" y="873"/>
                  </a:cubicBezTo>
                  <a:cubicBezTo>
                    <a:pt x="459" y="895"/>
                    <a:pt x="466" y="920"/>
                    <a:pt x="470" y="944"/>
                  </a:cubicBezTo>
                  <a:cubicBezTo>
                    <a:pt x="481" y="1012"/>
                    <a:pt x="494" y="1085"/>
                    <a:pt x="496" y="1161"/>
                  </a:cubicBezTo>
                  <a:cubicBezTo>
                    <a:pt x="497" y="1241"/>
                    <a:pt x="497" y="1324"/>
                    <a:pt x="497" y="1404"/>
                  </a:cubicBezTo>
                  <a:cubicBezTo>
                    <a:pt x="497" y="1418"/>
                    <a:pt x="496" y="1430"/>
                    <a:pt x="494" y="1442"/>
                  </a:cubicBezTo>
                  <a:cubicBezTo>
                    <a:pt x="492" y="1453"/>
                    <a:pt x="486" y="1462"/>
                    <a:pt x="485" y="1473"/>
                  </a:cubicBezTo>
                  <a:cubicBezTo>
                    <a:pt x="482" y="1490"/>
                    <a:pt x="485" y="1509"/>
                    <a:pt x="473" y="1516"/>
                  </a:cubicBezTo>
                  <a:cubicBezTo>
                    <a:pt x="477" y="1549"/>
                    <a:pt x="516" y="1552"/>
                    <a:pt x="509" y="1592"/>
                  </a:cubicBezTo>
                  <a:cubicBezTo>
                    <a:pt x="483" y="1606"/>
                    <a:pt x="422" y="1608"/>
                    <a:pt x="417" y="1575"/>
                  </a:cubicBezTo>
                  <a:cubicBezTo>
                    <a:pt x="383" y="1580"/>
                    <a:pt x="386" y="1549"/>
                    <a:pt x="386" y="1521"/>
                  </a:cubicBezTo>
                  <a:cubicBezTo>
                    <a:pt x="387" y="1516"/>
                    <a:pt x="377" y="1520"/>
                    <a:pt x="376" y="1516"/>
                  </a:cubicBezTo>
                  <a:cubicBezTo>
                    <a:pt x="352" y="1460"/>
                    <a:pt x="350" y="1375"/>
                    <a:pt x="349" y="1293"/>
                  </a:cubicBezTo>
                  <a:cubicBezTo>
                    <a:pt x="349" y="1248"/>
                    <a:pt x="349" y="1201"/>
                    <a:pt x="351" y="1156"/>
                  </a:cubicBezTo>
                  <a:cubicBezTo>
                    <a:pt x="352" y="1142"/>
                    <a:pt x="355" y="1126"/>
                    <a:pt x="354" y="1113"/>
                  </a:cubicBezTo>
                  <a:cubicBezTo>
                    <a:pt x="353" y="1107"/>
                    <a:pt x="349" y="1097"/>
                    <a:pt x="346" y="1089"/>
                  </a:cubicBezTo>
                  <a:cubicBezTo>
                    <a:pt x="331" y="1049"/>
                    <a:pt x="316" y="1011"/>
                    <a:pt x="301" y="973"/>
                  </a:cubicBezTo>
                  <a:cubicBezTo>
                    <a:pt x="295" y="958"/>
                    <a:pt x="292" y="940"/>
                    <a:pt x="278" y="932"/>
                  </a:cubicBezTo>
                  <a:cubicBezTo>
                    <a:pt x="281" y="1000"/>
                    <a:pt x="279" y="1072"/>
                    <a:pt x="279" y="1144"/>
                  </a:cubicBezTo>
                  <a:cubicBezTo>
                    <a:pt x="279" y="1179"/>
                    <a:pt x="275" y="1213"/>
                    <a:pt x="277" y="1247"/>
                  </a:cubicBezTo>
                  <a:cubicBezTo>
                    <a:pt x="279" y="1282"/>
                    <a:pt x="278" y="1317"/>
                    <a:pt x="283" y="1349"/>
                  </a:cubicBezTo>
                  <a:cubicBezTo>
                    <a:pt x="287" y="1370"/>
                    <a:pt x="293" y="1391"/>
                    <a:pt x="298" y="1412"/>
                  </a:cubicBezTo>
                  <a:cubicBezTo>
                    <a:pt x="305" y="1442"/>
                    <a:pt x="312" y="1467"/>
                    <a:pt x="308" y="1501"/>
                  </a:cubicBezTo>
                  <a:cubicBezTo>
                    <a:pt x="307" y="1508"/>
                    <a:pt x="306" y="1518"/>
                    <a:pt x="304" y="1523"/>
                  </a:cubicBezTo>
                  <a:cubicBezTo>
                    <a:pt x="301" y="1530"/>
                    <a:pt x="292" y="1533"/>
                    <a:pt x="290" y="1540"/>
                  </a:cubicBezTo>
                  <a:cubicBezTo>
                    <a:pt x="287" y="1550"/>
                    <a:pt x="292" y="1563"/>
                    <a:pt x="287" y="1572"/>
                  </a:cubicBezTo>
                  <a:cubicBezTo>
                    <a:pt x="283" y="1577"/>
                    <a:pt x="277" y="1577"/>
                    <a:pt x="270" y="1579"/>
                  </a:cubicBezTo>
                  <a:cubicBezTo>
                    <a:pt x="256" y="1586"/>
                    <a:pt x="238" y="1602"/>
                    <a:pt x="224" y="1605"/>
                  </a:cubicBezTo>
                  <a:cubicBezTo>
                    <a:pt x="216" y="1606"/>
                    <a:pt x="206" y="1603"/>
                    <a:pt x="196" y="1603"/>
                  </a:cubicBezTo>
                  <a:cubicBezTo>
                    <a:pt x="178" y="1601"/>
                    <a:pt x="164" y="1602"/>
                    <a:pt x="166" y="1580"/>
                  </a:cubicBezTo>
                  <a:cubicBezTo>
                    <a:pt x="167" y="1564"/>
                    <a:pt x="186" y="1552"/>
                    <a:pt x="192" y="1541"/>
                  </a:cubicBezTo>
                  <a:cubicBezTo>
                    <a:pt x="201" y="1522"/>
                    <a:pt x="199" y="1480"/>
                    <a:pt x="191" y="1458"/>
                  </a:cubicBezTo>
                  <a:cubicBezTo>
                    <a:pt x="187" y="1449"/>
                    <a:pt x="178" y="1442"/>
                    <a:pt x="176" y="1433"/>
                  </a:cubicBezTo>
                  <a:cubicBezTo>
                    <a:pt x="171" y="1415"/>
                    <a:pt x="172" y="1388"/>
                    <a:pt x="173" y="1366"/>
                  </a:cubicBezTo>
                  <a:cubicBezTo>
                    <a:pt x="174" y="1344"/>
                    <a:pt x="173" y="1323"/>
                    <a:pt x="171" y="1303"/>
                  </a:cubicBezTo>
                  <a:cubicBezTo>
                    <a:pt x="167" y="1261"/>
                    <a:pt x="165" y="1218"/>
                    <a:pt x="161" y="1176"/>
                  </a:cubicBezTo>
                  <a:cubicBezTo>
                    <a:pt x="158" y="1143"/>
                    <a:pt x="145" y="1112"/>
                    <a:pt x="138" y="1082"/>
                  </a:cubicBezTo>
                  <a:cubicBezTo>
                    <a:pt x="134" y="1067"/>
                    <a:pt x="130" y="1050"/>
                    <a:pt x="127" y="1035"/>
                  </a:cubicBezTo>
                  <a:cubicBezTo>
                    <a:pt x="120" y="1006"/>
                    <a:pt x="112" y="977"/>
                    <a:pt x="115" y="941"/>
                  </a:cubicBezTo>
                  <a:cubicBezTo>
                    <a:pt x="89" y="937"/>
                    <a:pt x="66" y="941"/>
                    <a:pt x="51" y="927"/>
                  </a:cubicBezTo>
                  <a:cubicBezTo>
                    <a:pt x="39" y="918"/>
                    <a:pt x="26" y="891"/>
                    <a:pt x="24" y="874"/>
                  </a:cubicBezTo>
                  <a:cubicBezTo>
                    <a:pt x="23" y="866"/>
                    <a:pt x="23" y="859"/>
                    <a:pt x="25" y="852"/>
                  </a:cubicBezTo>
                  <a:cubicBezTo>
                    <a:pt x="25" y="847"/>
                    <a:pt x="15" y="852"/>
                    <a:pt x="14" y="848"/>
                  </a:cubicBezTo>
                  <a:cubicBezTo>
                    <a:pt x="10" y="782"/>
                    <a:pt x="0" y="717"/>
                    <a:pt x="0" y="647"/>
                  </a:cubicBezTo>
                  <a:cubicBezTo>
                    <a:pt x="1" y="592"/>
                    <a:pt x="9" y="536"/>
                    <a:pt x="11" y="479"/>
                  </a:cubicBezTo>
                  <a:cubicBezTo>
                    <a:pt x="12" y="422"/>
                    <a:pt x="15" y="364"/>
                    <a:pt x="24" y="310"/>
                  </a:cubicBezTo>
                  <a:cubicBezTo>
                    <a:pt x="50" y="295"/>
                    <a:pt x="77" y="277"/>
                    <a:pt x="108" y="264"/>
                  </a:cubicBezTo>
                  <a:cubicBezTo>
                    <a:pt x="120" y="259"/>
                    <a:pt x="135" y="256"/>
                    <a:pt x="144" y="249"/>
                  </a:cubicBezTo>
                  <a:cubicBezTo>
                    <a:pt x="154" y="242"/>
                    <a:pt x="174" y="227"/>
                    <a:pt x="176" y="217"/>
                  </a:cubicBezTo>
                  <a:cubicBezTo>
                    <a:pt x="179" y="199"/>
                    <a:pt x="171" y="184"/>
                    <a:pt x="167" y="172"/>
                  </a:cubicBezTo>
                  <a:cubicBezTo>
                    <a:pt x="164" y="166"/>
                    <a:pt x="162" y="159"/>
                    <a:pt x="159" y="156"/>
                  </a:cubicBezTo>
                  <a:cubicBezTo>
                    <a:pt x="154" y="149"/>
                    <a:pt x="146" y="148"/>
                    <a:pt x="142" y="142"/>
                  </a:cubicBezTo>
                  <a:cubicBezTo>
                    <a:pt x="135" y="129"/>
                    <a:pt x="132" y="97"/>
                    <a:pt x="146" y="92"/>
                  </a:cubicBezTo>
                  <a:cubicBezTo>
                    <a:pt x="148" y="42"/>
                    <a:pt x="164" y="7"/>
                    <a:pt x="213" y="3"/>
                  </a:cubicBezTo>
                  <a:cubicBezTo>
                    <a:pt x="269" y="0"/>
                    <a:pt x="302" y="30"/>
                    <a:pt x="295" y="92"/>
                  </a:cubicBezTo>
                  <a:cubicBezTo>
                    <a:pt x="297" y="99"/>
                    <a:pt x="302" y="98"/>
                    <a:pt x="304" y="105"/>
                  </a:cubicBezTo>
                  <a:cubicBezTo>
                    <a:pt x="307" y="119"/>
                    <a:pt x="300" y="137"/>
                    <a:pt x="293" y="144"/>
                  </a:cubicBezTo>
                  <a:cubicBezTo>
                    <a:pt x="290" y="147"/>
                    <a:pt x="287" y="148"/>
                    <a:pt x="285" y="152"/>
                  </a:cubicBezTo>
                  <a:cubicBezTo>
                    <a:pt x="284" y="156"/>
                    <a:pt x="285" y="165"/>
                    <a:pt x="283" y="172"/>
                  </a:cubicBezTo>
                  <a:cubicBezTo>
                    <a:pt x="282" y="181"/>
                    <a:pt x="277" y="197"/>
                    <a:pt x="281" y="210"/>
                  </a:cubicBezTo>
                  <a:cubicBezTo>
                    <a:pt x="282" y="216"/>
                    <a:pt x="296" y="227"/>
                    <a:pt x="304" y="231"/>
                  </a:cubicBezTo>
                  <a:cubicBezTo>
                    <a:pt x="314" y="235"/>
                    <a:pt x="328" y="236"/>
                    <a:pt x="340" y="240"/>
                  </a:cubicBezTo>
                  <a:cubicBezTo>
                    <a:pt x="363" y="247"/>
                    <a:pt x="384" y="253"/>
                    <a:pt x="409" y="260"/>
                  </a:cubicBezTo>
                  <a:cubicBezTo>
                    <a:pt x="423" y="265"/>
                    <a:pt x="437" y="267"/>
                    <a:pt x="444" y="275"/>
                  </a:cubicBezTo>
                  <a:cubicBezTo>
                    <a:pt x="449" y="281"/>
                    <a:pt x="453" y="295"/>
                    <a:pt x="457" y="306"/>
                  </a:cubicBezTo>
                  <a:cubicBezTo>
                    <a:pt x="461" y="317"/>
                    <a:pt x="465" y="329"/>
                    <a:pt x="467" y="338"/>
                  </a:cubicBezTo>
                  <a:cubicBezTo>
                    <a:pt x="470" y="355"/>
                    <a:pt x="469" y="372"/>
                    <a:pt x="472" y="389"/>
                  </a:cubicBezTo>
                  <a:cubicBezTo>
                    <a:pt x="477" y="421"/>
                    <a:pt x="482" y="452"/>
                    <a:pt x="487" y="485"/>
                  </a:cubicBezTo>
                  <a:cubicBezTo>
                    <a:pt x="489" y="501"/>
                    <a:pt x="490" y="518"/>
                    <a:pt x="494" y="532"/>
                  </a:cubicBezTo>
                  <a:cubicBezTo>
                    <a:pt x="497" y="542"/>
                    <a:pt x="507" y="551"/>
                    <a:pt x="507" y="563"/>
                  </a:cubicBezTo>
                  <a:cubicBezTo>
                    <a:pt x="507" y="570"/>
                    <a:pt x="501" y="576"/>
                    <a:pt x="500" y="582"/>
                  </a:cubicBezTo>
                  <a:cubicBezTo>
                    <a:pt x="500" y="588"/>
                    <a:pt x="505" y="593"/>
                    <a:pt x="505" y="599"/>
                  </a:cubicBezTo>
                  <a:cubicBezTo>
                    <a:pt x="506" y="613"/>
                    <a:pt x="500" y="624"/>
                    <a:pt x="498" y="634"/>
                  </a:cubicBezTo>
                  <a:cubicBezTo>
                    <a:pt x="495" y="646"/>
                    <a:pt x="495" y="660"/>
                    <a:pt x="493" y="673"/>
                  </a:cubicBezTo>
                  <a:cubicBezTo>
                    <a:pt x="488" y="708"/>
                    <a:pt x="480" y="750"/>
                    <a:pt x="475" y="785"/>
                  </a:cubicBezTo>
                  <a:close/>
                  <a:moveTo>
                    <a:pt x="177" y="222"/>
                  </a:moveTo>
                  <a:cubicBezTo>
                    <a:pt x="171" y="267"/>
                    <a:pt x="183" y="313"/>
                    <a:pt x="193" y="359"/>
                  </a:cubicBezTo>
                  <a:cubicBezTo>
                    <a:pt x="213" y="461"/>
                    <a:pt x="204" y="581"/>
                    <a:pt x="208" y="694"/>
                  </a:cubicBezTo>
                  <a:cubicBezTo>
                    <a:pt x="266" y="693"/>
                    <a:pt x="327" y="693"/>
                    <a:pt x="383" y="694"/>
                  </a:cubicBezTo>
                  <a:cubicBezTo>
                    <a:pt x="378" y="677"/>
                    <a:pt x="370" y="659"/>
                    <a:pt x="362" y="642"/>
                  </a:cubicBezTo>
                  <a:cubicBezTo>
                    <a:pt x="347" y="606"/>
                    <a:pt x="336" y="567"/>
                    <a:pt x="324" y="529"/>
                  </a:cubicBezTo>
                  <a:cubicBezTo>
                    <a:pt x="318" y="511"/>
                    <a:pt x="310" y="492"/>
                    <a:pt x="306" y="473"/>
                  </a:cubicBezTo>
                  <a:cubicBezTo>
                    <a:pt x="302" y="458"/>
                    <a:pt x="301" y="440"/>
                    <a:pt x="299" y="423"/>
                  </a:cubicBezTo>
                  <a:cubicBezTo>
                    <a:pt x="293" y="371"/>
                    <a:pt x="288" y="317"/>
                    <a:pt x="285" y="267"/>
                  </a:cubicBezTo>
                  <a:cubicBezTo>
                    <a:pt x="284" y="252"/>
                    <a:pt x="288" y="234"/>
                    <a:pt x="281" y="220"/>
                  </a:cubicBezTo>
                  <a:cubicBezTo>
                    <a:pt x="270" y="239"/>
                    <a:pt x="263" y="261"/>
                    <a:pt x="251" y="279"/>
                  </a:cubicBezTo>
                  <a:cubicBezTo>
                    <a:pt x="251" y="290"/>
                    <a:pt x="252" y="301"/>
                    <a:pt x="244" y="305"/>
                  </a:cubicBezTo>
                  <a:cubicBezTo>
                    <a:pt x="242" y="304"/>
                    <a:pt x="245" y="297"/>
                    <a:pt x="243" y="296"/>
                  </a:cubicBezTo>
                  <a:cubicBezTo>
                    <a:pt x="225" y="286"/>
                    <a:pt x="215" y="272"/>
                    <a:pt x="201" y="258"/>
                  </a:cubicBezTo>
                  <a:cubicBezTo>
                    <a:pt x="194" y="250"/>
                    <a:pt x="185" y="241"/>
                    <a:pt x="182" y="232"/>
                  </a:cubicBezTo>
                  <a:cubicBezTo>
                    <a:pt x="181" y="228"/>
                    <a:pt x="183" y="223"/>
                    <a:pt x="179" y="220"/>
                  </a:cubicBezTo>
                  <a:cubicBezTo>
                    <a:pt x="177" y="220"/>
                    <a:pt x="177" y="221"/>
                    <a:pt x="177" y="222"/>
                  </a:cubicBezTo>
                  <a:close/>
                </a:path>
              </a:pathLst>
            </a:custGeom>
            <a:solidFill>
              <a:schemeClr val="tx1">
                <a:lumMod val="50000"/>
              </a:schemeClr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</p:grpSp>
      <p:grpSp>
        <p:nvGrpSpPr>
          <p:cNvPr id="115" name="Gruppe 634"/>
          <p:cNvGrpSpPr>
            <a:grpSpLocks/>
          </p:cNvGrpSpPr>
          <p:nvPr/>
        </p:nvGrpSpPr>
        <p:grpSpPr bwMode="auto">
          <a:xfrm>
            <a:off x="1815288" y="4205270"/>
            <a:ext cx="990559" cy="482581"/>
            <a:chOff x="293688" y="2392363"/>
            <a:chExt cx="8299450" cy="3940175"/>
          </a:xfrm>
        </p:grpSpPr>
        <p:sp>
          <p:nvSpPr>
            <p:cNvPr id="116" name="Rektangel 365"/>
            <p:cNvSpPr/>
            <p:nvPr/>
          </p:nvSpPr>
          <p:spPr>
            <a:xfrm>
              <a:off x="293688" y="5820194"/>
              <a:ext cx="8199306" cy="512344"/>
            </a:xfrm>
            <a:prstGeom prst="rect">
              <a:avLst/>
            </a:prstGeom>
            <a:gradFill flip="none" rotWithShape="1">
              <a:gsLst>
                <a:gs pos="0">
                  <a:srgbClr val="E6E6E6">
                    <a:lumMod val="10000"/>
                    <a:alpha val="33000"/>
                  </a:srgbClr>
                </a:gs>
                <a:gs pos="100000">
                  <a:srgbClr val="E6E6E6">
                    <a:tint val="50000"/>
                    <a:shade val="100000"/>
                    <a:satMod val="350000"/>
                    <a:alpha val="0"/>
                  </a:srgbClr>
                </a:gs>
              </a:gsLst>
              <a:lin ang="5520000" scaled="0"/>
              <a:tileRect/>
            </a:gradFill>
            <a:ln w="9525" cap="flat" cmpd="sng" algn="ctr">
              <a:noFill/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" lastClr="FFFFFF"/>
                </a:solidFill>
                <a:latin typeface="Calibri"/>
                <a:cs typeface="+mn-cs"/>
              </a:endParaRPr>
            </a:p>
          </p:txBody>
        </p:sp>
        <p:grpSp>
          <p:nvGrpSpPr>
            <p:cNvPr id="117" name="Gruppe 225"/>
            <p:cNvGrpSpPr>
              <a:grpSpLocks/>
            </p:cNvGrpSpPr>
            <p:nvPr/>
          </p:nvGrpSpPr>
          <p:grpSpPr bwMode="auto">
            <a:xfrm>
              <a:off x="293688" y="3908425"/>
              <a:ext cx="8262937" cy="2109788"/>
              <a:chOff x="868363" y="3736975"/>
              <a:chExt cx="6980237" cy="1781175"/>
            </a:xfrm>
          </p:grpSpPr>
          <p:sp>
            <p:nvSpPr>
              <p:cNvPr id="379" name="Freeform 151"/>
              <p:cNvSpPr>
                <a:spLocks/>
              </p:cNvSpPr>
              <p:nvPr/>
            </p:nvSpPr>
            <p:spPr bwMode="auto">
              <a:xfrm>
                <a:off x="868363" y="3734082"/>
                <a:ext cx="6979358" cy="1781668"/>
              </a:xfrm>
              <a:custGeom>
                <a:avLst/>
                <a:gdLst>
                  <a:gd name="T0" fmla="*/ 2287587 w 4397"/>
                  <a:gd name="T1" fmla="*/ 0 h 1122"/>
                  <a:gd name="T2" fmla="*/ 6980237 w 4397"/>
                  <a:gd name="T3" fmla="*/ 15875 h 1122"/>
                  <a:gd name="T4" fmla="*/ 6935787 w 4397"/>
                  <a:gd name="T5" fmla="*/ 1781175 h 1122"/>
                  <a:gd name="T6" fmla="*/ 0 w 4397"/>
                  <a:gd name="T7" fmla="*/ 1631950 h 1122"/>
                  <a:gd name="T8" fmla="*/ 0 w 4397"/>
                  <a:gd name="T9" fmla="*/ 1497012 h 1122"/>
                  <a:gd name="T10" fmla="*/ 2287587 w 4397"/>
                  <a:gd name="T11" fmla="*/ 0 h 1122"/>
                  <a:gd name="T12" fmla="*/ 2287587 w 4397"/>
                  <a:gd name="T13" fmla="*/ 0 h 1122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4397"/>
                  <a:gd name="T22" fmla="*/ 0 h 1122"/>
                  <a:gd name="T23" fmla="*/ 4397 w 4397"/>
                  <a:gd name="T24" fmla="*/ 1122 h 1122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4397" h="1122">
                    <a:moveTo>
                      <a:pt x="1441" y="0"/>
                    </a:moveTo>
                    <a:lnTo>
                      <a:pt x="4397" y="10"/>
                    </a:lnTo>
                    <a:lnTo>
                      <a:pt x="4369" y="1122"/>
                    </a:lnTo>
                    <a:lnTo>
                      <a:pt x="0" y="1028"/>
                    </a:lnTo>
                    <a:lnTo>
                      <a:pt x="0" y="943"/>
                    </a:lnTo>
                    <a:lnTo>
                      <a:pt x="1441" y="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>
                  <a:solidFill>
                    <a:sysClr val="windowText" lastClr="000000"/>
                  </a:solidFill>
                  <a:latin typeface="+mn-lt"/>
                  <a:cs typeface="+mn-cs"/>
                </a:endParaRPr>
              </a:p>
            </p:txBody>
          </p:sp>
          <p:sp>
            <p:nvSpPr>
              <p:cNvPr id="380" name="Freeform 152"/>
              <p:cNvSpPr>
                <a:spLocks/>
              </p:cNvSpPr>
              <p:nvPr/>
            </p:nvSpPr>
            <p:spPr bwMode="auto">
              <a:xfrm>
                <a:off x="900084" y="3744384"/>
                <a:ext cx="6937059" cy="1585991"/>
              </a:xfrm>
              <a:custGeom>
                <a:avLst/>
                <a:gdLst>
                  <a:gd name="T0" fmla="*/ 0 w 4369"/>
                  <a:gd name="T1" fmla="*/ 933 h 999"/>
                  <a:gd name="T2" fmla="*/ 1422 w 4369"/>
                  <a:gd name="T3" fmla="*/ 0 h 999"/>
                  <a:gd name="T4" fmla="*/ 4369 w 4369"/>
                  <a:gd name="T5" fmla="*/ 9 h 999"/>
                  <a:gd name="T6" fmla="*/ 4322 w 4369"/>
                  <a:gd name="T7" fmla="*/ 999 h 999"/>
                  <a:gd name="T8" fmla="*/ 0 w 4369"/>
                  <a:gd name="T9" fmla="*/ 933 h 999"/>
                  <a:gd name="T10" fmla="*/ 0 w 4369"/>
                  <a:gd name="T11" fmla="*/ 933 h 99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4369"/>
                  <a:gd name="T19" fmla="*/ 0 h 999"/>
                  <a:gd name="T20" fmla="*/ 4369 w 4369"/>
                  <a:gd name="T21" fmla="*/ 999 h 999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4369" h="999">
                    <a:moveTo>
                      <a:pt x="0" y="933"/>
                    </a:moveTo>
                    <a:lnTo>
                      <a:pt x="1422" y="0"/>
                    </a:lnTo>
                    <a:lnTo>
                      <a:pt x="4369" y="9"/>
                    </a:lnTo>
                    <a:lnTo>
                      <a:pt x="4322" y="999"/>
                    </a:lnTo>
                    <a:lnTo>
                      <a:pt x="0" y="933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D7D8D9">
                      <a:lumMod val="10000"/>
                      <a:tint val="66000"/>
                      <a:satMod val="160000"/>
                    </a:srgbClr>
                  </a:gs>
                  <a:gs pos="50000">
                    <a:srgbClr val="080808"/>
                  </a:gs>
                  <a:gs pos="100000">
                    <a:srgbClr val="080808"/>
                  </a:gs>
                </a:gsLst>
                <a:lin ang="16200000" scaled="1"/>
                <a:tileRect/>
              </a:gradFill>
              <a:ln w="9525" cap="flat" cmpd="sng" algn="ctr">
                <a:noFill/>
                <a:prstDash val="solid"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</p:spPr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>
                  <a:solidFill>
                    <a:sysClr val="window" lastClr="FFFFFF"/>
                  </a:solidFill>
                  <a:latin typeface="Calibri"/>
                  <a:cs typeface="+mn-cs"/>
                </a:endParaRPr>
              </a:p>
            </p:txBody>
          </p:sp>
          <p:sp>
            <p:nvSpPr>
              <p:cNvPr id="381" name="Freeform 153"/>
              <p:cNvSpPr>
                <a:spLocks/>
              </p:cNvSpPr>
              <p:nvPr/>
            </p:nvSpPr>
            <p:spPr bwMode="auto">
              <a:xfrm>
                <a:off x="2930443" y="3744384"/>
                <a:ext cx="4885550" cy="350154"/>
              </a:xfrm>
              <a:custGeom>
                <a:avLst/>
                <a:gdLst>
                  <a:gd name="T0" fmla="*/ 0 w 3080"/>
                  <a:gd name="T1" fmla="*/ 149225 h 217"/>
                  <a:gd name="T2" fmla="*/ 225425 w 3080"/>
                  <a:gd name="T3" fmla="*/ 0 h 217"/>
                  <a:gd name="T4" fmla="*/ 747712 w 3080"/>
                  <a:gd name="T5" fmla="*/ 0 h 217"/>
                  <a:gd name="T6" fmla="*/ 568325 w 3080"/>
                  <a:gd name="T7" fmla="*/ 149225 h 217"/>
                  <a:gd name="T8" fmla="*/ 1211262 w 3080"/>
                  <a:gd name="T9" fmla="*/ 163513 h 217"/>
                  <a:gd name="T10" fmla="*/ 1376362 w 3080"/>
                  <a:gd name="T11" fmla="*/ 0 h 217"/>
                  <a:gd name="T12" fmla="*/ 1958975 w 3080"/>
                  <a:gd name="T13" fmla="*/ 0 h 217"/>
                  <a:gd name="T14" fmla="*/ 1824037 w 3080"/>
                  <a:gd name="T15" fmla="*/ 163513 h 217"/>
                  <a:gd name="T16" fmla="*/ 2466974 w 3080"/>
                  <a:gd name="T17" fmla="*/ 179388 h 217"/>
                  <a:gd name="T18" fmla="*/ 2601912 w 3080"/>
                  <a:gd name="T19" fmla="*/ 0 h 217"/>
                  <a:gd name="T20" fmla="*/ 3200399 w 3080"/>
                  <a:gd name="T21" fmla="*/ 0 h 217"/>
                  <a:gd name="T22" fmla="*/ 3095624 w 3080"/>
                  <a:gd name="T23" fmla="*/ 179388 h 217"/>
                  <a:gd name="T24" fmla="*/ 3692525 w 3080"/>
                  <a:gd name="T25" fmla="*/ 179388 h 217"/>
                  <a:gd name="T26" fmla="*/ 3767137 w 3080"/>
                  <a:gd name="T27" fmla="*/ 0 h 217"/>
                  <a:gd name="T28" fmla="*/ 4351337 w 3080"/>
                  <a:gd name="T29" fmla="*/ 14288 h 217"/>
                  <a:gd name="T30" fmla="*/ 4321174 w 3080"/>
                  <a:gd name="T31" fmla="*/ 193675 h 217"/>
                  <a:gd name="T32" fmla="*/ 4889499 w 3080"/>
                  <a:gd name="T33" fmla="*/ 193675 h 217"/>
                  <a:gd name="T34" fmla="*/ 4889499 w 3080"/>
                  <a:gd name="T35" fmla="*/ 344488 h 217"/>
                  <a:gd name="T36" fmla="*/ 4291012 w 3080"/>
                  <a:gd name="T37" fmla="*/ 344488 h 217"/>
                  <a:gd name="T38" fmla="*/ 4321174 w 3080"/>
                  <a:gd name="T39" fmla="*/ 193675 h 217"/>
                  <a:gd name="T40" fmla="*/ 3692525 w 3080"/>
                  <a:gd name="T41" fmla="*/ 179388 h 217"/>
                  <a:gd name="T42" fmla="*/ 3648075 w 3080"/>
                  <a:gd name="T43" fmla="*/ 344488 h 217"/>
                  <a:gd name="T44" fmla="*/ 3005137 w 3080"/>
                  <a:gd name="T45" fmla="*/ 328613 h 217"/>
                  <a:gd name="T46" fmla="*/ 3095624 w 3080"/>
                  <a:gd name="T47" fmla="*/ 179388 h 217"/>
                  <a:gd name="T48" fmla="*/ 2466974 w 3080"/>
                  <a:gd name="T49" fmla="*/ 179388 h 217"/>
                  <a:gd name="T50" fmla="*/ 2347912 w 3080"/>
                  <a:gd name="T51" fmla="*/ 328613 h 217"/>
                  <a:gd name="T52" fmla="*/ 1689100 w 3080"/>
                  <a:gd name="T53" fmla="*/ 328613 h 217"/>
                  <a:gd name="T54" fmla="*/ 1824037 w 3080"/>
                  <a:gd name="T55" fmla="*/ 163513 h 217"/>
                  <a:gd name="T56" fmla="*/ 1211262 w 3080"/>
                  <a:gd name="T57" fmla="*/ 163513 h 217"/>
                  <a:gd name="T58" fmla="*/ 1047750 w 3080"/>
                  <a:gd name="T59" fmla="*/ 314325 h 217"/>
                  <a:gd name="T60" fmla="*/ 374650 w 3080"/>
                  <a:gd name="T61" fmla="*/ 314325 h 217"/>
                  <a:gd name="T62" fmla="*/ 568325 w 3080"/>
                  <a:gd name="T63" fmla="*/ 149225 h 217"/>
                  <a:gd name="T64" fmla="*/ 0 w 3080"/>
                  <a:gd name="T65" fmla="*/ 149225 h 217"/>
                  <a:gd name="T66" fmla="*/ 0 w 3080"/>
                  <a:gd name="T67" fmla="*/ 149225 h 217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w 3080"/>
                  <a:gd name="T103" fmla="*/ 0 h 217"/>
                  <a:gd name="T104" fmla="*/ 3080 w 3080"/>
                  <a:gd name="T105" fmla="*/ 217 h 217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T102" t="T103" r="T104" b="T105"/>
                <a:pathLst>
                  <a:path w="3080" h="217">
                    <a:moveTo>
                      <a:pt x="0" y="94"/>
                    </a:moveTo>
                    <a:lnTo>
                      <a:pt x="142" y="0"/>
                    </a:lnTo>
                    <a:lnTo>
                      <a:pt x="471" y="0"/>
                    </a:lnTo>
                    <a:lnTo>
                      <a:pt x="358" y="94"/>
                    </a:lnTo>
                    <a:lnTo>
                      <a:pt x="763" y="103"/>
                    </a:lnTo>
                    <a:lnTo>
                      <a:pt x="867" y="0"/>
                    </a:lnTo>
                    <a:lnTo>
                      <a:pt x="1234" y="0"/>
                    </a:lnTo>
                    <a:lnTo>
                      <a:pt x="1149" y="103"/>
                    </a:lnTo>
                    <a:lnTo>
                      <a:pt x="1554" y="113"/>
                    </a:lnTo>
                    <a:lnTo>
                      <a:pt x="1639" y="0"/>
                    </a:lnTo>
                    <a:lnTo>
                      <a:pt x="2016" y="0"/>
                    </a:lnTo>
                    <a:lnTo>
                      <a:pt x="1950" y="113"/>
                    </a:lnTo>
                    <a:lnTo>
                      <a:pt x="2326" y="113"/>
                    </a:lnTo>
                    <a:lnTo>
                      <a:pt x="2373" y="0"/>
                    </a:lnTo>
                    <a:lnTo>
                      <a:pt x="2741" y="9"/>
                    </a:lnTo>
                    <a:lnTo>
                      <a:pt x="2722" y="122"/>
                    </a:lnTo>
                    <a:lnTo>
                      <a:pt x="3080" y="122"/>
                    </a:lnTo>
                    <a:lnTo>
                      <a:pt x="3080" y="217"/>
                    </a:lnTo>
                    <a:lnTo>
                      <a:pt x="2703" y="217"/>
                    </a:lnTo>
                    <a:lnTo>
                      <a:pt x="2722" y="122"/>
                    </a:lnTo>
                    <a:lnTo>
                      <a:pt x="2326" y="113"/>
                    </a:lnTo>
                    <a:lnTo>
                      <a:pt x="2298" y="217"/>
                    </a:lnTo>
                    <a:lnTo>
                      <a:pt x="1893" y="207"/>
                    </a:lnTo>
                    <a:lnTo>
                      <a:pt x="1950" y="113"/>
                    </a:lnTo>
                    <a:lnTo>
                      <a:pt x="1554" y="113"/>
                    </a:lnTo>
                    <a:lnTo>
                      <a:pt x="1479" y="207"/>
                    </a:lnTo>
                    <a:lnTo>
                      <a:pt x="1064" y="207"/>
                    </a:lnTo>
                    <a:lnTo>
                      <a:pt x="1149" y="103"/>
                    </a:lnTo>
                    <a:lnTo>
                      <a:pt x="763" y="103"/>
                    </a:lnTo>
                    <a:lnTo>
                      <a:pt x="660" y="198"/>
                    </a:lnTo>
                    <a:lnTo>
                      <a:pt x="236" y="198"/>
                    </a:lnTo>
                    <a:lnTo>
                      <a:pt x="358" y="94"/>
                    </a:lnTo>
                    <a:lnTo>
                      <a:pt x="0" y="94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>
                  <a:solidFill>
                    <a:sysClr val="windowText" lastClr="000000"/>
                  </a:solidFill>
                  <a:latin typeface="+mn-lt"/>
                  <a:cs typeface="+mn-cs"/>
                </a:endParaRPr>
              </a:p>
            </p:txBody>
          </p:sp>
          <p:sp>
            <p:nvSpPr>
              <p:cNvPr id="382" name="Freeform 154"/>
              <p:cNvSpPr>
                <a:spLocks/>
              </p:cNvSpPr>
              <p:nvPr/>
            </p:nvSpPr>
            <p:spPr bwMode="auto">
              <a:xfrm>
                <a:off x="2454581" y="4063638"/>
                <a:ext cx="5350841" cy="339858"/>
              </a:xfrm>
              <a:custGeom>
                <a:avLst/>
                <a:gdLst>
                  <a:gd name="T0" fmla="*/ 0 w 3371"/>
                  <a:gd name="T1" fmla="*/ 149225 h 216"/>
                  <a:gd name="T2" fmla="*/ 239713 w 3371"/>
                  <a:gd name="T3" fmla="*/ 0 h 216"/>
                  <a:gd name="T4" fmla="*/ 852488 w 3371"/>
                  <a:gd name="T5" fmla="*/ 0 h 216"/>
                  <a:gd name="T6" fmla="*/ 642937 w 3371"/>
                  <a:gd name="T7" fmla="*/ 163513 h 216"/>
                  <a:gd name="T8" fmla="*/ 1374775 w 3371"/>
                  <a:gd name="T9" fmla="*/ 163513 h 216"/>
                  <a:gd name="T10" fmla="*/ 1525587 w 3371"/>
                  <a:gd name="T11" fmla="*/ 0 h 216"/>
                  <a:gd name="T12" fmla="*/ 2166937 w 3371"/>
                  <a:gd name="T13" fmla="*/ 14288 h 216"/>
                  <a:gd name="T14" fmla="*/ 2033587 w 3371"/>
                  <a:gd name="T15" fmla="*/ 163513 h 216"/>
                  <a:gd name="T16" fmla="*/ 2705100 w 3371"/>
                  <a:gd name="T17" fmla="*/ 163513 h 216"/>
                  <a:gd name="T18" fmla="*/ 2840037 w 3371"/>
                  <a:gd name="T19" fmla="*/ 0 h 216"/>
                  <a:gd name="T20" fmla="*/ 3498850 w 3371"/>
                  <a:gd name="T21" fmla="*/ 0 h 216"/>
                  <a:gd name="T22" fmla="*/ 3394075 w 3371"/>
                  <a:gd name="T23" fmla="*/ 179387 h 216"/>
                  <a:gd name="T24" fmla="*/ 4065587 w 3371"/>
                  <a:gd name="T25" fmla="*/ 179387 h 216"/>
                  <a:gd name="T26" fmla="*/ 4125912 w 3371"/>
                  <a:gd name="T27" fmla="*/ 30163 h 216"/>
                  <a:gd name="T28" fmla="*/ 4768850 w 3371"/>
                  <a:gd name="T29" fmla="*/ 30163 h 216"/>
                  <a:gd name="T30" fmla="*/ 4724400 w 3371"/>
                  <a:gd name="T31" fmla="*/ 179387 h 216"/>
                  <a:gd name="T32" fmla="*/ 5351462 w 3371"/>
                  <a:gd name="T33" fmla="*/ 193675 h 216"/>
                  <a:gd name="T34" fmla="*/ 5351462 w 3371"/>
                  <a:gd name="T35" fmla="*/ 342900 h 216"/>
                  <a:gd name="T36" fmla="*/ 4694237 w 3371"/>
                  <a:gd name="T37" fmla="*/ 342900 h 216"/>
                  <a:gd name="T38" fmla="*/ 4724400 w 3371"/>
                  <a:gd name="T39" fmla="*/ 179387 h 216"/>
                  <a:gd name="T40" fmla="*/ 4065587 w 3371"/>
                  <a:gd name="T41" fmla="*/ 179387 h 216"/>
                  <a:gd name="T42" fmla="*/ 4006850 w 3371"/>
                  <a:gd name="T43" fmla="*/ 342900 h 216"/>
                  <a:gd name="T44" fmla="*/ 3303588 w 3371"/>
                  <a:gd name="T45" fmla="*/ 342900 h 216"/>
                  <a:gd name="T46" fmla="*/ 3394075 w 3371"/>
                  <a:gd name="T47" fmla="*/ 179387 h 216"/>
                  <a:gd name="T48" fmla="*/ 2705100 w 3371"/>
                  <a:gd name="T49" fmla="*/ 163513 h 216"/>
                  <a:gd name="T50" fmla="*/ 2586037 w 3371"/>
                  <a:gd name="T51" fmla="*/ 328613 h 216"/>
                  <a:gd name="T52" fmla="*/ 1898650 w 3371"/>
                  <a:gd name="T53" fmla="*/ 328613 h 216"/>
                  <a:gd name="T54" fmla="*/ 2033587 w 3371"/>
                  <a:gd name="T55" fmla="*/ 163513 h 216"/>
                  <a:gd name="T56" fmla="*/ 1374775 w 3371"/>
                  <a:gd name="T57" fmla="*/ 163513 h 216"/>
                  <a:gd name="T58" fmla="*/ 1211262 w 3371"/>
                  <a:gd name="T59" fmla="*/ 328613 h 216"/>
                  <a:gd name="T60" fmla="*/ 449263 w 3371"/>
                  <a:gd name="T61" fmla="*/ 314325 h 216"/>
                  <a:gd name="T62" fmla="*/ 642937 w 3371"/>
                  <a:gd name="T63" fmla="*/ 163513 h 216"/>
                  <a:gd name="T64" fmla="*/ 0 w 3371"/>
                  <a:gd name="T65" fmla="*/ 149225 h 216"/>
                  <a:gd name="T66" fmla="*/ 0 w 3371"/>
                  <a:gd name="T67" fmla="*/ 149225 h 21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w 3371"/>
                  <a:gd name="T103" fmla="*/ 0 h 216"/>
                  <a:gd name="T104" fmla="*/ 3371 w 3371"/>
                  <a:gd name="T105" fmla="*/ 216 h 216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T102" t="T103" r="T104" b="T105"/>
                <a:pathLst>
                  <a:path w="3371" h="216">
                    <a:moveTo>
                      <a:pt x="0" y="94"/>
                    </a:moveTo>
                    <a:lnTo>
                      <a:pt x="151" y="0"/>
                    </a:lnTo>
                    <a:lnTo>
                      <a:pt x="537" y="0"/>
                    </a:lnTo>
                    <a:lnTo>
                      <a:pt x="405" y="103"/>
                    </a:lnTo>
                    <a:lnTo>
                      <a:pt x="866" y="103"/>
                    </a:lnTo>
                    <a:lnTo>
                      <a:pt x="961" y="0"/>
                    </a:lnTo>
                    <a:lnTo>
                      <a:pt x="1365" y="9"/>
                    </a:lnTo>
                    <a:lnTo>
                      <a:pt x="1281" y="103"/>
                    </a:lnTo>
                    <a:lnTo>
                      <a:pt x="1704" y="103"/>
                    </a:lnTo>
                    <a:lnTo>
                      <a:pt x="1789" y="0"/>
                    </a:lnTo>
                    <a:lnTo>
                      <a:pt x="2204" y="0"/>
                    </a:lnTo>
                    <a:lnTo>
                      <a:pt x="2138" y="113"/>
                    </a:lnTo>
                    <a:lnTo>
                      <a:pt x="2561" y="113"/>
                    </a:lnTo>
                    <a:lnTo>
                      <a:pt x="2599" y="19"/>
                    </a:lnTo>
                    <a:lnTo>
                      <a:pt x="3004" y="19"/>
                    </a:lnTo>
                    <a:lnTo>
                      <a:pt x="2976" y="113"/>
                    </a:lnTo>
                    <a:lnTo>
                      <a:pt x="3371" y="122"/>
                    </a:lnTo>
                    <a:lnTo>
                      <a:pt x="3371" y="216"/>
                    </a:lnTo>
                    <a:lnTo>
                      <a:pt x="2957" y="216"/>
                    </a:lnTo>
                    <a:lnTo>
                      <a:pt x="2976" y="113"/>
                    </a:lnTo>
                    <a:lnTo>
                      <a:pt x="2561" y="113"/>
                    </a:lnTo>
                    <a:lnTo>
                      <a:pt x="2524" y="216"/>
                    </a:lnTo>
                    <a:lnTo>
                      <a:pt x="2081" y="216"/>
                    </a:lnTo>
                    <a:lnTo>
                      <a:pt x="2138" y="113"/>
                    </a:lnTo>
                    <a:lnTo>
                      <a:pt x="1704" y="103"/>
                    </a:lnTo>
                    <a:lnTo>
                      <a:pt x="1629" y="207"/>
                    </a:lnTo>
                    <a:lnTo>
                      <a:pt x="1196" y="207"/>
                    </a:lnTo>
                    <a:lnTo>
                      <a:pt x="1281" y="103"/>
                    </a:lnTo>
                    <a:lnTo>
                      <a:pt x="866" y="103"/>
                    </a:lnTo>
                    <a:lnTo>
                      <a:pt x="763" y="207"/>
                    </a:lnTo>
                    <a:lnTo>
                      <a:pt x="283" y="198"/>
                    </a:lnTo>
                    <a:lnTo>
                      <a:pt x="405" y="103"/>
                    </a:lnTo>
                    <a:lnTo>
                      <a:pt x="0" y="94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>
                  <a:solidFill>
                    <a:sysClr val="windowText" lastClr="000000"/>
                  </a:solidFill>
                  <a:latin typeface="+mn-lt"/>
                  <a:cs typeface="+mn-cs"/>
                </a:endParaRPr>
              </a:p>
            </p:txBody>
          </p:sp>
          <p:sp>
            <p:nvSpPr>
              <p:cNvPr id="383" name="Freeform 155"/>
              <p:cNvSpPr>
                <a:spLocks/>
              </p:cNvSpPr>
              <p:nvPr/>
            </p:nvSpPr>
            <p:spPr bwMode="auto">
              <a:xfrm>
                <a:off x="1915263" y="4382899"/>
                <a:ext cx="5869009" cy="442838"/>
              </a:xfrm>
              <a:custGeom>
                <a:avLst/>
                <a:gdLst>
                  <a:gd name="T0" fmla="*/ 0 w 3701"/>
                  <a:gd name="T1" fmla="*/ 179387 h 282"/>
                  <a:gd name="T2" fmla="*/ 284162 w 3701"/>
                  <a:gd name="T3" fmla="*/ 0 h 282"/>
                  <a:gd name="T4" fmla="*/ 987425 w 3701"/>
                  <a:gd name="T5" fmla="*/ 0 h 282"/>
                  <a:gd name="T6" fmla="*/ 762000 w 3701"/>
                  <a:gd name="T7" fmla="*/ 193675 h 282"/>
                  <a:gd name="T8" fmla="*/ 1554162 w 3701"/>
                  <a:gd name="T9" fmla="*/ 193675 h 282"/>
                  <a:gd name="T10" fmla="*/ 1749425 w 3701"/>
                  <a:gd name="T11" fmla="*/ 14287 h 282"/>
                  <a:gd name="T12" fmla="*/ 2436812 w 3701"/>
                  <a:gd name="T13" fmla="*/ 14287 h 282"/>
                  <a:gd name="T14" fmla="*/ 2271712 w 3701"/>
                  <a:gd name="T15" fmla="*/ 209550 h 282"/>
                  <a:gd name="T16" fmla="*/ 2974975 w 3701"/>
                  <a:gd name="T17" fmla="*/ 209550 h 282"/>
                  <a:gd name="T18" fmla="*/ 3124200 w 3701"/>
                  <a:gd name="T19" fmla="*/ 14287 h 282"/>
                  <a:gd name="T20" fmla="*/ 3827463 w 3701"/>
                  <a:gd name="T21" fmla="*/ 28575 h 282"/>
                  <a:gd name="T22" fmla="*/ 3722688 w 3701"/>
                  <a:gd name="T23" fmla="*/ 209550 h 282"/>
                  <a:gd name="T24" fmla="*/ 4470400 w 3701"/>
                  <a:gd name="T25" fmla="*/ 209550 h 282"/>
                  <a:gd name="T26" fmla="*/ 4545012 w 3701"/>
                  <a:gd name="T27" fmla="*/ 28575 h 282"/>
                  <a:gd name="T28" fmla="*/ 5232400 w 3701"/>
                  <a:gd name="T29" fmla="*/ 28575 h 282"/>
                  <a:gd name="T30" fmla="*/ 5187950 w 3701"/>
                  <a:gd name="T31" fmla="*/ 223838 h 282"/>
                  <a:gd name="T32" fmla="*/ 5875337 w 3701"/>
                  <a:gd name="T33" fmla="*/ 223838 h 282"/>
                  <a:gd name="T34" fmla="*/ 5859462 w 3701"/>
                  <a:gd name="T35" fmla="*/ 447675 h 282"/>
                  <a:gd name="T36" fmla="*/ 5141912 w 3701"/>
                  <a:gd name="T37" fmla="*/ 447675 h 282"/>
                  <a:gd name="T38" fmla="*/ 5187950 w 3701"/>
                  <a:gd name="T39" fmla="*/ 223838 h 282"/>
                  <a:gd name="T40" fmla="*/ 4470400 w 3701"/>
                  <a:gd name="T41" fmla="*/ 209550 h 282"/>
                  <a:gd name="T42" fmla="*/ 4395788 w 3701"/>
                  <a:gd name="T43" fmla="*/ 447675 h 282"/>
                  <a:gd name="T44" fmla="*/ 3587750 w 3701"/>
                  <a:gd name="T45" fmla="*/ 433388 h 282"/>
                  <a:gd name="T46" fmla="*/ 3722688 w 3701"/>
                  <a:gd name="T47" fmla="*/ 209550 h 282"/>
                  <a:gd name="T48" fmla="*/ 2974975 w 3701"/>
                  <a:gd name="T49" fmla="*/ 209550 h 282"/>
                  <a:gd name="T50" fmla="*/ 2809875 w 3701"/>
                  <a:gd name="T51" fmla="*/ 433388 h 282"/>
                  <a:gd name="T52" fmla="*/ 2078038 w 3701"/>
                  <a:gd name="T53" fmla="*/ 433388 h 282"/>
                  <a:gd name="T54" fmla="*/ 2271712 w 3701"/>
                  <a:gd name="T55" fmla="*/ 209550 h 282"/>
                  <a:gd name="T56" fmla="*/ 1554162 w 3701"/>
                  <a:gd name="T57" fmla="*/ 193675 h 282"/>
                  <a:gd name="T58" fmla="*/ 1330325 w 3701"/>
                  <a:gd name="T59" fmla="*/ 433388 h 282"/>
                  <a:gd name="T60" fmla="*/ 477838 w 3701"/>
                  <a:gd name="T61" fmla="*/ 417513 h 282"/>
                  <a:gd name="T62" fmla="*/ 747712 w 3701"/>
                  <a:gd name="T63" fmla="*/ 193675 h 282"/>
                  <a:gd name="T64" fmla="*/ 0 w 3701"/>
                  <a:gd name="T65" fmla="*/ 179387 h 282"/>
                  <a:gd name="T66" fmla="*/ 0 w 3701"/>
                  <a:gd name="T67" fmla="*/ 179387 h 282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w 3701"/>
                  <a:gd name="T103" fmla="*/ 0 h 282"/>
                  <a:gd name="T104" fmla="*/ 3701 w 3701"/>
                  <a:gd name="T105" fmla="*/ 282 h 282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T102" t="T103" r="T104" b="T105"/>
                <a:pathLst>
                  <a:path w="3701" h="282">
                    <a:moveTo>
                      <a:pt x="0" y="113"/>
                    </a:moveTo>
                    <a:lnTo>
                      <a:pt x="179" y="0"/>
                    </a:lnTo>
                    <a:lnTo>
                      <a:pt x="622" y="0"/>
                    </a:lnTo>
                    <a:lnTo>
                      <a:pt x="480" y="122"/>
                    </a:lnTo>
                    <a:lnTo>
                      <a:pt x="979" y="122"/>
                    </a:lnTo>
                    <a:lnTo>
                      <a:pt x="1102" y="9"/>
                    </a:lnTo>
                    <a:lnTo>
                      <a:pt x="1535" y="9"/>
                    </a:lnTo>
                    <a:lnTo>
                      <a:pt x="1431" y="132"/>
                    </a:lnTo>
                    <a:lnTo>
                      <a:pt x="1874" y="132"/>
                    </a:lnTo>
                    <a:lnTo>
                      <a:pt x="1968" y="9"/>
                    </a:lnTo>
                    <a:lnTo>
                      <a:pt x="2411" y="18"/>
                    </a:lnTo>
                    <a:lnTo>
                      <a:pt x="2345" y="132"/>
                    </a:lnTo>
                    <a:lnTo>
                      <a:pt x="2816" y="132"/>
                    </a:lnTo>
                    <a:lnTo>
                      <a:pt x="2863" y="18"/>
                    </a:lnTo>
                    <a:lnTo>
                      <a:pt x="3296" y="18"/>
                    </a:lnTo>
                    <a:lnTo>
                      <a:pt x="3268" y="141"/>
                    </a:lnTo>
                    <a:lnTo>
                      <a:pt x="3701" y="141"/>
                    </a:lnTo>
                    <a:lnTo>
                      <a:pt x="3691" y="282"/>
                    </a:lnTo>
                    <a:lnTo>
                      <a:pt x="3239" y="282"/>
                    </a:lnTo>
                    <a:lnTo>
                      <a:pt x="3268" y="141"/>
                    </a:lnTo>
                    <a:lnTo>
                      <a:pt x="2816" y="132"/>
                    </a:lnTo>
                    <a:lnTo>
                      <a:pt x="2769" y="282"/>
                    </a:lnTo>
                    <a:lnTo>
                      <a:pt x="2260" y="273"/>
                    </a:lnTo>
                    <a:lnTo>
                      <a:pt x="2345" y="132"/>
                    </a:lnTo>
                    <a:lnTo>
                      <a:pt x="1874" y="132"/>
                    </a:lnTo>
                    <a:lnTo>
                      <a:pt x="1770" y="273"/>
                    </a:lnTo>
                    <a:lnTo>
                      <a:pt x="1309" y="273"/>
                    </a:lnTo>
                    <a:lnTo>
                      <a:pt x="1431" y="132"/>
                    </a:lnTo>
                    <a:lnTo>
                      <a:pt x="979" y="122"/>
                    </a:lnTo>
                    <a:lnTo>
                      <a:pt x="838" y="273"/>
                    </a:lnTo>
                    <a:lnTo>
                      <a:pt x="301" y="263"/>
                    </a:lnTo>
                    <a:lnTo>
                      <a:pt x="471" y="122"/>
                    </a:lnTo>
                    <a:lnTo>
                      <a:pt x="0" y="113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>
                  <a:solidFill>
                    <a:sysClr val="windowText" lastClr="000000"/>
                  </a:solidFill>
                  <a:latin typeface="+mn-lt"/>
                  <a:cs typeface="+mn-cs"/>
                </a:endParaRPr>
              </a:p>
            </p:txBody>
          </p:sp>
          <p:sp>
            <p:nvSpPr>
              <p:cNvPr id="384" name="Freeform 156"/>
              <p:cNvSpPr>
                <a:spLocks/>
              </p:cNvSpPr>
              <p:nvPr/>
            </p:nvSpPr>
            <p:spPr bwMode="auto">
              <a:xfrm>
                <a:off x="1238477" y="4794845"/>
                <a:ext cx="6535217" cy="535529"/>
              </a:xfrm>
              <a:custGeom>
                <a:avLst/>
                <a:gdLst>
                  <a:gd name="T0" fmla="*/ 0 w 4115"/>
                  <a:gd name="T1" fmla="*/ 225425 h 340"/>
                  <a:gd name="T2" fmla="*/ 314325 w 4115"/>
                  <a:gd name="T3" fmla="*/ 0 h 340"/>
                  <a:gd name="T4" fmla="*/ 1150937 w 4115"/>
                  <a:gd name="T5" fmla="*/ 0 h 340"/>
                  <a:gd name="T6" fmla="*/ 882650 w 4115"/>
                  <a:gd name="T7" fmla="*/ 225425 h 340"/>
                  <a:gd name="T8" fmla="*/ 1779587 w 4115"/>
                  <a:gd name="T9" fmla="*/ 239713 h 340"/>
                  <a:gd name="T10" fmla="*/ 2003425 w 4115"/>
                  <a:gd name="T11" fmla="*/ 15875 h 340"/>
                  <a:gd name="T12" fmla="*/ 2765424 w 4115"/>
                  <a:gd name="T13" fmla="*/ 15875 h 340"/>
                  <a:gd name="T14" fmla="*/ 2557462 w 4115"/>
                  <a:gd name="T15" fmla="*/ 239713 h 340"/>
                  <a:gd name="T16" fmla="*/ 3319462 w 4115"/>
                  <a:gd name="T17" fmla="*/ 239713 h 340"/>
                  <a:gd name="T18" fmla="*/ 3482975 w 4115"/>
                  <a:gd name="T19" fmla="*/ 15875 h 340"/>
                  <a:gd name="T20" fmla="*/ 4260849 w 4115"/>
                  <a:gd name="T21" fmla="*/ 15875 h 340"/>
                  <a:gd name="T22" fmla="*/ 4141787 w 4115"/>
                  <a:gd name="T23" fmla="*/ 255588 h 340"/>
                  <a:gd name="T24" fmla="*/ 4992686 w 4115"/>
                  <a:gd name="T25" fmla="*/ 255588 h 340"/>
                  <a:gd name="T26" fmla="*/ 5068886 w 4115"/>
                  <a:gd name="T27" fmla="*/ 30163 h 340"/>
                  <a:gd name="T28" fmla="*/ 5815011 w 4115"/>
                  <a:gd name="T29" fmla="*/ 30163 h 340"/>
                  <a:gd name="T30" fmla="*/ 5770561 w 4115"/>
                  <a:gd name="T31" fmla="*/ 269875 h 340"/>
                  <a:gd name="T32" fmla="*/ 6532562 w 4115"/>
                  <a:gd name="T33" fmla="*/ 269875 h 340"/>
                  <a:gd name="T34" fmla="*/ 6518275 w 4115"/>
                  <a:gd name="T35" fmla="*/ 539750 h 340"/>
                  <a:gd name="T36" fmla="*/ 5726111 w 4115"/>
                  <a:gd name="T37" fmla="*/ 523875 h 340"/>
                  <a:gd name="T38" fmla="*/ 5770561 w 4115"/>
                  <a:gd name="T39" fmla="*/ 269875 h 340"/>
                  <a:gd name="T40" fmla="*/ 4992686 w 4115"/>
                  <a:gd name="T41" fmla="*/ 255588 h 340"/>
                  <a:gd name="T42" fmla="*/ 4903786 w 4115"/>
                  <a:gd name="T43" fmla="*/ 509588 h 340"/>
                  <a:gd name="T44" fmla="*/ 3992562 w 4115"/>
                  <a:gd name="T45" fmla="*/ 493713 h 340"/>
                  <a:gd name="T46" fmla="*/ 4141787 w 4115"/>
                  <a:gd name="T47" fmla="*/ 255588 h 340"/>
                  <a:gd name="T48" fmla="*/ 3319462 w 4115"/>
                  <a:gd name="T49" fmla="*/ 239713 h 340"/>
                  <a:gd name="T50" fmla="*/ 3124199 w 4115"/>
                  <a:gd name="T51" fmla="*/ 493713 h 340"/>
                  <a:gd name="T52" fmla="*/ 2362199 w 4115"/>
                  <a:gd name="T53" fmla="*/ 479425 h 340"/>
                  <a:gd name="T54" fmla="*/ 2557462 w 4115"/>
                  <a:gd name="T55" fmla="*/ 239713 h 340"/>
                  <a:gd name="T56" fmla="*/ 1779587 w 4115"/>
                  <a:gd name="T57" fmla="*/ 239713 h 340"/>
                  <a:gd name="T58" fmla="*/ 1555750 w 4115"/>
                  <a:gd name="T59" fmla="*/ 465138 h 340"/>
                  <a:gd name="T60" fmla="*/ 612775 w 4115"/>
                  <a:gd name="T61" fmla="*/ 449263 h 340"/>
                  <a:gd name="T62" fmla="*/ 882650 w 4115"/>
                  <a:gd name="T63" fmla="*/ 225425 h 340"/>
                  <a:gd name="T64" fmla="*/ 0 w 4115"/>
                  <a:gd name="T65" fmla="*/ 225425 h 340"/>
                  <a:gd name="T66" fmla="*/ 0 w 4115"/>
                  <a:gd name="T67" fmla="*/ 225425 h 340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w 4115"/>
                  <a:gd name="T103" fmla="*/ 0 h 340"/>
                  <a:gd name="T104" fmla="*/ 4115 w 4115"/>
                  <a:gd name="T105" fmla="*/ 340 h 340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T102" t="T103" r="T104" b="T105"/>
                <a:pathLst>
                  <a:path w="4115" h="340">
                    <a:moveTo>
                      <a:pt x="0" y="142"/>
                    </a:moveTo>
                    <a:lnTo>
                      <a:pt x="198" y="0"/>
                    </a:lnTo>
                    <a:lnTo>
                      <a:pt x="725" y="0"/>
                    </a:lnTo>
                    <a:lnTo>
                      <a:pt x="556" y="142"/>
                    </a:lnTo>
                    <a:lnTo>
                      <a:pt x="1121" y="151"/>
                    </a:lnTo>
                    <a:lnTo>
                      <a:pt x="1262" y="10"/>
                    </a:lnTo>
                    <a:lnTo>
                      <a:pt x="1742" y="10"/>
                    </a:lnTo>
                    <a:lnTo>
                      <a:pt x="1611" y="151"/>
                    </a:lnTo>
                    <a:lnTo>
                      <a:pt x="2091" y="151"/>
                    </a:lnTo>
                    <a:lnTo>
                      <a:pt x="2194" y="10"/>
                    </a:lnTo>
                    <a:lnTo>
                      <a:pt x="2684" y="10"/>
                    </a:lnTo>
                    <a:lnTo>
                      <a:pt x="2609" y="161"/>
                    </a:lnTo>
                    <a:lnTo>
                      <a:pt x="3145" y="161"/>
                    </a:lnTo>
                    <a:lnTo>
                      <a:pt x="3193" y="19"/>
                    </a:lnTo>
                    <a:lnTo>
                      <a:pt x="3663" y="19"/>
                    </a:lnTo>
                    <a:lnTo>
                      <a:pt x="3635" y="170"/>
                    </a:lnTo>
                    <a:lnTo>
                      <a:pt x="4115" y="170"/>
                    </a:lnTo>
                    <a:lnTo>
                      <a:pt x="4106" y="340"/>
                    </a:lnTo>
                    <a:lnTo>
                      <a:pt x="3607" y="330"/>
                    </a:lnTo>
                    <a:lnTo>
                      <a:pt x="3635" y="170"/>
                    </a:lnTo>
                    <a:lnTo>
                      <a:pt x="3145" y="161"/>
                    </a:lnTo>
                    <a:lnTo>
                      <a:pt x="3089" y="321"/>
                    </a:lnTo>
                    <a:lnTo>
                      <a:pt x="2515" y="311"/>
                    </a:lnTo>
                    <a:lnTo>
                      <a:pt x="2609" y="161"/>
                    </a:lnTo>
                    <a:lnTo>
                      <a:pt x="2091" y="151"/>
                    </a:lnTo>
                    <a:lnTo>
                      <a:pt x="1968" y="311"/>
                    </a:lnTo>
                    <a:lnTo>
                      <a:pt x="1488" y="302"/>
                    </a:lnTo>
                    <a:lnTo>
                      <a:pt x="1611" y="151"/>
                    </a:lnTo>
                    <a:lnTo>
                      <a:pt x="1121" y="151"/>
                    </a:lnTo>
                    <a:lnTo>
                      <a:pt x="980" y="293"/>
                    </a:lnTo>
                    <a:lnTo>
                      <a:pt x="386" y="283"/>
                    </a:lnTo>
                    <a:lnTo>
                      <a:pt x="556" y="142"/>
                    </a:lnTo>
                    <a:lnTo>
                      <a:pt x="0" y="142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>
                  <a:solidFill>
                    <a:sysClr val="windowText" lastClr="000000"/>
                  </a:solidFill>
                  <a:latin typeface="+mn-lt"/>
                  <a:cs typeface="+mn-cs"/>
                </a:endParaRPr>
              </a:p>
            </p:txBody>
          </p:sp>
        </p:grpSp>
        <p:grpSp>
          <p:nvGrpSpPr>
            <p:cNvPr id="118" name="Gruppe 228"/>
            <p:cNvGrpSpPr>
              <a:grpSpLocks/>
            </p:cNvGrpSpPr>
            <p:nvPr/>
          </p:nvGrpSpPr>
          <p:grpSpPr bwMode="auto">
            <a:xfrm>
              <a:off x="5029200" y="2392363"/>
              <a:ext cx="803275" cy="1752600"/>
              <a:chOff x="2862314" y="3048000"/>
              <a:chExt cx="1331675" cy="2908302"/>
            </a:xfrm>
          </p:grpSpPr>
          <p:grpSp>
            <p:nvGrpSpPr>
              <p:cNvPr id="360" name="Gruppe 852"/>
              <p:cNvGrpSpPr>
                <a:grpSpLocks/>
              </p:cNvGrpSpPr>
              <p:nvPr/>
            </p:nvGrpSpPr>
            <p:grpSpPr bwMode="auto">
              <a:xfrm>
                <a:off x="2862314" y="3345678"/>
                <a:ext cx="1331675" cy="2610621"/>
                <a:chOff x="-7886" y="3503467"/>
                <a:chExt cx="1212319" cy="2376633"/>
              </a:xfrm>
            </p:grpSpPr>
            <p:sp>
              <p:nvSpPr>
                <p:cNvPr id="362" name="Ellipse 376"/>
                <p:cNvSpPr/>
                <p:nvPr/>
              </p:nvSpPr>
              <p:spPr bwMode="auto">
                <a:xfrm>
                  <a:off x="107471" y="5572229"/>
                  <a:ext cx="1096962" cy="307871"/>
                </a:xfrm>
                <a:prstGeom prst="ellipse">
                  <a:avLst/>
                </a:prstGeom>
                <a:gradFill flip="none" rotWithShape="1">
                  <a:gsLst>
                    <a:gs pos="24000">
                      <a:sysClr val="windowText" lastClr="000000">
                        <a:alpha val="42000"/>
                      </a:sysClr>
                    </a:gs>
                    <a:gs pos="100000">
                      <a:sysClr val="window" lastClr="FFFFFF">
                        <a:alpha val="0"/>
                      </a:sysClr>
                    </a:gs>
                  </a:gsLst>
                  <a:path path="shape">
                    <a:fillToRect l="50000" t="50000" r="50000" b="50000"/>
                  </a:path>
                  <a:tileRect/>
                </a:gradFill>
                <a:ln w="952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 dirty="0" err="1">
                    <a:solidFill>
                      <a:sysClr val="window" lastClr="FFFFFF"/>
                    </a:solidFill>
                    <a:latin typeface="Calibri"/>
                    <a:ea typeface="ＭＳ Ｐゴシック" pitchFamily="-97" charset="-128"/>
                    <a:cs typeface="+mn-cs"/>
                  </a:endParaRPr>
                </a:p>
              </p:txBody>
            </p:sp>
            <p:grpSp>
              <p:nvGrpSpPr>
                <p:cNvPr id="363" name="Gruppe 822"/>
                <p:cNvGrpSpPr>
                  <a:grpSpLocks/>
                </p:cNvGrpSpPr>
                <p:nvPr/>
              </p:nvGrpSpPr>
              <p:grpSpPr bwMode="auto">
                <a:xfrm>
                  <a:off x="-7886" y="3503467"/>
                  <a:ext cx="1016427" cy="2357450"/>
                  <a:chOff x="-7886" y="3503467"/>
                  <a:chExt cx="1016427" cy="2357450"/>
                </a:xfrm>
              </p:grpSpPr>
              <p:grpSp>
                <p:nvGrpSpPr>
                  <p:cNvPr id="364" name="Gruppe 604"/>
                  <p:cNvGrpSpPr>
                    <a:grpSpLocks/>
                  </p:cNvGrpSpPr>
                  <p:nvPr/>
                </p:nvGrpSpPr>
                <p:grpSpPr bwMode="auto">
                  <a:xfrm>
                    <a:off x="-7886" y="3503467"/>
                    <a:ext cx="970335" cy="2357450"/>
                    <a:chOff x="-7886" y="3503467"/>
                    <a:chExt cx="970335" cy="2357450"/>
                  </a:xfrm>
                </p:grpSpPr>
                <p:sp>
                  <p:nvSpPr>
                    <p:cNvPr id="372" name="Freeform 130"/>
                    <p:cNvSpPr>
                      <a:spLocks/>
                    </p:cNvSpPr>
                    <p:nvPr/>
                  </p:nvSpPr>
                  <p:spPr bwMode="auto">
                    <a:xfrm>
                      <a:off x="-13467" y="3508900"/>
                      <a:ext cx="1001289" cy="2358843"/>
                    </a:xfrm>
                    <a:custGeom>
                      <a:avLst/>
                      <a:gdLst/>
                      <a:ahLst/>
                      <a:cxnLst>
                        <a:cxn ang="0">
                          <a:pos x="145" y="87"/>
                        </a:cxn>
                        <a:cxn ang="0">
                          <a:pos x="99" y="110"/>
                        </a:cxn>
                        <a:cxn ang="0">
                          <a:pos x="93" y="162"/>
                        </a:cxn>
                        <a:cxn ang="0">
                          <a:pos x="158" y="272"/>
                        </a:cxn>
                        <a:cxn ang="0">
                          <a:pos x="138" y="326"/>
                        </a:cxn>
                        <a:cxn ang="0">
                          <a:pos x="89" y="375"/>
                        </a:cxn>
                        <a:cxn ang="0">
                          <a:pos x="70" y="414"/>
                        </a:cxn>
                        <a:cxn ang="0">
                          <a:pos x="94" y="449"/>
                        </a:cxn>
                        <a:cxn ang="0">
                          <a:pos x="168" y="522"/>
                        </a:cxn>
                        <a:cxn ang="0">
                          <a:pos x="150" y="638"/>
                        </a:cxn>
                        <a:cxn ang="0">
                          <a:pos x="115" y="750"/>
                        </a:cxn>
                        <a:cxn ang="0">
                          <a:pos x="70" y="804"/>
                        </a:cxn>
                        <a:cxn ang="0">
                          <a:pos x="53" y="835"/>
                        </a:cxn>
                        <a:cxn ang="0">
                          <a:pos x="75" y="868"/>
                        </a:cxn>
                        <a:cxn ang="0">
                          <a:pos x="34" y="905"/>
                        </a:cxn>
                        <a:cxn ang="0">
                          <a:pos x="8" y="942"/>
                        </a:cxn>
                        <a:cxn ang="0">
                          <a:pos x="15" y="999"/>
                        </a:cxn>
                        <a:cxn ang="0">
                          <a:pos x="0" y="1121"/>
                        </a:cxn>
                        <a:cxn ang="0">
                          <a:pos x="69" y="1163"/>
                        </a:cxn>
                        <a:cxn ang="0">
                          <a:pos x="171" y="1189"/>
                        </a:cxn>
                        <a:cxn ang="0">
                          <a:pos x="285" y="1193"/>
                        </a:cxn>
                        <a:cxn ang="0">
                          <a:pos x="393" y="1175"/>
                        </a:cxn>
                        <a:cxn ang="0">
                          <a:pos x="474" y="1129"/>
                        </a:cxn>
                        <a:cxn ang="0">
                          <a:pos x="484" y="1032"/>
                        </a:cxn>
                        <a:cxn ang="0">
                          <a:pos x="489" y="965"/>
                        </a:cxn>
                        <a:cxn ang="0">
                          <a:pos x="470" y="921"/>
                        </a:cxn>
                        <a:cxn ang="0">
                          <a:pos x="441" y="870"/>
                        </a:cxn>
                        <a:cxn ang="0">
                          <a:pos x="449" y="832"/>
                        </a:cxn>
                        <a:cxn ang="0">
                          <a:pos x="425" y="805"/>
                        </a:cxn>
                        <a:cxn ang="0">
                          <a:pos x="373" y="713"/>
                        </a:cxn>
                        <a:cxn ang="0">
                          <a:pos x="349" y="609"/>
                        </a:cxn>
                        <a:cxn ang="0">
                          <a:pos x="344" y="485"/>
                        </a:cxn>
                        <a:cxn ang="0">
                          <a:pos x="417" y="446"/>
                        </a:cxn>
                        <a:cxn ang="0">
                          <a:pos x="436" y="411"/>
                        </a:cxn>
                        <a:cxn ang="0">
                          <a:pos x="414" y="374"/>
                        </a:cxn>
                        <a:cxn ang="0">
                          <a:pos x="379" y="343"/>
                        </a:cxn>
                        <a:cxn ang="0">
                          <a:pos x="393" y="306"/>
                        </a:cxn>
                        <a:cxn ang="0">
                          <a:pos x="376" y="273"/>
                        </a:cxn>
                        <a:cxn ang="0">
                          <a:pos x="409" y="192"/>
                        </a:cxn>
                        <a:cxn ang="0">
                          <a:pos x="432" y="139"/>
                        </a:cxn>
                        <a:cxn ang="0">
                          <a:pos x="416" y="110"/>
                        </a:cxn>
                        <a:cxn ang="0">
                          <a:pos x="349" y="77"/>
                        </a:cxn>
                        <a:cxn ang="0">
                          <a:pos x="322" y="42"/>
                        </a:cxn>
                        <a:cxn ang="0">
                          <a:pos x="309" y="16"/>
                        </a:cxn>
                        <a:cxn ang="0">
                          <a:pos x="281" y="2"/>
                        </a:cxn>
                        <a:cxn ang="0">
                          <a:pos x="243" y="3"/>
                        </a:cxn>
                        <a:cxn ang="0">
                          <a:pos x="215" y="27"/>
                        </a:cxn>
                      </a:cxnLst>
                      <a:rect l="0" t="0" r="r" b="b"/>
                      <a:pathLst>
                        <a:path w="493" h="1194">
                          <a:moveTo>
                            <a:pt x="208" y="62"/>
                          </a:moveTo>
                          <a:lnTo>
                            <a:pt x="167" y="83"/>
                          </a:lnTo>
                          <a:lnTo>
                            <a:pt x="145" y="87"/>
                          </a:lnTo>
                          <a:lnTo>
                            <a:pt x="125" y="93"/>
                          </a:lnTo>
                          <a:lnTo>
                            <a:pt x="110" y="100"/>
                          </a:lnTo>
                          <a:lnTo>
                            <a:pt x="99" y="110"/>
                          </a:lnTo>
                          <a:lnTo>
                            <a:pt x="92" y="124"/>
                          </a:lnTo>
                          <a:lnTo>
                            <a:pt x="90" y="141"/>
                          </a:lnTo>
                          <a:lnTo>
                            <a:pt x="93" y="162"/>
                          </a:lnTo>
                          <a:lnTo>
                            <a:pt x="104" y="187"/>
                          </a:lnTo>
                          <a:lnTo>
                            <a:pt x="158" y="242"/>
                          </a:lnTo>
                          <a:lnTo>
                            <a:pt x="158" y="272"/>
                          </a:lnTo>
                          <a:lnTo>
                            <a:pt x="140" y="282"/>
                          </a:lnTo>
                          <a:lnTo>
                            <a:pt x="135" y="302"/>
                          </a:lnTo>
                          <a:lnTo>
                            <a:pt x="138" y="326"/>
                          </a:lnTo>
                          <a:lnTo>
                            <a:pt x="147" y="346"/>
                          </a:lnTo>
                          <a:lnTo>
                            <a:pt x="104" y="360"/>
                          </a:lnTo>
                          <a:lnTo>
                            <a:pt x="89" y="375"/>
                          </a:lnTo>
                          <a:lnTo>
                            <a:pt x="77" y="389"/>
                          </a:lnTo>
                          <a:lnTo>
                            <a:pt x="71" y="402"/>
                          </a:lnTo>
                          <a:lnTo>
                            <a:pt x="70" y="414"/>
                          </a:lnTo>
                          <a:lnTo>
                            <a:pt x="74" y="426"/>
                          </a:lnTo>
                          <a:lnTo>
                            <a:pt x="82" y="437"/>
                          </a:lnTo>
                          <a:lnTo>
                            <a:pt x="94" y="449"/>
                          </a:lnTo>
                          <a:lnTo>
                            <a:pt x="113" y="459"/>
                          </a:lnTo>
                          <a:lnTo>
                            <a:pt x="173" y="480"/>
                          </a:lnTo>
                          <a:lnTo>
                            <a:pt x="168" y="522"/>
                          </a:lnTo>
                          <a:lnTo>
                            <a:pt x="162" y="562"/>
                          </a:lnTo>
                          <a:lnTo>
                            <a:pt x="156" y="601"/>
                          </a:lnTo>
                          <a:lnTo>
                            <a:pt x="150" y="638"/>
                          </a:lnTo>
                          <a:lnTo>
                            <a:pt x="140" y="676"/>
                          </a:lnTo>
                          <a:lnTo>
                            <a:pt x="129" y="713"/>
                          </a:lnTo>
                          <a:lnTo>
                            <a:pt x="115" y="750"/>
                          </a:lnTo>
                          <a:lnTo>
                            <a:pt x="98" y="789"/>
                          </a:lnTo>
                          <a:lnTo>
                            <a:pt x="83" y="796"/>
                          </a:lnTo>
                          <a:lnTo>
                            <a:pt x="70" y="804"/>
                          </a:lnTo>
                          <a:lnTo>
                            <a:pt x="61" y="814"/>
                          </a:lnTo>
                          <a:lnTo>
                            <a:pt x="55" y="823"/>
                          </a:lnTo>
                          <a:lnTo>
                            <a:pt x="53" y="835"/>
                          </a:lnTo>
                          <a:lnTo>
                            <a:pt x="55" y="845"/>
                          </a:lnTo>
                          <a:lnTo>
                            <a:pt x="62" y="857"/>
                          </a:lnTo>
                          <a:lnTo>
                            <a:pt x="75" y="868"/>
                          </a:lnTo>
                          <a:lnTo>
                            <a:pt x="78" y="889"/>
                          </a:lnTo>
                          <a:lnTo>
                            <a:pt x="53" y="896"/>
                          </a:lnTo>
                          <a:lnTo>
                            <a:pt x="34" y="905"/>
                          </a:lnTo>
                          <a:lnTo>
                            <a:pt x="21" y="916"/>
                          </a:lnTo>
                          <a:lnTo>
                            <a:pt x="13" y="928"/>
                          </a:lnTo>
                          <a:lnTo>
                            <a:pt x="8" y="942"/>
                          </a:lnTo>
                          <a:lnTo>
                            <a:pt x="8" y="959"/>
                          </a:lnTo>
                          <a:lnTo>
                            <a:pt x="10" y="978"/>
                          </a:lnTo>
                          <a:lnTo>
                            <a:pt x="15" y="999"/>
                          </a:lnTo>
                          <a:lnTo>
                            <a:pt x="19" y="1032"/>
                          </a:lnTo>
                          <a:lnTo>
                            <a:pt x="0" y="1057"/>
                          </a:lnTo>
                          <a:lnTo>
                            <a:pt x="0" y="1121"/>
                          </a:lnTo>
                          <a:lnTo>
                            <a:pt x="18" y="1137"/>
                          </a:lnTo>
                          <a:lnTo>
                            <a:pt x="41" y="1151"/>
                          </a:lnTo>
                          <a:lnTo>
                            <a:pt x="69" y="1163"/>
                          </a:lnTo>
                          <a:lnTo>
                            <a:pt x="101" y="1174"/>
                          </a:lnTo>
                          <a:lnTo>
                            <a:pt x="135" y="1182"/>
                          </a:lnTo>
                          <a:lnTo>
                            <a:pt x="171" y="1189"/>
                          </a:lnTo>
                          <a:lnTo>
                            <a:pt x="208" y="1192"/>
                          </a:lnTo>
                          <a:lnTo>
                            <a:pt x="246" y="1194"/>
                          </a:lnTo>
                          <a:lnTo>
                            <a:pt x="285" y="1193"/>
                          </a:lnTo>
                          <a:lnTo>
                            <a:pt x="322" y="1190"/>
                          </a:lnTo>
                          <a:lnTo>
                            <a:pt x="359" y="1184"/>
                          </a:lnTo>
                          <a:lnTo>
                            <a:pt x="393" y="1175"/>
                          </a:lnTo>
                          <a:lnTo>
                            <a:pt x="424" y="1162"/>
                          </a:lnTo>
                          <a:lnTo>
                            <a:pt x="451" y="1147"/>
                          </a:lnTo>
                          <a:lnTo>
                            <a:pt x="474" y="1129"/>
                          </a:lnTo>
                          <a:lnTo>
                            <a:pt x="493" y="1107"/>
                          </a:lnTo>
                          <a:lnTo>
                            <a:pt x="493" y="1069"/>
                          </a:lnTo>
                          <a:lnTo>
                            <a:pt x="484" y="1032"/>
                          </a:lnTo>
                          <a:lnTo>
                            <a:pt x="487" y="1005"/>
                          </a:lnTo>
                          <a:lnTo>
                            <a:pt x="489" y="984"/>
                          </a:lnTo>
                          <a:lnTo>
                            <a:pt x="489" y="965"/>
                          </a:lnTo>
                          <a:lnTo>
                            <a:pt x="486" y="950"/>
                          </a:lnTo>
                          <a:lnTo>
                            <a:pt x="480" y="936"/>
                          </a:lnTo>
                          <a:lnTo>
                            <a:pt x="470" y="921"/>
                          </a:lnTo>
                          <a:lnTo>
                            <a:pt x="454" y="906"/>
                          </a:lnTo>
                          <a:lnTo>
                            <a:pt x="433" y="888"/>
                          </a:lnTo>
                          <a:lnTo>
                            <a:pt x="441" y="870"/>
                          </a:lnTo>
                          <a:lnTo>
                            <a:pt x="446" y="855"/>
                          </a:lnTo>
                          <a:lnTo>
                            <a:pt x="449" y="842"/>
                          </a:lnTo>
                          <a:lnTo>
                            <a:pt x="449" y="832"/>
                          </a:lnTo>
                          <a:lnTo>
                            <a:pt x="444" y="823"/>
                          </a:lnTo>
                          <a:lnTo>
                            <a:pt x="438" y="814"/>
                          </a:lnTo>
                          <a:lnTo>
                            <a:pt x="425" y="805"/>
                          </a:lnTo>
                          <a:lnTo>
                            <a:pt x="409" y="793"/>
                          </a:lnTo>
                          <a:lnTo>
                            <a:pt x="389" y="751"/>
                          </a:lnTo>
                          <a:lnTo>
                            <a:pt x="373" y="713"/>
                          </a:lnTo>
                          <a:lnTo>
                            <a:pt x="362" y="677"/>
                          </a:lnTo>
                          <a:lnTo>
                            <a:pt x="355" y="644"/>
                          </a:lnTo>
                          <a:lnTo>
                            <a:pt x="349" y="609"/>
                          </a:lnTo>
                          <a:lnTo>
                            <a:pt x="345" y="572"/>
                          </a:lnTo>
                          <a:lnTo>
                            <a:pt x="344" y="531"/>
                          </a:lnTo>
                          <a:lnTo>
                            <a:pt x="344" y="485"/>
                          </a:lnTo>
                          <a:lnTo>
                            <a:pt x="379" y="471"/>
                          </a:lnTo>
                          <a:lnTo>
                            <a:pt x="404" y="455"/>
                          </a:lnTo>
                          <a:lnTo>
                            <a:pt x="417" y="446"/>
                          </a:lnTo>
                          <a:lnTo>
                            <a:pt x="426" y="435"/>
                          </a:lnTo>
                          <a:lnTo>
                            <a:pt x="433" y="423"/>
                          </a:lnTo>
                          <a:lnTo>
                            <a:pt x="436" y="411"/>
                          </a:lnTo>
                          <a:lnTo>
                            <a:pt x="434" y="398"/>
                          </a:lnTo>
                          <a:lnTo>
                            <a:pt x="427" y="386"/>
                          </a:lnTo>
                          <a:lnTo>
                            <a:pt x="414" y="374"/>
                          </a:lnTo>
                          <a:lnTo>
                            <a:pt x="394" y="364"/>
                          </a:lnTo>
                          <a:lnTo>
                            <a:pt x="368" y="356"/>
                          </a:lnTo>
                          <a:lnTo>
                            <a:pt x="379" y="343"/>
                          </a:lnTo>
                          <a:lnTo>
                            <a:pt x="386" y="330"/>
                          </a:lnTo>
                          <a:lnTo>
                            <a:pt x="390" y="318"/>
                          </a:lnTo>
                          <a:lnTo>
                            <a:pt x="393" y="306"/>
                          </a:lnTo>
                          <a:lnTo>
                            <a:pt x="390" y="295"/>
                          </a:lnTo>
                          <a:lnTo>
                            <a:pt x="386" y="283"/>
                          </a:lnTo>
                          <a:lnTo>
                            <a:pt x="376" y="273"/>
                          </a:lnTo>
                          <a:lnTo>
                            <a:pt x="364" y="261"/>
                          </a:lnTo>
                          <a:lnTo>
                            <a:pt x="389" y="227"/>
                          </a:lnTo>
                          <a:lnTo>
                            <a:pt x="409" y="192"/>
                          </a:lnTo>
                          <a:lnTo>
                            <a:pt x="420" y="170"/>
                          </a:lnTo>
                          <a:lnTo>
                            <a:pt x="428" y="153"/>
                          </a:lnTo>
                          <a:lnTo>
                            <a:pt x="432" y="139"/>
                          </a:lnTo>
                          <a:lnTo>
                            <a:pt x="432" y="128"/>
                          </a:lnTo>
                          <a:lnTo>
                            <a:pt x="426" y="118"/>
                          </a:lnTo>
                          <a:lnTo>
                            <a:pt x="416" y="110"/>
                          </a:lnTo>
                          <a:lnTo>
                            <a:pt x="400" y="102"/>
                          </a:lnTo>
                          <a:lnTo>
                            <a:pt x="378" y="92"/>
                          </a:lnTo>
                          <a:lnTo>
                            <a:pt x="349" y="77"/>
                          </a:lnTo>
                          <a:lnTo>
                            <a:pt x="320" y="68"/>
                          </a:lnTo>
                          <a:lnTo>
                            <a:pt x="322" y="54"/>
                          </a:lnTo>
                          <a:lnTo>
                            <a:pt x="322" y="42"/>
                          </a:lnTo>
                          <a:lnTo>
                            <a:pt x="320" y="32"/>
                          </a:lnTo>
                          <a:lnTo>
                            <a:pt x="315" y="23"/>
                          </a:lnTo>
                          <a:lnTo>
                            <a:pt x="309" y="16"/>
                          </a:lnTo>
                          <a:lnTo>
                            <a:pt x="300" y="10"/>
                          </a:lnTo>
                          <a:lnTo>
                            <a:pt x="291" y="5"/>
                          </a:lnTo>
                          <a:lnTo>
                            <a:pt x="281" y="2"/>
                          </a:lnTo>
                          <a:lnTo>
                            <a:pt x="268" y="0"/>
                          </a:lnTo>
                          <a:lnTo>
                            <a:pt x="256" y="1"/>
                          </a:lnTo>
                          <a:lnTo>
                            <a:pt x="243" y="3"/>
                          </a:lnTo>
                          <a:lnTo>
                            <a:pt x="233" y="8"/>
                          </a:lnTo>
                          <a:lnTo>
                            <a:pt x="222" y="16"/>
                          </a:lnTo>
                          <a:lnTo>
                            <a:pt x="215" y="27"/>
                          </a:lnTo>
                          <a:lnTo>
                            <a:pt x="211" y="42"/>
                          </a:lnTo>
                          <a:lnTo>
                            <a:pt x="208" y="62"/>
                          </a:lnTo>
                          <a:close/>
                        </a:path>
                      </a:pathLst>
                    </a:custGeom>
                    <a:gradFill flip="none" rotWithShape="1">
                      <a:gsLst>
                        <a:gs pos="100000">
                          <a:srgbClr val="E6E6E6"/>
                        </a:gs>
                        <a:gs pos="44000">
                          <a:srgbClr val="080808"/>
                        </a:gs>
                        <a:gs pos="48000">
                          <a:srgbClr val="080808"/>
                        </a:gs>
                      </a:gsLst>
                      <a:lin ang="0" scaled="1"/>
                      <a:tileRect/>
                    </a:gradFill>
                    <a:ln w="9525" cap="flat" cmpd="sng" algn="ctr">
                      <a:noFill/>
                      <a:prstDash val="solid"/>
                    </a:ln>
                    <a:effectLst>
                      <a:outerShdw blurRad="40000" dist="23000" dir="5400000" rotWithShape="0">
                        <a:srgbClr val="000000">
                          <a:alpha val="35000"/>
                        </a:srgbClr>
                      </a:outerShdw>
                    </a:effectLst>
                  </p:spPr>
                  <p:txBody>
                    <a:bodyPr anchor="ctr"/>
                    <a:lstStyle/>
                    <a:p>
                      <a:pPr algn="ctr" fontAlgn="auto">
                        <a:spcBef>
                          <a:spcPts val="0"/>
                        </a:spcBef>
                        <a:spcAft>
                          <a:spcPts val="0"/>
                        </a:spcAft>
                        <a:defRPr/>
                      </a:pPr>
                      <a:endParaRPr lang="da-DK" kern="0">
                        <a:solidFill>
                          <a:sysClr val="window" lastClr="FFFFFF"/>
                        </a:solidFill>
                        <a:latin typeface="Calibri"/>
                        <a:cs typeface="+mn-cs"/>
                      </a:endParaRPr>
                    </a:p>
                  </p:txBody>
                </p:sp>
                <p:sp>
                  <p:nvSpPr>
                    <p:cNvPr id="373" name="Freeform 131"/>
                    <p:cNvSpPr>
                      <a:spLocks/>
                    </p:cNvSpPr>
                    <p:nvPr/>
                  </p:nvSpPr>
                  <p:spPr bwMode="auto">
                    <a:xfrm>
                      <a:off x="326595" y="3637893"/>
                      <a:ext cx="396733" cy="110571"/>
                    </a:xfrm>
                    <a:custGeom>
                      <a:avLst/>
                      <a:gdLst/>
                      <a:ahLst/>
                      <a:cxnLst>
                        <a:cxn ang="0">
                          <a:pos x="13" y="8"/>
                        </a:cxn>
                        <a:cxn ang="0">
                          <a:pos x="0" y="22"/>
                        </a:cxn>
                        <a:cxn ang="0">
                          <a:pos x="8" y="43"/>
                        </a:cxn>
                        <a:cxn ang="0">
                          <a:pos x="28" y="49"/>
                        </a:cxn>
                        <a:cxn ang="0">
                          <a:pos x="53" y="54"/>
                        </a:cxn>
                        <a:cxn ang="0">
                          <a:pos x="81" y="58"/>
                        </a:cxn>
                        <a:cxn ang="0">
                          <a:pos x="108" y="56"/>
                        </a:cxn>
                        <a:cxn ang="0">
                          <a:pos x="135" y="53"/>
                        </a:cxn>
                        <a:cxn ang="0">
                          <a:pos x="159" y="46"/>
                        </a:cxn>
                        <a:cxn ang="0">
                          <a:pos x="176" y="33"/>
                        </a:cxn>
                        <a:cxn ang="0">
                          <a:pos x="185" y="16"/>
                        </a:cxn>
                        <a:cxn ang="0">
                          <a:pos x="160" y="6"/>
                        </a:cxn>
                        <a:cxn ang="0">
                          <a:pos x="144" y="0"/>
                        </a:cxn>
                        <a:cxn ang="0">
                          <a:pos x="139" y="15"/>
                        </a:cxn>
                        <a:cxn ang="0">
                          <a:pos x="127" y="24"/>
                        </a:cxn>
                        <a:cxn ang="0">
                          <a:pos x="109" y="29"/>
                        </a:cxn>
                        <a:cxn ang="0">
                          <a:pos x="89" y="29"/>
                        </a:cxn>
                        <a:cxn ang="0">
                          <a:pos x="68" y="25"/>
                        </a:cxn>
                        <a:cxn ang="0">
                          <a:pos x="51" y="20"/>
                        </a:cxn>
                        <a:cxn ang="0">
                          <a:pos x="38" y="11"/>
                        </a:cxn>
                        <a:cxn ang="0">
                          <a:pos x="33" y="1"/>
                        </a:cxn>
                        <a:cxn ang="0">
                          <a:pos x="13" y="8"/>
                        </a:cxn>
                      </a:cxnLst>
                      <a:rect l="0" t="0" r="r" b="b"/>
                      <a:pathLst>
                        <a:path w="185" h="58">
                          <a:moveTo>
                            <a:pt x="13" y="8"/>
                          </a:moveTo>
                          <a:lnTo>
                            <a:pt x="0" y="22"/>
                          </a:lnTo>
                          <a:lnTo>
                            <a:pt x="8" y="43"/>
                          </a:lnTo>
                          <a:lnTo>
                            <a:pt x="28" y="49"/>
                          </a:lnTo>
                          <a:lnTo>
                            <a:pt x="53" y="54"/>
                          </a:lnTo>
                          <a:lnTo>
                            <a:pt x="81" y="58"/>
                          </a:lnTo>
                          <a:lnTo>
                            <a:pt x="108" y="56"/>
                          </a:lnTo>
                          <a:lnTo>
                            <a:pt x="135" y="53"/>
                          </a:lnTo>
                          <a:lnTo>
                            <a:pt x="159" y="46"/>
                          </a:lnTo>
                          <a:lnTo>
                            <a:pt x="176" y="33"/>
                          </a:lnTo>
                          <a:lnTo>
                            <a:pt x="185" y="16"/>
                          </a:lnTo>
                          <a:lnTo>
                            <a:pt x="160" y="6"/>
                          </a:lnTo>
                          <a:lnTo>
                            <a:pt x="144" y="0"/>
                          </a:lnTo>
                          <a:lnTo>
                            <a:pt x="139" y="15"/>
                          </a:lnTo>
                          <a:lnTo>
                            <a:pt x="127" y="24"/>
                          </a:lnTo>
                          <a:lnTo>
                            <a:pt x="109" y="29"/>
                          </a:lnTo>
                          <a:lnTo>
                            <a:pt x="89" y="29"/>
                          </a:lnTo>
                          <a:lnTo>
                            <a:pt x="68" y="25"/>
                          </a:lnTo>
                          <a:lnTo>
                            <a:pt x="51" y="20"/>
                          </a:lnTo>
                          <a:lnTo>
                            <a:pt x="38" y="11"/>
                          </a:lnTo>
                          <a:lnTo>
                            <a:pt x="33" y="1"/>
                          </a:lnTo>
                          <a:lnTo>
                            <a:pt x="13" y="8"/>
                          </a:lnTo>
                          <a:close/>
                        </a:path>
                      </a:pathLst>
                    </a:custGeom>
                    <a:solidFill>
                      <a:srgbClr val="E6E6E6">
                        <a:lumMod val="10000"/>
                      </a:srgbClr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pPr fontAlgn="auto">
                        <a:spcBef>
                          <a:spcPts val="0"/>
                        </a:spcBef>
                        <a:spcAft>
                          <a:spcPts val="0"/>
                        </a:spcAft>
                        <a:defRPr/>
                      </a:pPr>
                      <a:endParaRPr lang="da-DK" kern="0">
                        <a:solidFill>
                          <a:sysClr val="windowText" lastClr="000000"/>
                        </a:solidFill>
                        <a:latin typeface="+mn-lt"/>
                        <a:ea typeface="ＭＳ Ｐゴシック" pitchFamily="-97" charset="-128"/>
                        <a:cs typeface="+mn-cs"/>
                      </a:endParaRPr>
                    </a:p>
                  </p:txBody>
                </p:sp>
                <p:sp>
                  <p:nvSpPr>
                    <p:cNvPr id="374" name="Freeform 132"/>
                    <p:cNvSpPr>
                      <a:spLocks/>
                    </p:cNvSpPr>
                    <p:nvPr/>
                  </p:nvSpPr>
                  <p:spPr bwMode="auto">
                    <a:xfrm>
                      <a:off x="175456" y="3693184"/>
                      <a:ext cx="699011" cy="221142"/>
                    </a:xfrm>
                    <a:custGeom>
                      <a:avLst/>
                      <a:gdLst/>
                      <a:ahLst/>
                      <a:cxnLst>
                        <a:cxn ang="0">
                          <a:pos x="32" y="10"/>
                        </a:cxn>
                        <a:cxn ang="0">
                          <a:pos x="1" y="26"/>
                        </a:cxn>
                        <a:cxn ang="0">
                          <a:pos x="0" y="43"/>
                        </a:cxn>
                        <a:cxn ang="0">
                          <a:pos x="3" y="60"/>
                        </a:cxn>
                        <a:cxn ang="0">
                          <a:pos x="14" y="71"/>
                        </a:cxn>
                        <a:cxn ang="0">
                          <a:pos x="27" y="81"/>
                        </a:cxn>
                        <a:cxn ang="0">
                          <a:pos x="46" y="90"/>
                        </a:cxn>
                        <a:cxn ang="0">
                          <a:pos x="67" y="95"/>
                        </a:cxn>
                        <a:cxn ang="0">
                          <a:pos x="91" y="100"/>
                        </a:cxn>
                        <a:cxn ang="0">
                          <a:pos x="117" y="102"/>
                        </a:cxn>
                        <a:cxn ang="0">
                          <a:pos x="144" y="102"/>
                        </a:cxn>
                        <a:cxn ang="0">
                          <a:pos x="171" y="102"/>
                        </a:cxn>
                        <a:cxn ang="0">
                          <a:pos x="199" y="100"/>
                        </a:cxn>
                        <a:cxn ang="0">
                          <a:pos x="225" y="98"/>
                        </a:cxn>
                        <a:cxn ang="0">
                          <a:pos x="251" y="94"/>
                        </a:cxn>
                        <a:cxn ang="0">
                          <a:pos x="273" y="90"/>
                        </a:cxn>
                        <a:cxn ang="0">
                          <a:pos x="292" y="85"/>
                        </a:cxn>
                        <a:cxn ang="0">
                          <a:pos x="308" y="79"/>
                        </a:cxn>
                        <a:cxn ang="0">
                          <a:pos x="319" y="71"/>
                        </a:cxn>
                        <a:cxn ang="0">
                          <a:pos x="326" y="61"/>
                        </a:cxn>
                        <a:cxn ang="0">
                          <a:pos x="329" y="50"/>
                        </a:cxn>
                        <a:cxn ang="0">
                          <a:pos x="329" y="39"/>
                        </a:cxn>
                        <a:cxn ang="0">
                          <a:pos x="325" y="28"/>
                        </a:cxn>
                        <a:cxn ang="0">
                          <a:pos x="316" y="18"/>
                        </a:cxn>
                        <a:cxn ang="0">
                          <a:pos x="303" y="8"/>
                        </a:cxn>
                        <a:cxn ang="0">
                          <a:pos x="285" y="0"/>
                        </a:cxn>
                        <a:cxn ang="0">
                          <a:pos x="269" y="18"/>
                        </a:cxn>
                        <a:cxn ang="0">
                          <a:pos x="252" y="31"/>
                        </a:cxn>
                        <a:cxn ang="0">
                          <a:pos x="234" y="39"/>
                        </a:cxn>
                        <a:cxn ang="0">
                          <a:pos x="215" y="43"/>
                        </a:cxn>
                        <a:cxn ang="0">
                          <a:pos x="194" y="45"/>
                        </a:cxn>
                        <a:cxn ang="0">
                          <a:pos x="173" y="43"/>
                        </a:cxn>
                        <a:cxn ang="0">
                          <a:pos x="148" y="41"/>
                        </a:cxn>
                        <a:cxn ang="0">
                          <a:pos x="122" y="40"/>
                        </a:cxn>
                        <a:cxn ang="0">
                          <a:pos x="67" y="30"/>
                        </a:cxn>
                        <a:cxn ang="0">
                          <a:pos x="49" y="3"/>
                        </a:cxn>
                        <a:cxn ang="0">
                          <a:pos x="32" y="10"/>
                        </a:cxn>
                      </a:cxnLst>
                      <a:rect l="0" t="0" r="r" b="b"/>
                      <a:pathLst>
                        <a:path w="329" h="102">
                          <a:moveTo>
                            <a:pt x="32" y="10"/>
                          </a:moveTo>
                          <a:lnTo>
                            <a:pt x="1" y="26"/>
                          </a:lnTo>
                          <a:lnTo>
                            <a:pt x="0" y="43"/>
                          </a:lnTo>
                          <a:lnTo>
                            <a:pt x="3" y="60"/>
                          </a:lnTo>
                          <a:lnTo>
                            <a:pt x="14" y="71"/>
                          </a:lnTo>
                          <a:lnTo>
                            <a:pt x="27" y="81"/>
                          </a:lnTo>
                          <a:lnTo>
                            <a:pt x="46" y="90"/>
                          </a:lnTo>
                          <a:lnTo>
                            <a:pt x="67" y="95"/>
                          </a:lnTo>
                          <a:lnTo>
                            <a:pt x="91" y="100"/>
                          </a:lnTo>
                          <a:lnTo>
                            <a:pt x="117" y="102"/>
                          </a:lnTo>
                          <a:lnTo>
                            <a:pt x="144" y="102"/>
                          </a:lnTo>
                          <a:lnTo>
                            <a:pt x="171" y="102"/>
                          </a:lnTo>
                          <a:lnTo>
                            <a:pt x="199" y="100"/>
                          </a:lnTo>
                          <a:lnTo>
                            <a:pt x="225" y="98"/>
                          </a:lnTo>
                          <a:lnTo>
                            <a:pt x="251" y="94"/>
                          </a:lnTo>
                          <a:lnTo>
                            <a:pt x="273" y="90"/>
                          </a:lnTo>
                          <a:lnTo>
                            <a:pt x="292" y="85"/>
                          </a:lnTo>
                          <a:lnTo>
                            <a:pt x="308" y="79"/>
                          </a:lnTo>
                          <a:lnTo>
                            <a:pt x="319" y="71"/>
                          </a:lnTo>
                          <a:lnTo>
                            <a:pt x="326" y="61"/>
                          </a:lnTo>
                          <a:lnTo>
                            <a:pt x="329" y="50"/>
                          </a:lnTo>
                          <a:lnTo>
                            <a:pt x="329" y="39"/>
                          </a:lnTo>
                          <a:lnTo>
                            <a:pt x="325" y="28"/>
                          </a:lnTo>
                          <a:lnTo>
                            <a:pt x="316" y="18"/>
                          </a:lnTo>
                          <a:lnTo>
                            <a:pt x="303" y="8"/>
                          </a:lnTo>
                          <a:lnTo>
                            <a:pt x="285" y="0"/>
                          </a:lnTo>
                          <a:lnTo>
                            <a:pt x="269" y="18"/>
                          </a:lnTo>
                          <a:lnTo>
                            <a:pt x="252" y="31"/>
                          </a:lnTo>
                          <a:lnTo>
                            <a:pt x="234" y="39"/>
                          </a:lnTo>
                          <a:lnTo>
                            <a:pt x="215" y="43"/>
                          </a:lnTo>
                          <a:lnTo>
                            <a:pt x="194" y="45"/>
                          </a:lnTo>
                          <a:lnTo>
                            <a:pt x="173" y="43"/>
                          </a:lnTo>
                          <a:lnTo>
                            <a:pt x="148" y="41"/>
                          </a:lnTo>
                          <a:lnTo>
                            <a:pt x="122" y="40"/>
                          </a:lnTo>
                          <a:lnTo>
                            <a:pt x="67" y="30"/>
                          </a:lnTo>
                          <a:lnTo>
                            <a:pt x="49" y="3"/>
                          </a:lnTo>
                          <a:lnTo>
                            <a:pt x="32" y="10"/>
                          </a:lnTo>
                          <a:close/>
                        </a:path>
                      </a:pathLst>
                    </a:custGeom>
                    <a:solidFill>
                      <a:srgbClr val="E6E6E6">
                        <a:lumMod val="10000"/>
                      </a:srgbClr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pPr fontAlgn="auto">
                        <a:spcBef>
                          <a:spcPts val="0"/>
                        </a:spcBef>
                        <a:spcAft>
                          <a:spcPts val="0"/>
                        </a:spcAft>
                        <a:defRPr/>
                      </a:pPr>
                      <a:endParaRPr lang="da-DK" kern="0">
                        <a:solidFill>
                          <a:sysClr val="windowText" lastClr="000000"/>
                        </a:solidFill>
                        <a:latin typeface="+mn-lt"/>
                        <a:ea typeface="ＭＳ Ｐゴシック" pitchFamily="-97" charset="-128"/>
                        <a:cs typeface="+mn-cs"/>
                      </a:endParaRPr>
                    </a:p>
                  </p:txBody>
                </p:sp>
                <p:sp>
                  <p:nvSpPr>
                    <p:cNvPr id="375" name="Freeform 133"/>
                    <p:cNvSpPr>
                      <a:spLocks/>
                    </p:cNvSpPr>
                    <p:nvPr/>
                  </p:nvSpPr>
                  <p:spPr bwMode="auto">
                    <a:xfrm>
                      <a:off x="364380" y="4117033"/>
                      <a:ext cx="415632" cy="73714"/>
                    </a:xfrm>
                    <a:custGeom>
                      <a:avLst/>
                      <a:gdLst/>
                      <a:ahLst/>
                      <a:cxnLst>
                        <a:cxn ang="0">
                          <a:pos x="12" y="0"/>
                        </a:cxn>
                        <a:cxn ang="0">
                          <a:pos x="24" y="6"/>
                        </a:cxn>
                        <a:cxn ang="0">
                          <a:pos x="35" y="12"/>
                        </a:cxn>
                        <a:cxn ang="0">
                          <a:pos x="47" y="15"/>
                        </a:cxn>
                        <a:cxn ang="0">
                          <a:pos x="58" y="17"/>
                        </a:cxn>
                        <a:cxn ang="0">
                          <a:pos x="70" y="20"/>
                        </a:cxn>
                        <a:cxn ang="0">
                          <a:pos x="82" y="21"/>
                        </a:cxn>
                        <a:cxn ang="0">
                          <a:pos x="94" y="22"/>
                        </a:cxn>
                        <a:cxn ang="0">
                          <a:pos x="106" y="21"/>
                        </a:cxn>
                        <a:cxn ang="0">
                          <a:pos x="119" y="20"/>
                        </a:cxn>
                        <a:cxn ang="0">
                          <a:pos x="131" y="19"/>
                        </a:cxn>
                        <a:cxn ang="0">
                          <a:pos x="143" y="16"/>
                        </a:cxn>
                        <a:cxn ang="0">
                          <a:pos x="156" y="14"/>
                        </a:cxn>
                        <a:cxn ang="0">
                          <a:pos x="167" y="12"/>
                        </a:cxn>
                        <a:cxn ang="0">
                          <a:pos x="180" y="8"/>
                        </a:cxn>
                        <a:cxn ang="0">
                          <a:pos x="192" y="6"/>
                        </a:cxn>
                        <a:cxn ang="0">
                          <a:pos x="204" y="2"/>
                        </a:cxn>
                        <a:cxn ang="0">
                          <a:pos x="204" y="14"/>
                        </a:cxn>
                        <a:cxn ang="0">
                          <a:pos x="196" y="17"/>
                        </a:cxn>
                        <a:cxn ang="0">
                          <a:pos x="188" y="21"/>
                        </a:cxn>
                        <a:cxn ang="0">
                          <a:pos x="178" y="24"/>
                        </a:cxn>
                        <a:cxn ang="0">
                          <a:pos x="167" y="27"/>
                        </a:cxn>
                        <a:cxn ang="0">
                          <a:pos x="155" y="30"/>
                        </a:cxn>
                        <a:cxn ang="0">
                          <a:pos x="143" y="32"/>
                        </a:cxn>
                        <a:cxn ang="0">
                          <a:pos x="129" y="35"/>
                        </a:cxn>
                        <a:cxn ang="0">
                          <a:pos x="117" y="37"/>
                        </a:cxn>
                        <a:cxn ang="0">
                          <a:pos x="102" y="37"/>
                        </a:cxn>
                        <a:cxn ang="0">
                          <a:pos x="88" y="37"/>
                        </a:cxn>
                        <a:cxn ang="0">
                          <a:pos x="73" y="36"/>
                        </a:cxn>
                        <a:cxn ang="0">
                          <a:pos x="58" y="34"/>
                        </a:cxn>
                        <a:cxn ang="0">
                          <a:pos x="44" y="29"/>
                        </a:cxn>
                        <a:cxn ang="0">
                          <a:pos x="29" y="24"/>
                        </a:cxn>
                        <a:cxn ang="0">
                          <a:pos x="14" y="17"/>
                        </a:cxn>
                        <a:cxn ang="0">
                          <a:pos x="0" y="8"/>
                        </a:cxn>
                        <a:cxn ang="0">
                          <a:pos x="12" y="0"/>
                        </a:cxn>
                      </a:cxnLst>
                      <a:rect l="0" t="0" r="r" b="b"/>
                      <a:pathLst>
                        <a:path w="204" h="37">
                          <a:moveTo>
                            <a:pt x="12" y="0"/>
                          </a:moveTo>
                          <a:lnTo>
                            <a:pt x="24" y="6"/>
                          </a:lnTo>
                          <a:lnTo>
                            <a:pt x="35" y="12"/>
                          </a:lnTo>
                          <a:lnTo>
                            <a:pt x="47" y="15"/>
                          </a:lnTo>
                          <a:lnTo>
                            <a:pt x="58" y="17"/>
                          </a:lnTo>
                          <a:lnTo>
                            <a:pt x="70" y="20"/>
                          </a:lnTo>
                          <a:lnTo>
                            <a:pt x="82" y="21"/>
                          </a:lnTo>
                          <a:lnTo>
                            <a:pt x="94" y="22"/>
                          </a:lnTo>
                          <a:lnTo>
                            <a:pt x="106" y="21"/>
                          </a:lnTo>
                          <a:lnTo>
                            <a:pt x="119" y="20"/>
                          </a:lnTo>
                          <a:lnTo>
                            <a:pt x="131" y="19"/>
                          </a:lnTo>
                          <a:lnTo>
                            <a:pt x="143" y="16"/>
                          </a:lnTo>
                          <a:lnTo>
                            <a:pt x="156" y="14"/>
                          </a:lnTo>
                          <a:lnTo>
                            <a:pt x="167" y="12"/>
                          </a:lnTo>
                          <a:lnTo>
                            <a:pt x="180" y="8"/>
                          </a:lnTo>
                          <a:lnTo>
                            <a:pt x="192" y="6"/>
                          </a:lnTo>
                          <a:lnTo>
                            <a:pt x="204" y="2"/>
                          </a:lnTo>
                          <a:lnTo>
                            <a:pt x="204" y="14"/>
                          </a:lnTo>
                          <a:lnTo>
                            <a:pt x="196" y="17"/>
                          </a:lnTo>
                          <a:lnTo>
                            <a:pt x="188" y="21"/>
                          </a:lnTo>
                          <a:lnTo>
                            <a:pt x="178" y="24"/>
                          </a:lnTo>
                          <a:lnTo>
                            <a:pt x="167" y="27"/>
                          </a:lnTo>
                          <a:lnTo>
                            <a:pt x="155" y="30"/>
                          </a:lnTo>
                          <a:lnTo>
                            <a:pt x="143" y="32"/>
                          </a:lnTo>
                          <a:lnTo>
                            <a:pt x="129" y="35"/>
                          </a:lnTo>
                          <a:lnTo>
                            <a:pt x="117" y="37"/>
                          </a:lnTo>
                          <a:lnTo>
                            <a:pt x="102" y="37"/>
                          </a:lnTo>
                          <a:lnTo>
                            <a:pt x="88" y="37"/>
                          </a:lnTo>
                          <a:lnTo>
                            <a:pt x="73" y="36"/>
                          </a:lnTo>
                          <a:lnTo>
                            <a:pt x="58" y="34"/>
                          </a:lnTo>
                          <a:lnTo>
                            <a:pt x="44" y="29"/>
                          </a:lnTo>
                          <a:lnTo>
                            <a:pt x="29" y="24"/>
                          </a:lnTo>
                          <a:lnTo>
                            <a:pt x="14" y="17"/>
                          </a:lnTo>
                          <a:lnTo>
                            <a:pt x="0" y="8"/>
                          </a:lnTo>
                          <a:lnTo>
                            <a:pt x="12" y="0"/>
                          </a:lnTo>
                          <a:close/>
                        </a:path>
                      </a:pathLst>
                    </a:custGeom>
                    <a:solidFill>
                      <a:srgbClr val="E6E6E6">
                        <a:lumMod val="10000"/>
                      </a:srgbClr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pPr fontAlgn="auto">
                        <a:spcBef>
                          <a:spcPts val="0"/>
                        </a:spcBef>
                        <a:spcAft>
                          <a:spcPts val="0"/>
                        </a:spcAft>
                        <a:defRPr/>
                      </a:pPr>
                      <a:endParaRPr lang="da-DK" kern="0">
                        <a:solidFill>
                          <a:sysClr val="windowText" lastClr="000000"/>
                        </a:solidFill>
                        <a:latin typeface="+mn-lt"/>
                        <a:ea typeface="ＭＳ Ｐゴシック" pitchFamily="-97" charset="-128"/>
                        <a:cs typeface="+mn-cs"/>
                      </a:endParaRPr>
                    </a:p>
                  </p:txBody>
                </p:sp>
                <p:sp>
                  <p:nvSpPr>
                    <p:cNvPr id="376" name="Freeform 135"/>
                    <p:cNvSpPr>
                      <a:spLocks/>
                    </p:cNvSpPr>
                    <p:nvPr/>
                  </p:nvSpPr>
                  <p:spPr bwMode="auto">
                    <a:xfrm>
                      <a:off x="137671" y="4227604"/>
                      <a:ext cx="736796" cy="202719"/>
                    </a:xfrm>
                    <a:custGeom>
                      <a:avLst/>
                      <a:gdLst/>
                      <a:ahLst/>
                      <a:cxnLst>
                        <a:cxn ang="0">
                          <a:pos x="40" y="0"/>
                        </a:cxn>
                        <a:cxn ang="0">
                          <a:pos x="19" y="9"/>
                        </a:cxn>
                        <a:cxn ang="0">
                          <a:pos x="6" y="20"/>
                        </a:cxn>
                        <a:cxn ang="0">
                          <a:pos x="0" y="30"/>
                        </a:cxn>
                        <a:cxn ang="0">
                          <a:pos x="0" y="42"/>
                        </a:cxn>
                        <a:cxn ang="0">
                          <a:pos x="7" y="53"/>
                        </a:cxn>
                        <a:cxn ang="0">
                          <a:pos x="17" y="65"/>
                        </a:cxn>
                        <a:cxn ang="0">
                          <a:pos x="32" y="75"/>
                        </a:cxn>
                        <a:cxn ang="0">
                          <a:pos x="50" y="85"/>
                        </a:cxn>
                        <a:cxn ang="0">
                          <a:pos x="66" y="89"/>
                        </a:cxn>
                        <a:cxn ang="0">
                          <a:pos x="82" y="92"/>
                        </a:cxn>
                        <a:cxn ang="0">
                          <a:pos x="97" y="95"/>
                        </a:cxn>
                        <a:cxn ang="0">
                          <a:pos x="113" y="96"/>
                        </a:cxn>
                        <a:cxn ang="0">
                          <a:pos x="128" y="98"/>
                        </a:cxn>
                        <a:cxn ang="0">
                          <a:pos x="144" y="99"/>
                        </a:cxn>
                        <a:cxn ang="0">
                          <a:pos x="159" y="99"/>
                        </a:cxn>
                        <a:cxn ang="0">
                          <a:pos x="174" y="100"/>
                        </a:cxn>
                        <a:cxn ang="0">
                          <a:pos x="189" y="100"/>
                        </a:cxn>
                        <a:cxn ang="0">
                          <a:pos x="205" y="100"/>
                        </a:cxn>
                        <a:cxn ang="0">
                          <a:pos x="220" y="99"/>
                        </a:cxn>
                        <a:cxn ang="0">
                          <a:pos x="236" y="99"/>
                        </a:cxn>
                        <a:cxn ang="0">
                          <a:pos x="251" y="98"/>
                        </a:cxn>
                        <a:cxn ang="0">
                          <a:pos x="267" y="97"/>
                        </a:cxn>
                        <a:cxn ang="0">
                          <a:pos x="284" y="95"/>
                        </a:cxn>
                        <a:cxn ang="0">
                          <a:pos x="300" y="94"/>
                        </a:cxn>
                        <a:cxn ang="0">
                          <a:pos x="323" y="81"/>
                        </a:cxn>
                        <a:cxn ang="0">
                          <a:pos x="339" y="68"/>
                        </a:cxn>
                        <a:cxn ang="0">
                          <a:pos x="349" y="56"/>
                        </a:cxn>
                        <a:cxn ang="0">
                          <a:pos x="351" y="43"/>
                        </a:cxn>
                        <a:cxn ang="0">
                          <a:pos x="348" y="31"/>
                        </a:cxn>
                        <a:cxn ang="0">
                          <a:pos x="338" y="21"/>
                        </a:cxn>
                        <a:cxn ang="0">
                          <a:pos x="320" y="12"/>
                        </a:cxn>
                        <a:cxn ang="0">
                          <a:pos x="296" y="5"/>
                        </a:cxn>
                        <a:cxn ang="0">
                          <a:pos x="298" y="15"/>
                        </a:cxn>
                        <a:cxn ang="0">
                          <a:pos x="294" y="23"/>
                        </a:cxn>
                        <a:cxn ang="0">
                          <a:pos x="284" y="30"/>
                        </a:cxn>
                        <a:cxn ang="0">
                          <a:pos x="272" y="37"/>
                        </a:cxn>
                        <a:cxn ang="0">
                          <a:pos x="258" y="38"/>
                        </a:cxn>
                        <a:cxn ang="0">
                          <a:pos x="245" y="39"/>
                        </a:cxn>
                        <a:cxn ang="0">
                          <a:pos x="234" y="41"/>
                        </a:cxn>
                        <a:cxn ang="0">
                          <a:pos x="222" y="42"/>
                        </a:cxn>
                        <a:cxn ang="0">
                          <a:pos x="211" y="43"/>
                        </a:cxn>
                        <a:cxn ang="0">
                          <a:pos x="199" y="43"/>
                        </a:cxn>
                        <a:cxn ang="0">
                          <a:pos x="188" y="44"/>
                        </a:cxn>
                        <a:cxn ang="0">
                          <a:pos x="178" y="44"/>
                        </a:cxn>
                        <a:cxn ang="0">
                          <a:pos x="166" y="44"/>
                        </a:cxn>
                        <a:cxn ang="0">
                          <a:pos x="155" y="44"/>
                        </a:cxn>
                        <a:cxn ang="0">
                          <a:pos x="143" y="44"/>
                        </a:cxn>
                        <a:cxn ang="0">
                          <a:pos x="133" y="43"/>
                        </a:cxn>
                        <a:cxn ang="0">
                          <a:pos x="120" y="42"/>
                        </a:cxn>
                        <a:cxn ang="0">
                          <a:pos x="108" y="41"/>
                        </a:cxn>
                        <a:cxn ang="0">
                          <a:pos x="96" y="39"/>
                        </a:cxn>
                        <a:cxn ang="0">
                          <a:pos x="82" y="37"/>
                        </a:cxn>
                        <a:cxn ang="0">
                          <a:pos x="73" y="32"/>
                        </a:cxn>
                        <a:cxn ang="0">
                          <a:pos x="65" y="28"/>
                        </a:cxn>
                        <a:cxn ang="0">
                          <a:pos x="58" y="23"/>
                        </a:cxn>
                        <a:cxn ang="0">
                          <a:pos x="52" y="19"/>
                        </a:cxn>
                        <a:cxn ang="0">
                          <a:pos x="47" y="14"/>
                        </a:cxn>
                        <a:cxn ang="0">
                          <a:pos x="44" y="11"/>
                        </a:cxn>
                        <a:cxn ang="0">
                          <a:pos x="42" y="5"/>
                        </a:cxn>
                        <a:cxn ang="0">
                          <a:pos x="40" y="0"/>
                        </a:cxn>
                      </a:cxnLst>
                      <a:rect l="0" t="0" r="r" b="b"/>
                      <a:pathLst>
                        <a:path w="351" h="100">
                          <a:moveTo>
                            <a:pt x="40" y="0"/>
                          </a:moveTo>
                          <a:lnTo>
                            <a:pt x="19" y="9"/>
                          </a:lnTo>
                          <a:lnTo>
                            <a:pt x="6" y="20"/>
                          </a:lnTo>
                          <a:lnTo>
                            <a:pt x="0" y="30"/>
                          </a:lnTo>
                          <a:lnTo>
                            <a:pt x="0" y="42"/>
                          </a:lnTo>
                          <a:lnTo>
                            <a:pt x="7" y="53"/>
                          </a:lnTo>
                          <a:lnTo>
                            <a:pt x="17" y="65"/>
                          </a:lnTo>
                          <a:lnTo>
                            <a:pt x="32" y="75"/>
                          </a:lnTo>
                          <a:lnTo>
                            <a:pt x="50" y="85"/>
                          </a:lnTo>
                          <a:lnTo>
                            <a:pt x="66" y="89"/>
                          </a:lnTo>
                          <a:lnTo>
                            <a:pt x="82" y="92"/>
                          </a:lnTo>
                          <a:lnTo>
                            <a:pt x="97" y="95"/>
                          </a:lnTo>
                          <a:lnTo>
                            <a:pt x="113" y="96"/>
                          </a:lnTo>
                          <a:lnTo>
                            <a:pt x="128" y="98"/>
                          </a:lnTo>
                          <a:lnTo>
                            <a:pt x="144" y="99"/>
                          </a:lnTo>
                          <a:lnTo>
                            <a:pt x="159" y="99"/>
                          </a:lnTo>
                          <a:lnTo>
                            <a:pt x="174" y="100"/>
                          </a:lnTo>
                          <a:lnTo>
                            <a:pt x="189" y="100"/>
                          </a:lnTo>
                          <a:lnTo>
                            <a:pt x="205" y="100"/>
                          </a:lnTo>
                          <a:lnTo>
                            <a:pt x="220" y="99"/>
                          </a:lnTo>
                          <a:lnTo>
                            <a:pt x="236" y="99"/>
                          </a:lnTo>
                          <a:lnTo>
                            <a:pt x="251" y="98"/>
                          </a:lnTo>
                          <a:lnTo>
                            <a:pt x="267" y="97"/>
                          </a:lnTo>
                          <a:lnTo>
                            <a:pt x="284" y="95"/>
                          </a:lnTo>
                          <a:lnTo>
                            <a:pt x="300" y="94"/>
                          </a:lnTo>
                          <a:lnTo>
                            <a:pt x="323" y="81"/>
                          </a:lnTo>
                          <a:lnTo>
                            <a:pt x="339" y="68"/>
                          </a:lnTo>
                          <a:lnTo>
                            <a:pt x="349" y="56"/>
                          </a:lnTo>
                          <a:lnTo>
                            <a:pt x="351" y="43"/>
                          </a:lnTo>
                          <a:lnTo>
                            <a:pt x="348" y="31"/>
                          </a:lnTo>
                          <a:lnTo>
                            <a:pt x="338" y="21"/>
                          </a:lnTo>
                          <a:lnTo>
                            <a:pt x="320" y="12"/>
                          </a:lnTo>
                          <a:lnTo>
                            <a:pt x="296" y="5"/>
                          </a:lnTo>
                          <a:lnTo>
                            <a:pt x="298" y="15"/>
                          </a:lnTo>
                          <a:lnTo>
                            <a:pt x="294" y="23"/>
                          </a:lnTo>
                          <a:lnTo>
                            <a:pt x="284" y="30"/>
                          </a:lnTo>
                          <a:lnTo>
                            <a:pt x="272" y="37"/>
                          </a:lnTo>
                          <a:lnTo>
                            <a:pt x="258" y="38"/>
                          </a:lnTo>
                          <a:lnTo>
                            <a:pt x="245" y="39"/>
                          </a:lnTo>
                          <a:lnTo>
                            <a:pt x="234" y="41"/>
                          </a:lnTo>
                          <a:lnTo>
                            <a:pt x="222" y="42"/>
                          </a:lnTo>
                          <a:lnTo>
                            <a:pt x="211" y="43"/>
                          </a:lnTo>
                          <a:lnTo>
                            <a:pt x="199" y="43"/>
                          </a:lnTo>
                          <a:lnTo>
                            <a:pt x="188" y="44"/>
                          </a:lnTo>
                          <a:lnTo>
                            <a:pt x="178" y="44"/>
                          </a:lnTo>
                          <a:lnTo>
                            <a:pt x="166" y="44"/>
                          </a:lnTo>
                          <a:lnTo>
                            <a:pt x="155" y="44"/>
                          </a:lnTo>
                          <a:lnTo>
                            <a:pt x="143" y="44"/>
                          </a:lnTo>
                          <a:lnTo>
                            <a:pt x="133" y="43"/>
                          </a:lnTo>
                          <a:lnTo>
                            <a:pt x="120" y="42"/>
                          </a:lnTo>
                          <a:lnTo>
                            <a:pt x="108" y="41"/>
                          </a:lnTo>
                          <a:lnTo>
                            <a:pt x="96" y="39"/>
                          </a:lnTo>
                          <a:lnTo>
                            <a:pt x="82" y="37"/>
                          </a:lnTo>
                          <a:lnTo>
                            <a:pt x="73" y="32"/>
                          </a:lnTo>
                          <a:lnTo>
                            <a:pt x="65" y="28"/>
                          </a:lnTo>
                          <a:lnTo>
                            <a:pt x="58" y="23"/>
                          </a:lnTo>
                          <a:lnTo>
                            <a:pt x="52" y="19"/>
                          </a:lnTo>
                          <a:lnTo>
                            <a:pt x="47" y="14"/>
                          </a:lnTo>
                          <a:lnTo>
                            <a:pt x="44" y="11"/>
                          </a:lnTo>
                          <a:lnTo>
                            <a:pt x="42" y="5"/>
                          </a:lnTo>
                          <a:lnTo>
                            <a:pt x="40" y="0"/>
                          </a:lnTo>
                          <a:close/>
                        </a:path>
                      </a:pathLst>
                    </a:custGeom>
                    <a:solidFill>
                      <a:srgbClr val="E6E6E6">
                        <a:lumMod val="10000"/>
                      </a:srgbClr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pPr fontAlgn="auto">
                        <a:spcBef>
                          <a:spcPts val="0"/>
                        </a:spcBef>
                        <a:spcAft>
                          <a:spcPts val="0"/>
                        </a:spcAft>
                        <a:defRPr/>
                      </a:pPr>
                      <a:endParaRPr lang="da-DK" kern="0">
                        <a:solidFill>
                          <a:sysClr val="windowText" lastClr="000000"/>
                        </a:solidFill>
                        <a:latin typeface="+mn-lt"/>
                        <a:ea typeface="ＭＳ Ｐゴシック" pitchFamily="-97" charset="-128"/>
                        <a:cs typeface="+mn-cs"/>
                      </a:endParaRPr>
                    </a:p>
                  </p:txBody>
                </p:sp>
                <p:sp>
                  <p:nvSpPr>
                    <p:cNvPr id="377" name="Freeform 147"/>
                    <p:cNvSpPr>
                      <a:spLocks/>
                    </p:cNvSpPr>
                    <p:nvPr/>
                  </p:nvSpPr>
                  <p:spPr bwMode="auto">
                    <a:xfrm>
                      <a:off x="118773" y="5093747"/>
                      <a:ext cx="774592" cy="184285"/>
                    </a:xfrm>
                    <a:custGeom>
                      <a:avLst/>
                      <a:gdLst/>
                      <a:ahLst/>
                      <a:cxnLst>
                        <a:cxn ang="0">
                          <a:pos x="24" y="4"/>
                        </a:cxn>
                        <a:cxn ang="0">
                          <a:pos x="68" y="40"/>
                        </a:cxn>
                        <a:cxn ang="0">
                          <a:pos x="89" y="44"/>
                        </a:cxn>
                        <a:cxn ang="0">
                          <a:pos x="108" y="48"/>
                        </a:cxn>
                        <a:cxn ang="0">
                          <a:pos x="127" y="53"/>
                        </a:cxn>
                        <a:cxn ang="0">
                          <a:pos x="144" y="55"/>
                        </a:cxn>
                        <a:cxn ang="0">
                          <a:pos x="160" y="57"/>
                        </a:cxn>
                        <a:cxn ang="0">
                          <a:pos x="176" y="59"/>
                        </a:cxn>
                        <a:cxn ang="0">
                          <a:pos x="192" y="59"/>
                        </a:cxn>
                        <a:cxn ang="0">
                          <a:pos x="207" y="59"/>
                        </a:cxn>
                        <a:cxn ang="0">
                          <a:pos x="222" y="58"/>
                        </a:cxn>
                        <a:cxn ang="0">
                          <a:pos x="237" y="57"/>
                        </a:cxn>
                        <a:cxn ang="0">
                          <a:pos x="253" y="54"/>
                        </a:cxn>
                        <a:cxn ang="0">
                          <a:pos x="270" y="50"/>
                        </a:cxn>
                        <a:cxn ang="0">
                          <a:pos x="286" y="46"/>
                        </a:cxn>
                        <a:cxn ang="0">
                          <a:pos x="304" y="39"/>
                        </a:cxn>
                        <a:cxn ang="0">
                          <a:pos x="323" y="32"/>
                        </a:cxn>
                        <a:cxn ang="0">
                          <a:pos x="342" y="23"/>
                        </a:cxn>
                        <a:cxn ang="0">
                          <a:pos x="348" y="10"/>
                        </a:cxn>
                        <a:cxn ang="0">
                          <a:pos x="352" y="3"/>
                        </a:cxn>
                        <a:cxn ang="0">
                          <a:pos x="356" y="0"/>
                        </a:cxn>
                        <a:cxn ang="0">
                          <a:pos x="359" y="1"/>
                        </a:cxn>
                        <a:cxn ang="0">
                          <a:pos x="363" y="4"/>
                        </a:cxn>
                        <a:cxn ang="0">
                          <a:pos x="367" y="11"/>
                        </a:cxn>
                        <a:cxn ang="0">
                          <a:pos x="374" y="20"/>
                        </a:cxn>
                        <a:cxn ang="0">
                          <a:pos x="382" y="32"/>
                        </a:cxn>
                        <a:cxn ang="0">
                          <a:pos x="366" y="55"/>
                        </a:cxn>
                        <a:cxn ang="0">
                          <a:pos x="349" y="65"/>
                        </a:cxn>
                        <a:cxn ang="0">
                          <a:pos x="329" y="73"/>
                        </a:cxn>
                        <a:cxn ang="0">
                          <a:pos x="310" y="80"/>
                        </a:cxn>
                        <a:cxn ang="0">
                          <a:pos x="288" y="86"/>
                        </a:cxn>
                        <a:cxn ang="0">
                          <a:pos x="266" y="91"/>
                        </a:cxn>
                        <a:cxn ang="0">
                          <a:pos x="243" y="94"/>
                        </a:cxn>
                        <a:cxn ang="0">
                          <a:pos x="219" y="96"/>
                        </a:cxn>
                        <a:cxn ang="0">
                          <a:pos x="196" y="96"/>
                        </a:cxn>
                        <a:cxn ang="0">
                          <a:pos x="172" y="96"/>
                        </a:cxn>
                        <a:cxn ang="0">
                          <a:pos x="147" y="95"/>
                        </a:cxn>
                        <a:cxn ang="0">
                          <a:pos x="124" y="92"/>
                        </a:cxn>
                        <a:cxn ang="0">
                          <a:pos x="101" y="88"/>
                        </a:cxn>
                        <a:cxn ang="0">
                          <a:pos x="78" y="84"/>
                        </a:cxn>
                        <a:cxn ang="0">
                          <a:pos x="58" y="79"/>
                        </a:cxn>
                        <a:cxn ang="0">
                          <a:pos x="37" y="72"/>
                        </a:cxn>
                        <a:cxn ang="0">
                          <a:pos x="18" y="65"/>
                        </a:cxn>
                        <a:cxn ang="0">
                          <a:pos x="12" y="56"/>
                        </a:cxn>
                        <a:cxn ang="0">
                          <a:pos x="6" y="47"/>
                        </a:cxn>
                        <a:cxn ang="0">
                          <a:pos x="2" y="38"/>
                        </a:cxn>
                        <a:cxn ang="0">
                          <a:pos x="0" y="28"/>
                        </a:cxn>
                        <a:cxn ang="0">
                          <a:pos x="0" y="20"/>
                        </a:cxn>
                        <a:cxn ang="0">
                          <a:pos x="5" y="13"/>
                        </a:cxn>
                        <a:cxn ang="0">
                          <a:pos x="12" y="8"/>
                        </a:cxn>
                        <a:cxn ang="0">
                          <a:pos x="24" y="4"/>
                        </a:cxn>
                      </a:cxnLst>
                      <a:rect l="0" t="0" r="r" b="b"/>
                      <a:pathLst>
                        <a:path w="382" h="96">
                          <a:moveTo>
                            <a:pt x="24" y="4"/>
                          </a:moveTo>
                          <a:lnTo>
                            <a:pt x="68" y="40"/>
                          </a:lnTo>
                          <a:lnTo>
                            <a:pt x="89" y="44"/>
                          </a:lnTo>
                          <a:lnTo>
                            <a:pt x="108" y="48"/>
                          </a:lnTo>
                          <a:lnTo>
                            <a:pt x="127" y="53"/>
                          </a:lnTo>
                          <a:lnTo>
                            <a:pt x="144" y="55"/>
                          </a:lnTo>
                          <a:lnTo>
                            <a:pt x="160" y="57"/>
                          </a:lnTo>
                          <a:lnTo>
                            <a:pt x="176" y="59"/>
                          </a:lnTo>
                          <a:lnTo>
                            <a:pt x="192" y="59"/>
                          </a:lnTo>
                          <a:lnTo>
                            <a:pt x="207" y="59"/>
                          </a:lnTo>
                          <a:lnTo>
                            <a:pt x="222" y="58"/>
                          </a:lnTo>
                          <a:lnTo>
                            <a:pt x="237" y="57"/>
                          </a:lnTo>
                          <a:lnTo>
                            <a:pt x="253" y="54"/>
                          </a:lnTo>
                          <a:lnTo>
                            <a:pt x="270" y="50"/>
                          </a:lnTo>
                          <a:lnTo>
                            <a:pt x="286" y="46"/>
                          </a:lnTo>
                          <a:lnTo>
                            <a:pt x="304" y="39"/>
                          </a:lnTo>
                          <a:lnTo>
                            <a:pt x="323" y="32"/>
                          </a:lnTo>
                          <a:lnTo>
                            <a:pt x="342" y="23"/>
                          </a:lnTo>
                          <a:lnTo>
                            <a:pt x="348" y="10"/>
                          </a:lnTo>
                          <a:lnTo>
                            <a:pt x="352" y="3"/>
                          </a:lnTo>
                          <a:lnTo>
                            <a:pt x="356" y="0"/>
                          </a:lnTo>
                          <a:lnTo>
                            <a:pt x="359" y="1"/>
                          </a:lnTo>
                          <a:lnTo>
                            <a:pt x="363" y="4"/>
                          </a:lnTo>
                          <a:lnTo>
                            <a:pt x="367" y="11"/>
                          </a:lnTo>
                          <a:lnTo>
                            <a:pt x="374" y="20"/>
                          </a:lnTo>
                          <a:lnTo>
                            <a:pt x="382" y="32"/>
                          </a:lnTo>
                          <a:lnTo>
                            <a:pt x="366" y="55"/>
                          </a:lnTo>
                          <a:lnTo>
                            <a:pt x="349" y="65"/>
                          </a:lnTo>
                          <a:lnTo>
                            <a:pt x="329" y="73"/>
                          </a:lnTo>
                          <a:lnTo>
                            <a:pt x="310" y="80"/>
                          </a:lnTo>
                          <a:lnTo>
                            <a:pt x="288" y="86"/>
                          </a:lnTo>
                          <a:lnTo>
                            <a:pt x="266" y="91"/>
                          </a:lnTo>
                          <a:lnTo>
                            <a:pt x="243" y="94"/>
                          </a:lnTo>
                          <a:lnTo>
                            <a:pt x="219" y="96"/>
                          </a:lnTo>
                          <a:lnTo>
                            <a:pt x="196" y="96"/>
                          </a:lnTo>
                          <a:lnTo>
                            <a:pt x="172" y="96"/>
                          </a:lnTo>
                          <a:lnTo>
                            <a:pt x="147" y="95"/>
                          </a:lnTo>
                          <a:lnTo>
                            <a:pt x="124" y="92"/>
                          </a:lnTo>
                          <a:lnTo>
                            <a:pt x="101" y="88"/>
                          </a:lnTo>
                          <a:lnTo>
                            <a:pt x="78" y="84"/>
                          </a:lnTo>
                          <a:lnTo>
                            <a:pt x="58" y="79"/>
                          </a:lnTo>
                          <a:lnTo>
                            <a:pt x="37" y="72"/>
                          </a:lnTo>
                          <a:lnTo>
                            <a:pt x="18" y="65"/>
                          </a:lnTo>
                          <a:lnTo>
                            <a:pt x="12" y="56"/>
                          </a:lnTo>
                          <a:lnTo>
                            <a:pt x="6" y="47"/>
                          </a:lnTo>
                          <a:lnTo>
                            <a:pt x="2" y="38"/>
                          </a:lnTo>
                          <a:lnTo>
                            <a:pt x="0" y="28"/>
                          </a:lnTo>
                          <a:lnTo>
                            <a:pt x="0" y="20"/>
                          </a:lnTo>
                          <a:lnTo>
                            <a:pt x="5" y="13"/>
                          </a:lnTo>
                          <a:lnTo>
                            <a:pt x="12" y="8"/>
                          </a:lnTo>
                          <a:lnTo>
                            <a:pt x="24" y="4"/>
                          </a:lnTo>
                          <a:close/>
                        </a:path>
                      </a:pathLst>
                    </a:custGeom>
                    <a:solidFill>
                      <a:srgbClr val="E6E6E6">
                        <a:lumMod val="10000"/>
                      </a:srgbClr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pPr fontAlgn="auto">
                        <a:spcBef>
                          <a:spcPts val="0"/>
                        </a:spcBef>
                        <a:spcAft>
                          <a:spcPts val="0"/>
                        </a:spcAft>
                        <a:defRPr/>
                      </a:pPr>
                      <a:endParaRPr lang="da-DK" kern="0">
                        <a:solidFill>
                          <a:sysClr val="windowText" lastClr="000000"/>
                        </a:solidFill>
                        <a:latin typeface="+mn-lt"/>
                        <a:ea typeface="ＭＳ Ｐゴシック" pitchFamily="-97" charset="-128"/>
                        <a:cs typeface="+mn-cs"/>
                      </a:endParaRPr>
                    </a:p>
                  </p:txBody>
                </p:sp>
                <p:sp>
                  <p:nvSpPr>
                    <p:cNvPr id="378" name="Freeform 148"/>
                    <p:cNvSpPr>
                      <a:spLocks/>
                    </p:cNvSpPr>
                    <p:nvPr/>
                  </p:nvSpPr>
                  <p:spPr bwMode="auto">
                    <a:xfrm>
                      <a:off x="5419" y="5259598"/>
                      <a:ext cx="982402" cy="368569"/>
                    </a:xfrm>
                    <a:custGeom>
                      <a:avLst/>
                      <a:gdLst/>
                      <a:ahLst/>
                      <a:cxnLst>
                        <a:cxn ang="0">
                          <a:pos x="7" y="102"/>
                        </a:cxn>
                        <a:cxn ang="0">
                          <a:pos x="18" y="116"/>
                        </a:cxn>
                        <a:cxn ang="0">
                          <a:pos x="34" y="130"/>
                        </a:cxn>
                        <a:cxn ang="0">
                          <a:pos x="55" y="143"/>
                        </a:cxn>
                        <a:cxn ang="0">
                          <a:pos x="80" y="155"/>
                        </a:cxn>
                        <a:cxn ang="0">
                          <a:pos x="109" y="165"/>
                        </a:cxn>
                        <a:cxn ang="0">
                          <a:pos x="141" y="173"/>
                        </a:cxn>
                        <a:cxn ang="0">
                          <a:pos x="176" y="179"/>
                        </a:cxn>
                        <a:cxn ang="0">
                          <a:pos x="211" y="182"/>
                        </a:cxn>
                        <a:cxn ang="0">
                          <a:pos x="248" y="184"/>
                        </a:cxn>
                        <a:cxn ang="0">
                          <a:pos x="285" y="183"/>
                        </a:cxn>
                        <a:cxn ang="0">
                          <a:pos x="323" y="180"/>
                        </a:cxn>
                        <a:cxn ang="0">
                          <a:pos x="359" y="173"/>
                        </a:cxn>
                        <a:cxn ang="0">
                          <a:pos x="393" y="164"/>
                        </a:cxn>
                        <a:cxn ang="0">
                          <a:pos x="427" y="151"/>
                        </a:cxn>
                        <a:cxn ang="0">
                          <a:pos x="455" y="135"/>
                        </a:cxn>
                        <a:cxn ang="0">
                          <a:pos x="482" y="115"/>
                        </a:cxn>
                        <a:cxn ang="0">
                          <a:pos x="483" y="93"/>
                        </a:cxn>
                        <a:cxn ang="0">
                          <a:pos x="483" y="77"/>
                        </a:cxn>
                        <a:cxn ang="0">
                          <a:pos x="482" y="65"/>
                        </a:cxn>
                        <a:cxn ang="0">
                          <a:pos x="478" y="54"/>
                        </a:cxn>
                        <a:cxn ang="0">
                          <a:pos x="473" y="44"/>
                        </a:cxn>
                        <a:cxn ang="0">
                          <a:pos x="463" y="34"/>
                        </a:cxn>
                        <a:cxn ang="0">
                          <a:pos x="451" y="22"/>
                        </a:cxn>
                        <a:cxn ang="0">
                          <a:pos x="435" y="7"/>
                        </a:cxn>
                        <a:cxn ang="0">
                          <a:pos x="416" y="23"/>
                        </a:cxn>
                        <a:cxn ang="0">
                          <a:pos x="396" y="37"/>
                        </a:cxn>
                        <a:cxn ang="0">
                          <a:pos x="375" y="50"/>
                        </a:cxn>
                        <a:cxn ang="0">
                          <a:pos x="353" y="59"/>
                        </a:cxn>
                        <a:cxn ang="0">
                          <a:pos x="330" y="67"/>
                        </a:cxn>
                        <a:cxn ang="0">
                          <a:pos x="307" y="73"/>
                        </a:cxn>
                        <a:cxn ang="0">
                          <a:pos x="284" y="76"/>
                        </a:cxn>
                        <a:cxn ang="0">
                          <a:pos x="260" y="78"/>
                        </a:cxn>
                        <a:cxn ang="0">
                          <a:pos x="235" y="78"/>
                        </a:cxn>
                        <a:cxn ang="0">
                          <a:pos x="211" y="76"/>
                        </a:cxn>
                        <a:cxn ang="0">
                          <a:pos x="187" y="73"/>
                        </a:cxn>
                        <a:cxn ang="0">
                          <a:pos x="163" y="68"/>
                        </a:cxn>
                        <a:cxn ang="0">
                          <a:pos x="140" y="61"/>
                        </a:cxn>
                        <a:cxn ang="0">
                          <a:pos x="116" y="53"/>
                        </a:cxn>
                        <a:cxn ang="0">
                          <a:pos x="94" y="44"/>
                        </a:cxn>
                        <a:cxn ang="0">
                          <a:pos x="72" y="32"/>
                        </a:cxn>
                        <a:cxn ang="0">
                          <a:pos x="66" y="0"/>
                        </a:cxn>
                        <a:cxn ang="0">
                          <a:pos x="56" y="5"/>
                        </a:cxn>
                        <a:cxn ang="0">
                          <a:pos x="42" y="12"/>
                        </a:cxn>
                        <a:cxn ang="0">
                          <a:pos x="29" y="20"/>
                        </a:cxn>
                        <a:cxn ang="0">
                          <a:pos x="17" y="30"/>
                        </a:cxn>
                        <a:cxn ang="0">
                          <a:pos x="7" y="43"/>
                        </a:cxn>
                        <a:cxn ang="0">
                          <a:pos x="2" y="59"/>
                        </a:cxn>
                        <a:cxn ang="0">
                          <a:pos x="0" y="78"/>
                        </a:cxn>
                        <a:cxn ang="0">
                          <a:pos x="7" y="102"/>
                        </a:cxn>
                      </a:cxnLst>
                      <a:rect l="0" t="0" r="r" b="b"/>
                      <a:pathLst>
                        <a:path w="483" h="184">
                          <a:moveTo>
                            <a:pt x="7" y="102"/>
                          </a:moveTo>
                          <a:lnTo>
                            <a:pt x="18" y="116"/>
                          </a:lnTo>
                          <a:lnTo>
                            <a:pt x="34" y="130"/>
                          </a:lnTo>
                          <a:lnTo>
                            <a:pt x="55" y="143"/>
                          </a:lnTo>
                          <a:lnTo>
                            <a:pt x="80" y="155"/>
                          </a:lnTo>
                          <a:lnTo>
                            <a:pt x="109" y="165"/>
                          </a:lnTo>
                          <a:lnTo>
                            <a:pt x="141" y="173"/>
                          </a:lnTo>
                          <a:lnTo>
                            <a:pt x="176" y="179"/>
                          </a:lnTo>
                          <a:lnTo>
                            <a:pt x="211" y="182"/>
                          </a:lnTo>
                          <a:lnTo>
                            <a:pt x="248" y="184"/>
                          </a:lnTo>
                          <a:lnTo>
                            <a:pt x="285" y="183"/>
                          </a:lnTo>
                          <a:lnTo>
                            <a:pt x="323" y="180"/>
                          </a:lnTo>
                          <a:lnTo>
                            <a:pt x="359" y="173"/>
                          </a:lnTo>
                          <a:lnTo>
                            <a:pt x="393" y="164"/>
                          </a:lnTo>
                          <a:lnTo>
                            <a:pt x="427" y="151"/>
                          </a:lnTo>
                          <a:lnTo>
                            <a:pt x="455" y="135"/>
                          </a:lnTo>
                          <a:lnTo>
                            <a:pt x="482" y="115"/>
                          </a:lnTo>
                          <a:lnTo>
                            <a:pt x="483" y="93"/>
                          </a:lnTo>
                          <a:lnTo>
                            <a:pt x="483" y="77"/>
                          </a:lnTo>
                          <a:lnTo>
                            <a:pt x="482" y="65"/>
                          </a:lnTo>
                          <a:lnTo>
                            <a:pt x="478" y="54"/>
                          </a:lnTo>
                          <a:lnTo>
                            <a:pt x="473" y="44"/>
                          </a:lnTo>
                          <a:lnTo>
                            <a:pt x="463" y="34"/>
                          </a:lnTo>
                          <a:lnTo>
                            <a:pt x="451" y="22"/>
                          </a:lnTo>
                          <a:lnTo>
                            <a:pt x="435" y="7"/>
                          </a:lnTo>
                          <a:lnTo>
                            <a:pt x="416" y="23"/>
                          </a:lnTo>
                          <a:lnTo>
                            <a:pt x="396" y="37"/>
                          </a:lnTo>
                          <a:lnTo>
                            <a:pt x="375" y="50"/>
                          </a:lnTo>
                          <a:lnTo>
                            <a:pt x="353" y="59"/>
                          </a:lnTo>
                          <a:lnTo>
                            <a:pt x="330" y="67"/>
                          </a:lnTo>
                          <a:lnTo>
                            <a:pt x="307" y="73"/>
                          </a:lnTo>
                          <a:lnTo>
                            <a:pt x="284" y="76"/>
                          </a:lnTo>
                          <a:lnTo>
                            <a:pt x="260" y="78"/>
                          </a:lnTo>
                          <a:lnTo>
                            <a:pt x="235" y="78"/>
                          </a:lnTo>
                          <a:lnTo>
                            <a:pt x="211" y="76"/>
                          </a:lnTo>
                          <a:lnTo>
                            <a:pt x="187" y="73"/>
                          </a:lnTo>
                          <a:lnTo>
                            <a:pt x="163" y="68"/>
                          </a:lnTo>
                          <a:lnTo>
                            <a:pt x="140" y="61"/>
                          </a:lnTo>
                          <a:lnTo>
                            <a:pt x="116" y="53"/>
                          </a:lnTo>
                          <a:lnTo>
                            <a:pt x="94" y="44"/>
                          </a:lnTo>
                          <a:lnTo>
                            <a:pt x="72" y="32"/>
                          </a:lnTo>
                          <a:lnTo>
                            <a:pt x="66" y="0"/>
                          </a:lnTo>
                          <a:lnTo>
                            <a:pt x="56" y="5"/>
                          </a:lnTo>
                          <a:lnTo>
                            <a:pt x="42" y="12"/>
                          </a:lnTo>
                          <a:lnTo>
                            <a:pt x="29" y="20"/>
                          </a:lnTo>
                          <a:lnTo>
                            <a:pt x="17" y="30"/>
                          </a:lnTo>
                          <a:lnTo>
                            <a:pt x="7" y="43"/>
                          </a:lnTo>
                          <a:lnTo>
                            <a:pt x="2" y="59"/>
                          </a:lnTo>
                          <a:lnTo>
                            <a:pt x="0" y="78"/>
                          </a:lnTo>
                          <a:lnTo>
                            <a:pt x="7" y="102"/>
                          </a:lnTo>
                          <a:close/>
                        </a:path>
                      </a:pathLst>
                    </a:custGeom>
                    <a:solidFill>
                      <a:srgbClr val="E6E6E6">
                        <a:lumMod val="10000"/>
                      </a:srgbClr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pPr fontAlgn="auto">
                        <a:spcBef>
                          <a:spcPts val="0"/>
                        </a:spcBef>
                        <a:spcAft>
                          <a:spcPts val="0"/>
                        </a:spcAft>
                        <a:defRPr/>
                      </a:pPr>
                      <a:endParaRPr lang="da-DK" kern="0">
                        <a:solidFill>
                          <a:sysClr val="windowText" lastClr="000000"/>
                        </a:solidFill>
                        <a:latin typeface="+mn-lt"/>
                        <a:ea typeface="ＭＳ Ｐゴシック" pitchFamily="-97" charset="-128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365" name="Gruppe 814"/>
                  <p:cNvGrpSpPr/>
                  <p:nvPr/>
                </p:nvGrpSpPr>
                <p:grpSpPr>
                  <a:xfrm>
                    <a:off x="265107" y="3675078"/>
                    <a:ext cx="743434" cy="2078044"/>
                    <a:chOff x="3656013" y="3433763"/>
                    <a:chExt cx="684213" cy="1912498"/>
                  </a:xfrm>
                  <a:solidFill>
                    <a:srgbClr val="FFFFFF">
                      <a:alpha val="9000"/>
                    </a:srgbClr>
                  </a:solidFill>
                </p:grpSpPr>
                <p:sp>
                  <p:nvSpPr>
                    <p:cNvPr id="366" name="Freeform 316"/>
                    <p:cNvSpPr>
                      <a:spLocks/>
                    </p:cNvSpPr>
                    <p:nvPr/>
                  </p:nvSpPr>
                  <p:spPr bwMode="auto">
                    <a:xfrm>
                      <a:off x="3824288" y="3986213"/>
                      <a:ext cx="365125" cy="65088"/>
                    </a:xfrm>
                    <a:custGeom>
                      <a:avLst/>
                      <a:gdLst/>
                      <a:ahLst/>
                      <a:cxnLst>
                        <a:cxn ang="0">
                          <a:pos x="13" y="0"/>
                        </a:cxn>
                        <a:cxn ang="0">
                          <a:pos x="26" y="6"/>
                        </a:cxn>
                        <a:cxn ang="0">
                          <a:pos x="39" y="13"/>
                        </a:cxn>
                        <a:cxn ang="0">
                          <a:pos x="52" y="16"/>
                        </a:cxn>
                        <a:cxn ang="0">
                          <a:pos x="65" y="19"/>
                        </a:cxn>
                        <a:cxn ang="0">
                          <a:pos x="78" y="22"/>
                        </a:cxn>
                        <a:cxn ang="0">
                          <a:pos x="93" y="23"/>
                        </a:cxn>
                        <a:cxn ang="0">
                          <a:pos x="106" y="24"/>
                        </a:cxn>
                        <a:cxn ang="0">
                          <a:pos x="120" y="23"/>
                        </a:cxn>
                        <a:cxn ang="0">
                          <a:pos x="134" y="22"/>
                        </a:cxn>
                        <a:cxn ang="0">
                          <a:pos x="147" y="20"/>
                        </a:cxn>
                        <a:cxn ang="0">
                          <a:pos x="161" y="18"/>
                        </a:cxn>
                        <a:cxn ang="0">
                          <a:pos x="176" y="15"/>
                        </a:cxn>
                        <a:cxn ang="0">
                          <a:pos x="189" y="13"/>
                        </a:cxn>
                        <a:cxn ang="0">
                          <a:pos x="203" y="9"/>
                        </a:cxn>
                        <a:cxn ang="0">
                          <a:pos x="216" y="6"/>
                        </a:cxn>
                        <a:cxn ang="0">
                          <a:pos x="230" y="2"/>
                        </a:cxn>
                        <a:cxn ang="0">
                          <a:pos x="230" y="15"/>
                        </a:cxn>
                        <a:cxn ang="0">
                          <a:pos x="221" y="19"/>
                        </a:cxn>
                        <a:cxn ang="0">
                          <a:pos x="212" y="23"/>
                        </a:cxn>
                        <a:cxn ang="0">
                          <a:pos x="200" y="27"/>
                        </a:cxn>
                        <a:cxn ang="0">
                          <a:pos x="189" y="29"/>
                        </a:cxn>
                        <a:cxn ang="0">
                          <a:pos x="174" y="33"/>
                        </a:cxn>
                        <a:cxn ang="0">
                          <a:pos x="161" y="36"/>
                        </a:cxn>
                        <a:cxn ang="0">
                          <a:pos x="146" y="39"/>
                        </a:cxn>
                        <a:cxn ang="0">
                          <a:pos x="132" y="41"/>
                        </a:cxn>
                        <a:cxn ang="0">
                          <a:pos x="115" y="41"/>
                        </a:cxn>
                        <a:cxn ang="0">
                          <a:pos x="99" y="41"/>
                        </a:cxn>
                        <a:cxn ang="0">
                          <a:pos x="82" y="40"/>
                        </a:cxn>
                        <a:cxn ang="0">
                          <a:pos x="65" y="37"/>
                        </a:cxn>
                        <a:cxn ang="0">
                          <a:pos x="50" y="32"/>
                        </a:cxn>
                        <a:cxn ang="0">
                          <a:pos x="33" y="27"/>
                        </a:cxn>
                        <a:cxn ang="0">
                          <a:pos x="16" y="19"/>
                        </a:cxn>
                        <a:cxn ang="0">
                          <a:pos x="0" y="9"/>
                        </a:cxn>
                        <a:cxn ang="0">
                          <a:pos x="13" y="0"/>
                        </a:cxn>
                      </a:cxnLst>
                      <a:rect l="0" t="0" r="r" b="b"/>
                      <a:pathLst>
                        <a:path w="230" h="41">
                          <a:moveTo>
                            <a:pt x="13" y="0"/>
                          </a:moveTo>
                          <a:lnTo>
                            <a:pt x="26" y="6"/>
                          </a:lnTo>
                          <a:lnTo>
                            <a:pt x="39" y="13"/>
                          </a:lnTo>
                          <a:lnTo>
                            <a:pt x="52" y="16"/>
                          </a:lnTo>
                          <a:lnTo>
                            <a:pt x="65" y="19"/>
                          </a:lnTo>
                          <a:lnTo>
                            <a:pt x="78" y="22"/>
                          </a:lnTo>
                          <a:lnTo>
                            <a:pt x="93" y="23"/>
                          </a:lnTo>
                          <a:lnTo>
                            <a:pt x="106" y="24"/>
                          </a:lnTo>
                          <a:lnTo>
                            <a:pt x="120" y="23"/>
                          </a:lnTo>
                          <a:lnTo>
                            <a:pt x="134" y="22"/>
                          </a:lnTo>
                          <a:lnTo>
                            <a:pt x="147" y="20"/>
                          </a:lnTo>
                          <a:lnTo>
                            <a:pt x="161" y="18"/>
                          </a:lnTo>
                          <a:lnTo>
                            <a:pt x="176" y="15"/>
                          </a:lnTo>
                          <a:lnTo>
                            <a:pt x="189" y="13"/>
                          </a:lnTo>
                          <a:lnTo>
                            <a:pt x="203" y="9"/>
                          </a:lnTo>
                          <a:lnTo>
                            <a:pt x="216" y="6"/>
                          </a:lnTo>
                          <a:lnTo>
                            <a:pt x="230" y="2"/>
                          </a:lnTo>
                          <a:lnTo>
                            <a:pt x="230" y="15"/>
                          </a:lnTo>
                          <a:lnTo>
                            <a:pt x="221" y="19"/>
                          </a:lnTo>
                          <a:lnTo>
                            <a:pt x="212" y="23"/>
                          </a:lnTo>
                          <a:lnTo>
                            <a:pt x="200" y="27"/>
                          </a:lnTo>
                          <a:lnTo>
                            <a:pt x="189" y="29"/>
                          </a:lnTo>
                          <a:lnTo>
                            <a:pt x="174" y="33"/>
                          </a:lnTo>
                          <a:lnTo>
                            <a:pt x="161" y="36"/>
                          </a:lnTo>
                          <a:lnTo>
                            <a:pt x="146" y="39"/>
                          </a:lnTo>
                          <a:lnTo>
                            <a:pt x="132" y="41"/>
                          </a:lnTo>
                          <a:lnTo>
                            <a:pt x="115" y="41"/>
                          </a:lnTo>
                          <a:lnTo>
                            <a:pt x="99" y="41"/>
                          </a:lnTo>
                          <a:lnTo>
                            <a:pt x="82" y="40"/>
                          </a:lnTo>
                          <a:lnTo>
                            <a:pt x="65" y="37"/>
                          </a:lnTo>
                          <a:lnTo>
                            <a:pt x="50" y="32"/>
                          </a:lnTo>
                          <a:lnTo>
                            <a:pt x="33" y="27"/>
                          </a:lnTo>
                          <a:lnTo>
                            <a:pt x="16" y="19"/>
                          </a:lnTo>
                          <a:lnTo>
                            <a:pt x="0" y="9"/>
                          </a:lnTo>
                          <a:lnTo>
                            <a:pt x="13" y="0"/>
                          </a:lnTo>
                          <a:close/>
                        </a:path>
                      </a:pathLst>
                    </a:custGeom>
                    <a:grpFill/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pPr fontAlgn="auto">
                        <a:spcBef>
                          <a:spcPts val="0"/>
                        </a:spcBef>
                        <a:spcAft>
                          <a:spcPts val="0"/>
                        </a:spcAft>
                        <a:defRPr/>
                      </a:pPr>
                      <a:endParaRPr lang="da-DK" kern="0">
                        <a:solidFill>
                          <a:sysClr val="windowText" lastClr="000000"/>
                        </a:solidFill>
                        <a:latin typeface="+mn-lt"/>
                        <a:ea typeface="ＭＳ Ｐゴシック" pitchFamily="-97" charset="-128"/>
                        <a:cs typeface="+mn-cs"/>
                      </a:endParaRPr>
                    </a:p>
                  </p:txBody>
                </p:sp>
                <p:sp>
                  <p:nvSpPr>
                    <p:cNvPr id="367" name="Freeform 330"/>
                    <p:cNvSpPr>
                      <a:spLocks/>
                    </p:cNvSpPr>
                    <p:nvPr/>
                  </p:nvSpPr>
                  <p:spPr bwMode="auto">
                    <a:xfrm>
                      <a:off x="3656013" y="4872038"/>
                      <a:ext cx="684213" cy="173038"/>
                    </a:xfrm>
                    <a:custGeom>
                      <a:avLst/>
                      <a:gdLst/>
                      <a:ahLst/>
                      <a:cxnLst>
                        <a:cxn ang="0">
                          <a:pos x="27" y="5"/>
                        </a:cxn>
                        <a:cxn ang="0">
                          <a:pos x="77" y="45"/>
                        </a:cxn>
                        <a:cxn ang="0">
                          <a:pos x="100" y="51"/>
                        </a:cxn>
                        <a:cxn ang="0">
                          <a:pos x="122" y="54"/>
                        </a:cxn>
                        <a:cxn ang="0">
                          <a:pos x="143" y="60"/>
                        </a:cxn>
                        <a:cxn ang="0">
                          <a:pos x="162" y="62"/>
                        </a:cxn>
                        <a:cxn ang="0">
                          <a:pos x="180" y="65"/>
                        </a:cxn>
                        <a:cxn ang="0">
                          <a:pos x="199" y="67"/>
                        </a:cxn>
                        <a:cxn ang="0">
                          <a:pos x="217" y="67"/>
                        </a:cxn>
                        <a:cxn ang="0">
                          <a:pos x="234" y="67"/>
                        </a:cxn>
                        <a:cxn ang="0">
                          <a:pos x="251" y="66"/>
                        </a:cxn>
                        <a:cxn ang="0">
                          <a:pos x="267" y="65"/>
                        </a:cxn>
                        <a:cxn ang="0">
                          <a:pos x="286" y="61"/>
                        </a:cxn>
                        <a:cxn ang="0">
                          <a:pos x="304" y="57"/>
                        </a:cxn>
                        <a:cxn ang="0">
                          <a:pos x="322" y="52"/>
                        </a:cxn>
                        <a:cxn ang="0">
                          <a:pos x="343" y="44"/>
                        </a:cxn>
                        <a:cxn ang="0">
                          <a:pos x="363" y="36"/>
                        </a:cxn>
                        <a:cxn ang="0">
                          <a:pos x="386" y="26"/>
                        </a:cxn>
                        <a:cxn ang="0">
                          <a:pos x="392" y="12"/>
                        </a:cxn>
                        <a:cxn ang="0">
                          <a:pos x="397" y="4"/>
                        </a:cxn>
                        <a:cxn ang="0">
                          <a:pos x="401" y="0"/>
                        </a:cxn>
                        <a:cxn ang="0">
                          <a:pos x="405" y="1"/>
                        </a:cxn>
                        <a:cxn ang="0">
                          <a:pos x="409" y="5"/>
                        </a:cxn>
                        <a:cxn ang="0">
                          <a:pos x="414" y="13"/>
                        </a:cxn>
                        <a:cxn ang="0">
                          <a:pos x="422" y="23"/>
                        </a:cxn>
                        <a:cxn ang="0">
                          <a:pos x="431" y="36"/>
                        </a:cxn>
                        <a:cxn ang="0">
                          <a:pos x="413" y="62"/>
                        </a:cxn>
                        <a:cxn ang="0">
                          <a:pos x="393" y="74"/>
                        </a:cxn>
                        <a:cxn ang="0">
                          <a:pos x="371" y="83"/>
                        </a:cxn>
                        <a:cxn ang="0">
                          <a:pos x="349" y="91"/>
                        </a:cxn>
                        <a:cxn ang="0">
                          <a:pos x="325" y="97"/>
                        </a:cxn>
                        <a:cxn ang="0">
                          <a:pos x="300" y="103"/>
                        </a:cxn>
                        <a:cxn ang="0">
                          <a:pos x="274" y="106"/>
                        </a:cxn>
                        <a:cxn ang="0">
                          <a:pos x="247" y="109"/>
                        </a:cxn>
                        <a:cxn ang="0">
                          <a:pos x="221" y="109"/>
                        </a:cxn>
                        <a:cxn ang="0">
                          <a:pos x="193" y="109"/>
                        </a:cxn>
                        <a:cxn ang="0">
                          <a:pos x="166" y="108"/>
                        </a:cxn>
                        <a:cxn ang="0">
                          <a:pos x="140" y="104"/>
                        </a:cxn>
                        <a:cxn ang="0">
                          <a:pos x="114" y="100"/>
                        </a:cxn>
                        <a:cxn ang="0">
                          <a:pos x="88" y="95"/>
                        </a:cxn>
                        <a:cxn ang="0">
                          <a:pos x="65" y="90"/>
                        </a:cxn>
                        <a:cxn ang="0">
                          <a:pos x="42" y="82"/>
                        </a:cxn>
                        <a:cxn ang="0">
                          <a:pos x="21" y="74"/>
                        </a:cxn>
                        <a:cxn ang="0">
                          <a:pos x="13" y="64"/>
                        </a:cxn>
                        <a:cxn ang="0">
                          <a:pos x="7" y="53"/>
                        </a:cxn>
                        <a:cxn ang="0">
                          <a:pos x="3" y="43"/>
                        </a:cxn>
                        <a:cxn ang="0">
                          <a:pos x="0" y="32"/>
                        </a:cxn>
                        <a:cxn ang="0">
                          <a:pos x="0" y="23"/>
                        </a:cxn>
                        <a:cxn ang="0">
                          <a:pos x="5" y="16"/>
                        </a:cxn>
                        <a:cxn ang="0">
                          <a:pos x="13" y="9"/>
                        </a:cxn>
                        <a:cxn ang="0">
                          <a:pos x="27" y="5"/>
                        </a:cxn>
                      </a:cxnLst>
                      <a:rect l="0" t="0" r="r" b="b"/>
                      <a:pathLst>
                        <a:path w="431" h="109">
                          <a:moveTo>
                            <a:pt x="27" y="5"/>
                          </a:moveTo>
                          <a:lnTo>
                            <a:pt x="77" y="45"/>
                          </a:lnTo>
                          <a:lnTo>
                            <a:pt x="100" y="51"/>
                          </a:lnTo>
                          <a:lnTo>
                            <a:pt x="122" y="54"/>
                          </a:lnTo>
                          <a:lnTo>
                            <a:pt x="143" y="60"/>
                          </a:lnTo>
                          <a:lnTo>
                            <a:pt x="162" y="62"/>
                          </a:lnTo>
                          <a:lnTo>
                            <a:pt x="180" y="65"/>
                          </a:lnTo>
                          <a:lnTo>
                            <a:pt x="199" y="67"/>
                          </a:lnTo>
                          <a:lnTo>
                            <a:pt x="217" y="67"/>
                          </a:lnTo>
                          <a:lnTo>
                            <a:pt x="234" y="67"/>
                          </a:lnTo>
                          <a:lnTo>
                            <a:pt x="251" y="66"/>
                          </a:lnTo>
                          <a:lnTo>
                            <a:pt x="267" y="65"/>
                          </a:lnTo>
                          <a:lnTo>
                            <a:pt x="286" y="61"/>
                          </a:lnTo>
                          <a:lnTo>
                            <a:pt x="304" y="57"/>
                          </a:lnTo>
                          <a:lnTo>
                            <a:pt x="322" y="52"/>
                          </a:lnTo>
                          <a:lnTo>
                            <a:pt x="343" y="44"/>
                          </a:lnTo>
                          <a:lnTo>
                            <a:pt x="363" y="36"/>
                          </a:lnTo>
                          <a:lnTo>
                            <a:pt x="386" y="26"/>
                          </a:lnTo>
                          <a:lnTo>
                            <a:pt x="392" y="12"/>
                          </a:lnTo>
                          <a:lnTo>
                            <a:pt x="397" y="4"/>
                          </a:lnTo>
                          <a:lnTo>
                            <a:pt x="401" y="0"/>
                          </a:lnTo>
                          <a:lnTo>
                            <a:pt x="405" y="1"/>
                          </a:lnTo>
                          <a:lnTo>
                            <a:pt x="409" y="5"/>
                          </a:lnTo>
                          <a:lnTo>
                            <a:pt x="414" y="13"/>
                          </a:lnTo>
                          <a:lnTo>
                            <a:pt x="422" y="23"/>
                          </a:lnTo>
                          <a:lnTo>
                            <a:pt x="431" y="36"/>
                          </a:lnTo>
                          <a:lnTo>
                            <a:pt x="413" y="62"/>
                          </a:lnTo>
                          <a:lnTo>
                            <a:pt x="393" y="74"/>
                          </a:lnTo>
                          <a:lnTo>
                            <a:pt x="371" y="83"/>
                          </a:lnTo>
                          <a:lnTo>
                            <a:pt x="349" y="91"/>
                          </a:lnTo>
                          <a:lnTo>
                            <a:pt x="325" y="97"/>
                          </a:lnTo>
                          <a:lnTo>
                            <a:pt x="300" y="103"/>
                          </a:lnTo>
                          <a:lnTo>
                            <a:pt x="274" y="106"/>
                          </a:lnTo>
                          <a:lnTo>
                            <a:pt x="247" y="109"/>
                          </a:lnTo>
                          <a:lnTo>
                            <a:pt x="221" y="109"/>
                          </a:lnTo>
                          <a:lnTo>
                            <a:pt x="193" y="109"/>
                          </a:lnTo>
                          <a:lnTo>
                            <a:pt x="166" y="108"/>
                          </a:lnTo>
                          <a:lnTo>
                            <a:pt x="140" y="104"/>
                          </a:lnTo>
                          <a:lnTo>
                            <a:pt x="114" y="100"/>
                          </a:lnTo>
                          <a:lnTo>
                            <a:pt x="88" y="95"/>
                          </a:lnTo>
                          <a:lnTo>
                            <a:pt x="65" y="90"/>
                          </a:lnTo>
                          <a:lnTo>
                            <a:pt x="42" y="82"/>
                          </a:lnTo>
                          <a:lnTo>
                            <a:pt x="21" y="74"/>
                          </a:lnTo>
                          <a:lnTo>
                            <a:pt x="13" y="64"/>
                          </a:lnTo>
                          <a:lnTo>
                            <a:pt x="7" y="53"/>
                          </a:lnTo>
                          <a:lnTo>
                            <a:pt x="3" y="43"/>
                          </a:lnTo>
                          <a:lnTo>
                            <a:pt x="0" y="32"/>
                          </a:lnTo>
                          <a:lnTo>
                            <a:pt x="0" y="23"/>
                          </a:lnTo>
                          <a:lnTo>
                            <a:pt x="5" y="16"/>
                          </a:lnTo>
                          <a:lnTo>
                            <a:pt x="13" y="9"/>
                          </a:lnTo>
                          <a:lnTo>
                            <a:pt x="27" y="5"/>
                          </a:lnTo>
                          <a:close/>
                        </a:path>
                      </a:pathLst>
                    </a:custGeom>
                    <a:grpFill/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pPr fontAlgn="auto">
                        <a:spcBef>
                          <a:spcPts val="0"/>
                        </a:spcBef>
                        <a:spcAft>
                          <a:spcPts val="0"/>
                        </a:spcAft>
                        <a:defRPr/>
                      </a:pPr>
                      <a:endParaRPr lang="da-DK" kern="0">
                        <a:solidFill>
                          <a:sysClr val="windowText" lastClr="000000"/>
                        </a:solidFill>
                        <a:latin typeface="+mn-lt"/>
                        <a:ea typeface="ＭＳ Ｐゴシック" pitchFamily="-97" charset="-128"/>
                        <a:cs typeface="+mn-cs"/>
                      </a:endParaRPr>
                    </a:p>
                  </p:txBody>
                </p:sp>
                <p:sp>
                  <p:nvSpPr>
                    <p:cNvPr id="368" name="Freeform 336"/>
                    <p:cNvSpPr>
                      <a:spLocks/>
                    </p:cNvSpPr>
                    <p:nvPr/>
                  </p:nvSpPr>
                  <p:spPr bwMode="auto">
                    <a:xfrm>
                      <a:off x="3781425" y="5231961"/>
                      <a:ext cx="490538" cy="114300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29"/>
                        </a:cxn>
                        <a:cxn ang="0">
                          <a:pos x="3" y="37"/>
                        </a:cxn>
                        <a:cxn ang="0">
                          <a:pos x="7" y="45"/>
                        </a:cxn>
                        <a:cxn ang="0">
                          <a:pos x="11" y="53"/>
                        </a:cxn>
                        <a:cxn ang="0">
                          <a:pos x="15" y="61"/>
                        </a:cxn>
                        <a:cxn ang="0">
                          <a:pos x="22" y="62"/>
                        </a:cxn>
                        <a:cxn ang="0">
                          <a:pos x="29" y="63"/>
                        </a:cxn>
                        <a:cxn ang="0">
                          <a:pos x="37" y="65"/>
                        </a:cxn>
                        <a:cxn ang="0">
                          <a:pos x="44" y="66"/>
                        </a:cxn>
                        <a:cxn ang="0">
                          <a:pos x="51" y="67"/>
                        </a:cxn>
                        <a:cxn ang="0">
                          <a:pos x="59" y="68"/>
                        </a:cxn>
                        <a:cxn ang="0">
                          <a:pos x="65" y="71"/>
                        </a:cxn>
                        <a:cxn ang="0">
                          <a:pos x="73" y="72"/>
                        </a:cxn>
                        <a:cxn ang="0">
                          <a:pos x="91" y="72"/>
                        </a:cxn>
                        <a:cxn ang="0">
                          <a:pos x="109" y="71"/>
                        </a:cxn>
                        <a:cxn ang="0">
                          <a:pos x="127" y="71"/>
                        </a:cxn>
                        <a:cxn ang="0">
                          <a:pos x="146" y="70"/>
                        </a:cxn>
                        <a:cxn ang="0">
                          <a:pos x="164" y="70"/>
                        </a:cxn>
                        <a:cxn ang="0">
                          <a:pos x="183" y="68"/>
                        </a:cxn>
                        <a:cxn ang="0">
                          <a:pos x="201" y="68"/>
                        </a:cxn>
                        <a:cxn ang="0">
                          <a:pos x="220" y="67"/>
                        </a:cxn>
                        <a:cxn ang="0">
                          <a:pos x="231" y="65"/>
                        </a:cxn>
                        <a:cxn ang="0">
                          <a:pos x="242" y="61"/>
                        </a:cxn>
                        <a:cxn ang="0">
                          <a:pos x="253" y="58"/>
                        </a:cxn>
                        <a:cxn ang="0">
                          <a:pos x="265" y="54"/>
                        </a:cxn>
                        <a:cxn ang="0">
                          <a:pos x="275" y="52"/>
                        </a:cxn>
                        <a:cxn ang="0">
                          <a:pos x="287" y="48"/>
                        </a:cxn>
                        <a:cxn ang="0">
                          <a:pos x="297" y="45"/>
                        </a:cxn>
                        <a:cxn ang="0">
                          <a:pos x="309" y="41"/>
                        </a:cxn>
                        <a:cxn ang="0">
                          <a:pos x="309" y="26"/>
                        </a:cxn>
                        <a:cxn ang="0">
                          <a:pos x="307" y="13"/>
                        </a:cxn>
                        <a:cxn ang="0">
                          <a:pos x="303" y="5"/>
                        </a:cxn>
                        <a:cxn ang="0">
                          <a:pos x="297" y="1"/>
                        </a:cxn>
                        <a:cxn ang="0">
                          <a:pos x="290" y="0"/>
                        </a:cxn>
                        <a:cxn ang="0">
                          <a:pos x="279" y="0"/>
                        </a:cxn>
                        <a:cxn ang="0">
                          <a:pos x="268" y="4"/>
                        </a:cxn>
                        <a:cxn ang="0">
                          <a:pos x="252" y="9"/>
                        </a:cxn>
                        <a:cxn ang="0">
                          <a:pos x="242" y="9"/>
                        </a:cxn>
                        <a:cxn ang="0">
                          <a:pos x="231" y="10"/>
                        </a:cxn>
                        <a:cxn ang="0">
                          <a:pos x="221" y="10"/>
                        </a:cxn>
                        <a:cxn ang="0">
                          <a:pos x="211" y="10"/>
                        </a:cxn>
                        <a:cxn ang="0">
                          <a:pos x="200" y="10"/>
                        </a:cxn>
                        <a:cxn ang="0">
                          <a:pos x="188" y="10"/>
                        </a:cxn>
                        <a:cxn ang="0">
                          <a:pos x="178" y="11"/>
                        </a:cxn>
                        <a:cxn ang="0">
                          <a:pos x="168" y="11"/>
                        </a:cxn>
                        <a:cxn ang="0">
                          <a:pos x="140" y="10"/>
                        </a:cxn>
                        <a:cxn ang="0">
                          <a:pos x="116" y="9"/>
                        </a:cxn>
                        <a:cxn ang="0">
                          <a:pos x="96" y="6"/>
                        </a:cxn>
                        <a:cxn ang="0">
                          <a:pos x="77" y="5"/>
                        </a:cxn>
                        <a:cxn ang="0">
                          <a:pos x="60" y="6"/>
                        </a:cxn>
                        <a:cxn ang="0">
                          <a:pos x="42" y="9"/>
                        </a:cxn>
                        <a:cxn ang="0">
                          <a:pos x="22" y="16"/>
                        </a:cxn>
                        <a:cxn ang="0">
                          <a:pos x="0" y="29"/>
                        </a:cxn>
                      </a:cxnLst>
                      <a:rect l="0" t="0" r="r" b="b"/>
                      <a:pathLst>
                        <a:path w="309" h="72">
                          <a:moveTo>
                            <a:pt x="0" y="29"/>
                          </a:moveTo>
                          <a:lnTo>
                            <a:pt x="3" y="37"/>
                          </a:lnTo>
                          <a:lnTo>
                            <a:pt x="7" y="45"/>
                          </a:lnTo>
                          <a:lnTo>
                            <a:pt x="11" y="53"/>
                          </a:lnTo>
                          <a:lnTo>
                            <a:pt x="15" y="61"/>
                          </a:lnTo>
                          <a:lnTo>
                            <a:pt x="22" y="62"/>
                          </a:lnTo>
                          <a:lnTo>
                            <a:pt x="29" y="63"/>
                          </a:lnTo>
                          <a:lnTo>
                            <a:pt x="37" y="65"/>
                          </a:lnTo>
                          <a:lnTo>
                            <a:pt x="44" y="66"/>
                          </a:lnTo>
                          <a:lnTo>
                            <a:pt x="51" y="67"/>
                          </a:lnTo>
                          <a:lnTo>
                            <a:pt x="59" y="68"/>
                          </a:lnTo>
                          <a:lnTo>
                            <a:pt x="65" y="71"/>
                          </a:lnTo>
                          <a:lnTo>
                            <a:pt x="73" y="72"/>
                          </a:lnTo>
                          <a:lnTo>
                            <a:pt x="91" y="72"/>
                          </a:lnTo>
                          <a:lnTo>
                            <a:pt x="109" y="71"/>
                          </a:lnTo>
                          <a:lnTo>
                            <a:pt x="127" y="71"/>
                          </a:lnTo>
                          <a:lnTo>
                            <a:pt x="146" y="70"/>
                          </a:lnTo>
                          <a:lnTo>
                            <a:pt x="164" y="70"/>
                          </a:lnTo>
                          <a:lnTo>
                            <a:pt x="183" y="68"/>
                          </a:lnTo>
                          <a:lnTo>
                            <a:pt x="201" y="68"/>
                          </a:lnTo>
                          <a:lnTo>
                            <a:pt x="220" y="67"/>
                          </a:lnTo>
                          <a:lnTo>
                            <a:pt x="231" y="65"/>
                          </a:lnTo>
                          <a:lnTo>
                            <a:pt x="242" y="61"/>
                          </a:lnTo>
                          <a:lnTo>
                            <a:pt x="253" y="58"/>
                          </a:lnTo>
                          <a:lnTo>
                            <a:pt x="265" y="54"/>
                          </a:lnTo>
                          <a:lnTo>
                            <a:pt x="275" y="52"/>
                          </a:lnTo>
                          <a:lnTo>
                            <a:pt x="287" y="48"/>
                          </a:lnTo>
                          <a:lnTo>
                            <a:pt x="297" y="45"/>
                          </a:lnTo>
                          <a:lnTo>
                            <a:pt x="309" y="41"/>
                          </a:lnTo>
                          <a:lnTo>
                            <a:pt x="309" y="26"/>
                          </a:lnTo>
                          <a:lnTo>
                            <a:pt x="307" y="13"/>
                          </a:lnTo>
                          <a:lnTo>
                            <a:pt x="303" y="5"/>
                          </a:lnTo>
                          <a:lnTo>
                            <a:pt x="297" y="1"/>
                          </a:lnTo>
                          <a:lnTo>
                            <a:pt x="290" y="0"/>
                          </a:lnTo>
                          <a:lnTo>
                            <a:pt x="279" y="0"/>
                          </a:lnTo>
                          <a:lnTo>
                            <a:pt x="268" y="4"/>
                          </a:lnTo>
                          <a:lnTo>
                            <a:pt x="252" y="9"/>
                          </a:lnTo>
                          <a:lnTo>
                            <a:pt x="242" y="9"/>
                          </a:lnTo>
                          <a:lnTo>
                            <a:pt x="231" y="10"/>
                          </a:lnTo>
                          <a:lnTo>
                            <a:pt x="221" y="10"/>
                          </a:lnTo>
                          <a:lnTo>
                            <a:pt x="211" y="10"/>
                          </a:lnTo>
                          <a:lnTo>
                            <a:pt x="200" y="10"/>
                          </a:lnTo>
                          <a:lnTo>
                            <a:pt x="188" y="10"/>
                          </a:lnTo>
                          <a:lnTo>
                            <a:pt x="178" y="11"/>
                          </a:lnTo>
                          <a:lnTo>
                            <a:pt x="168" y="11"/>
                          </a:lnTo>
                          <a:lnTo>
                            <a:pt x="140" y="10"/>
                          </a:lnTo>
                          <a:lnTo>
                            <a:pt x="116" y="9"/>
                          </a:lnTo>
                          <a:lnTo>
                            <a:pt x="96" y="6"/>
                          </a:lnTo>
                          <a:lnTo>
                            <a:pt x="77" y="5"/>
                          </a:lnTo>
                          <a:lnTo>
                            <a:pt x="60" y="6"/>
                          </a:lnTo>
                          <a:lnTo>
                            <a:pt x="42" y="9"/>
                          </a:lnTo>
                          <a:lnTo>
                            <a:pt x="22" y="16"/>
                          </a:lnTo>
                          <a:lnTo>
                            <a:pt x="0" y="29"/>
                          </a:lnTo>
                          <a:close/>
                        </a:path>
                      </a:pathLst>
                    </a:custGeom>
                    <a:grpFill/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pPr fontAlgn="auto">
                        <a:spcBef>
                          <a:spcPts val="0"/>
                        </a:spcBef>
                        <a:spcAft>
                          <a:spcPts val="0"/>
                        </a:spcAft>
                        <a:defRPr/>
                      </a:pPr>
                      <a:endParaRPr lang="da-DK" kern="0">
                        <a:solidFill>
                          <a:sysClr val="windowText" lastClr="000000"/>
                        </a:solidFill>
                        <a:latin typeface="+mn-lt"/>
                        <a:ea typeface="ＭＳ Ｐゴシック" pitchFamily="-97" charset="-128"/>
                        <a:cs typeface="+mn-cs"/>
                      </a:endParaRPr>
                    </a:p>
                  </p:txBody>
                </p:sp>
                <p:sp>
                  <p:nvSpPr>
                    <p:cNvPr id="369" name="Freeform 353"/>
                    <p:cNvSpPr>
                      <a:spLocks/>
                    </p:cNvSpPr>
                    <p:nvPr/>
                  </p:nvSpPr>
                  <p:spPr bwMode="auto">
                    <a:xfrm>
                      <a:off x="3932238" y="4217988"/>
                      <a:ext cx="177800" cy="39688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11"/>
                        </a:cxn>
                        <a:cxn ang="0">
                          <a:pos x="5" y="17"/>
                        </a:cxn>
                        <a:cxn ang="0">
                          <a:pos x="26" y="25"/>
                        </a:cxn>
                        <a:cxn ang="0">
                          <a:pos x="80" y="20"/>
                        </a:cxn>
                        <a:cxn ang="0">
                          <a:pos x="112" y="13"/>
                        </a:cxn>
                        <a:cxn ang="0">
                          <a:pos x="110" y="4"/>
                        </a:cxn>
                        <a:cxn ang="0">
                          <a:pos x="108" y="0"/>
                        </a:cxn>
                        <a:cxn ang="0">
                          <a:pos x="103" y="2"/>
                        </a:cxn>
                        <a:cxn ang="0">
                          <a:pos x="92" y="4"/>
                        </a:cxn>
                        <a:cxn ang="0">
                          <a:pos x="61" y="6"/>
                        </a:cxn>
                        <a:cxn ang="0">
                          <a:pos x="51" y="6"/>
                        </a:cxn>
                        <a:cxn ang="0">
                          <a:pos x="43" y="4"/>
                        </a:cxn>
                        <a:cxn ang="0">
                          <a:pos x="35" y="4"/>
                        </a:cxn>
                        <a:cxn ang="0">
                          <a:pos x="29" y="3"/>
                        </a:cxn>
                        <a:cxn ang="0">
                          <a:pos x="22" y="3"/>
                        </a:cxn>
                        <a:cxn ang="0">
                          <a:pos x="14" y="4"/>
                        </a:cxn>
                        <a:cxn ang="0">
                          <a:pos x="8" y="7"/>
                        </a:cxn>
                        <a:cxn ang="0">
                          <a:pos x="0" y="11"/>
                        </a:cxn>
                      </a:cxnLst>
                      <a:rect l="0" t="0" r="r" b="b"/>
                      <a:pathLst>
                        <a:path w="112" h="25">
                          <a:moveTo>
                            <a:pt x="0" y="11"/>
                          </a:moveTo>
                          <a:lnTo>
                            <a:pt x="5" y="17"/>
                          </a:lnTo>
                          <a:lnTo>
                            <a:pt x="26" y="25"/>
                          </a:lnTo>
                          <a:lnTo>
                            <a:pt x="80" y="20"/>
                          </a:lnTo>
                          <a:lnTo>
                            <a:pt x="112" y="13"/>
                          </a:lnTo>
                          <a:lnTo>
                            <a:pt x="110" y="4"/>
                          </a:lnTo>
                          <a:lnTo>
                            <a:pt x="108" y="0"/>
                          </a:lnTo>
                          <a:lnTo>
                            <a:pt x="103" y="2"/>
                          </a:lnTo>
                          <a:lnTo>
                            <a:pt x="92" y="4"/>
                          </a:lnTo>
                          <a:lnTo>
                            <a:pt x="61" y="6"/>
                          </a:lnTo>
                          <a:lnTo>
                            <a:pt x="51" y="6"/>
                          </a:lnTo>
                          <a:lnTo>
                            <a:pt x="43" y="4"/>
                          </a:lnTo>
                          <a:lnTo>
                            <a:pt x="35" y="4"/>
                          </a:lnTo>
                          <a:lnTo>
                            <a:pt x="29" y="3"/>
                          </a:lnTo>
                          <a:lnTo>
                            <a:pt x="22" y="3"/>
                          </a:lnTo>
                          <a:lnTo>
                            <a:pt x="14" y="4"/>
                          </a:lnTo>
                          <a:lnTo>
                            <a:pt x="8" y="7"/>
                          </a:lnTo>
                          <a:lnTo>
                            <a:pt x="0" y="11"/>
                          </a:lnTo>
                          <a:close/>
                        </a:path>
                      </a:pathLst>
                    </a:custGeom>
                    <a:grpFill/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pPr fontAlgn="auto">
                        <a:spcBef>
                          <a:spcPts val="0"/>
                        </a:spcBef>
                        <a:spcAft>
                          <a:spcPts val="0"/>
                        </a:spcAft>
                        <a:defRPr/>
                      </a:pPr>
                      <a:endParaRPr lang="da-DK" kern="0">
                        <a:solidFill>
                          <a:sysClr val="windowText" lastClr="000000"/>
                        </a:solidFill>
                        <a:latin typeface="+mn-lt"/>
                        <a:ea typeface="ＭＳ Ｐゴシック" pitchFamily="-97" charset="-128"/>
                        <a:cs typeface="+mn-cs"/>
                      </a:endParaRPr>
                    </a:p>
                  </p:txBody>
                </p:sp>
                <p:sp>
                  <p:nvSpPr>
                    <p:cNvPr id="370" name="Freeform 363"/>
                    <p:cNvSpPr>
                      <a:spLocks/>
                    </p:cNvSpPr>
                    <p:nvPr/>
                  </p:nvSpPr>
                  <p:spPr bwMode="auto">
                    <a:xfrm>
                      <a:off x="3944938" y="3713163"/>
                      <a:ext cx="193675" cy="42863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12"/>
                        </a:cxn>
                        <a:cxn ang="0">
                          <a:pos x="1" y="14"/>
                        </a:cxn>
                        <a:cxn ang="0">
                          <a:pos x="2" y="16"/>
                        </a:cxn>
                        <a:cxn ang="0">
                          <a:pos x="4" y="18"/>
                        </a:cxn>
                        <a:cxn ang="0">
                          <a:pos x="5" y="21"/>
                        </a:cxn>
                        <a:cxn ang="0">
                          <a:pos x="11" y="22"/>
                        </a:cxn>
                        <a:cxn ang="0">
                          <a:pos x="17" y="24"/>
                        </a:cxn>
                        <a:cxn ang="0">
                          <a:pos x="23" y="26"/>
                        </a:cxn>
                        <a:cxn ang="0">
                          <a:pos x="28" y="27"/>
                        </a:cxn>
                        <a:cxn ang="0">
                          <a:pos x="36" y="27"/>
                        </a:cxn>
                        <a:cxn ang="0">
                          <a:pos x="43" y="26"/>
                        </a:cxn>
                        <a:cxn ang="0">
                          <a:pos x="50" y="26"/>
                        </a:cxn>
                        <a:cxn ang="0">
                          <a:pos x="58" y="25"/>
                        </a:cxn>
                        <a:cxn ang="0">
                          <a:pos x="65" y="25"/>
                        </a:cxn>
                        <a:cxn ang="0">
                          <a:pos x="72" y="25"/>
                        </a:cxn>
                        <a:cxn ang="0">
                          <a:pos x="79" y="24"/>
                        </a:cxn>
                        <a:cxn ang="0">
                          <a:pos x="87" y="24"/>
                        </a:cxn>
                        <a:cxn ang="0">
                          <a:pos x="96" y="21"/>
                        </a:cxn>
                        <a:cxn ang="0">
                          <a:pos x="105" y="20"/>
                        </a:cxn>
                        <a:cxn ang="0">
                          <a:pos x="113" y="17"/>
                        </a:cxn>
                        <a:cxn ang="0">
                          <a:pos x="122" y="16"/>
                        </a:cxn>
                        <a:cxn ang="0">
                          <a:pos x="120" y="5"/>
                        </a:cxn>
                        <a:cxn ang="0">
                          <a:pos x="118" y="0"/>
                        </a:cxn>
                        <a:cxn ang="0">
                          <a:pos x="111" y="2"/>
                        </a:cxn>
                        <a:cxn ang="0">
                          <a:pos x="100" y="4"/>
                        </a:cxn>
                        <a:cxn ang="0">
                          <a:pos x="92" y="5"/>
                        </a:cxn>
                        <a:cxn ang="0">
                          <a:pos x="83" y="5"/>
                        </a:cxn>
                        <a:cxn ang="0">
                          <a:pos x="75" y="5"/>
                        </a:cxn>
                        <a:cxn ang="0">
                          <a:pos x="66" y="5"/>
                        </a:cxn>
                        <a:cxn ang="0">
                          <a:pos x="56" y="5"/>
                        </a:cxn>
                        <a:cxn ang="0">
                          <a:pos x="47" y="4"/>
                        </a:cxn>
                        <a:cxn ang="0">
                          <a:pos x="37" y="4"/>
                        </a:cxn>
                        <a:cxn ang="0">
                          <a:pos x="31" y="3"/>
                        </a:cxn>
                        <a:cxn ang="0">
                          <a:pos x="23" y="4"/>
                        </a:cxn>
                        <a:cxn ang="0">
                          <a:pos x="17" y="5"/>
                        </a:cxn>
                        <a:cxn ang="0">
                          <a:pos x="9" y="8"/>
                        </a:cxn>
                        <a:cxn ang="0">
                          <a:pos x="0" y="12"/>
                        </a:cxn>
                      </a:cxnLst>
                      <a:rect l="0" t="0" r="r" b="b"/>
                      <a:pathLst>
                        <a:path w="122" h="27">
                          <a:moveTo>
                            <a:pt x="0" y="12"/>
                          </a:moveTo>
                          <a:lnTo>
                            <a:pt x="1" y="14"/>
                          </a:lnTo>
                          <a:lnTo>
                            <a:pt x="2" y="16"/>
                          </a:lnTo>
                          <a:lnTo>
                            <a:pt x="4" y="18"/>
                          </a:lnTo>
                          <a:lnTo>
                            <a:pt x="5" y="21"/>
                          </a:lnTo>
                          <a:lnTo>
                            <a:pt x="11" y="22"/>
                          </a:lnTo>
                          <a:lnTo>
                            <a:pt x="17" y="24"/>
                          </a:lnTo>
                          <a:lnTo>
                            <a:pt x="23" y="26"/>
                          </a:lnTo>
                          <a:lnTo>
                            <a:pt x="28" y="27"/>
                          </a:lnTo>
                          <a:lnTo>
                            <a:pt x="36" y="27"/>
                          </a:lnTo>
                          <a:lnTo>
                            <a:pt x="43" y="26"/>
                          </a:lnTo>
                          <a:lnTo>
                            <a:pt x="50" y="26"/>
                          </a:lnTo>
                          <a:lnTo>
                            <a:pt x="58" y="25"/>
                          </a:lnTo>
                          <a:lnTo>
                            <a:pt x="65" y="25"/>
                          </a:lnTo>
                          <a:lnTo>
                            <a:pt x="72" y="25"/>
                          </a:lnTo>
                          <a:lnTo>
                            <a:pt x="79" y="24"/>
                          </a:lnTo>
                          <a:lnTo>
                            <a:pt x="87" y="24"/>
                          </a:lnTo>
                          <a:lnTo>
                            <a:pt x="96" y="21"/>
                          </a:lnTo>
                          <a:lnTo>
                            <a:pt x="105" y="20"/>
                          </a:lnTo>
                          <a:lnTo>
                            <a:pt x="113" y="17"/>
                          </a:lnTo>
                          <a:lnTo>
                            <a:pt x="122" y="16"/>
                          </a:lnTo>
                          <a:lnTo>
                            <a:pt x="120" y="5"/>
                          </a:lnTo>
                          <a:lnTo>
                            <a:pt x="118" y="0"/>
                          </a:lnTo>
                          <a:lnTo>
                            <a:pt x="111" y="2"/>
                          </a:lnTo>
                          <a:lnTo>
                            <a:pt x="100" y="4"/>
                          </a:lnTo>
                          <a:lnTo>
                            <a:pt x="92" y="5"/>
                          </a:lnTo>
                          <a:lnTo>
                            <a:pt x="83" y="5"/>
                          </a:lnTo>
                          <a:lnTo>
                            <a:pt x="75" y="5"/>
                          </a:lnTo>
                          <a:lnTo>
                            <a:pt x="66" y="5"/>
                          </a:lnTo>
                          <a:lnTo>
                            <a:pt x="56" y="5"/>
                          </a:lnTo>
                          <a:lnTo>
                            <a:pt x="47" y="4"/>
                          </a:lnTo>
                          <a:lnTo>
                            <a:pt x="37" y="4"/>
                          </a:lnTo>
                          <a:lnTo>
                            <a:pt x="31" y="3"/>
                          </a:lnTo>
                          <a:lnTo>
                            <a:pt x="23" y="4"/>
                          </a:lnTo>
                          <a:lnTo>
                            <a:pt x="17" y="5"/>
                          </a:lnTo>
                          <a:lnTo>
                            <a:pt x="9" y="8"/>
                          </a:lnTo>
                          <a:lnTo>
                            <a:pt x="0" y="12"/>
                          </a:lnTo>
                          <a:close/>
                        </a:path>
                      </a:pathLst>
                    </a:custGeom>
                    <a:grpFill/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pPr fontAlgn="auto">
                        <a:spcBef>
                          <a:spcPts val="0"/>
                        </a:spcBef>
                        <a:spcAft>
                          <a:spcPts val="0"/>
                        </a:spcAft>
                        <a:defRPr/>
                      </a:pPr>
                      <a:endParaRPr lang="da-DK" kern="0">
                        <a:solidFill>
                          <a:sysClr val="windowText" lastClr="000000"/>
                        </a:solidFill>
                        <a:latin typeface="+mn-lt"/>
                        <a:ea typeface="ＭＳ Ｐゴシック" pitchFamily="-97" charset="-128"/>
                        <a:cs typeface="+mn-cs"/>
                      </a:endParaRPr>
                    </a:p>
                  </p:txBody>
                </p:sp>
                <p:sp>
                  <p:nvSpPr>
                    <p:cNvPr id="371" name="Freeform 367"/>
                    <p:cNvSpPr>
                      <a:spLocks/>
                    </p:cNvSpPr>
                    <p:nvPr/>
                  </p:nvSpPr>
                  <p:spPr bwMode="auto">
                    <a:xfrm>
                      <a:off x="3932238" y="3433763"/>
                      <a:ext cx="168275" cy="127000"/>
                    </a:xfrm>
                    <a:custGeom>
                      <a:avLst/>
                      <a:gdLst/>
                      <a:ahLst/>
                      <a:cxnLst>
                        <a:cxn ang="0">
                          <a:pos x="53" y="0"/>
                        </a:cxn>
                        <a:cxn ang="0">
                          <a:pos x="64" y="1"/>
                        </a:cxn>
                        <a:cxn ang="0">
                          <a:pos x="74" y="2"/>
                        </a:cxn>
                        <a:cxn ang="0">
                          <a:pos x="83" y="6"/>
                        </a:cxn>
                        <a:cxn ang="0">
                          <a:pos x="91" y="11"/>
                        </a:cxn>
                        <a:cxn ang="0">
                          <a:pos x="97" y="18"/>
                        </a:cxn>
                        <a:cxn ang="0">
                          <a:pos x="103" y="24"/>
                        </a:cxn>
                        <a:cxn ang="0">
                          <a:pos x="105" y="32"/>
                        </a:cxn>
                        <a:cxn ang="0">
                          <a:pos x="106" y="40"/>
                        </a:cxn>
                        <a:cxn ang="0">
                          <a:pos x="105" y="48"/>
                        </a:cxn>
                        <a:cxn ang="0">
                          <a:pos x="103" y="55"/>
                        </a:cxn>
                        <a:cxn ang="0">
                          <a:pos x="97" y="62"/>
                        </a:cxn>
                        <a:cxn ang="0">
                          <a:pos x="91" y="68"/>
                        </a:cxn>
                        <a:cxn ang="0">
                          <a:pos x="83" y="74"/>
                        </a:cxn>
                        <a:cxn ang="0">
                          <a:pos x="74" y="78"/>
                        </a:cxn>
                        <a:cxn ang="0">
                          <a:pos x="64" y="79"/>
                        </a:cxn>
                        <a:cxn ang="0">
                          <a:pos x="53" y="80"/>
                        </a:cxn>
                        <a:cxn ang="0">
                          <a:pos x="43" y="79"/>
                        </a:cxn>
                        <a:cxn ang="0">
                          <a:pos x="32" y="78"/>
                        </a:cxn>
                        <a:cxn ang="0">
                          <a:pos x="23" y="74"/>
                        </a:cxn>
                        <a:cxn ang="0">
                          <a:pos x="16" y="68"/>
                        </a:cxn>
                        <a:cxn ang="0">
                          <a:pos x="9" y="62"/>
                        </a:cxn>
                        <a:cxn ang="0">
                          <a:pos x="4" y="55"/>
                        </a:cxn>
                        <a:cxn ang="0">
                          <a:pos x="1" y="48"/>
                        </a:cxn>
                        <a:cxn ang="0">
                          <a:pos x="0" y="40"/>
                        </a:cxn>
                        <a:cxn ang="0">
                          <a:pos x="1" y="32"/>
                        </a:cxn>
                        <a:cxn ang="0">
                          <a:pos x="4" y="24"/>
                        </a:cxn>
                        <a:cxn ang="0">
                          <a:pos x="9" y="18"/>
                        </a:cxn>
                        <a:cxn ang="0">
                          <a:pos x="16" y="11"/>
                        </a:cxn>
                        <a:cxn ang="0">
                          <a:pos x="23" y="6"/>
                        </a:cxn>
                        <a:cxn ang="0">
                          <a:pos x="32" y="2"/>
                        </a:cxn>
                        <a:cxn ang="0">
                          <a:pos x="43" y="1"/>
                        </a:cxn>
                        <a:cxn ang="0">
                          <a:pos x="53" y="0"/>
                        </a:cxn>
                      </a:cxnLst>
                      <a:rect l="0" t="0" r="r" b="b"/>
                      <a:pathLst>
                        <a:path w="106" h="80">
                          <a:moveTo>
                            <a:pt x="53" y="0"/>
                          </a:moveTo>
                          <a:lnTo>
                            <a:pt x="64" y="1"/>
                          </a:lnTo>
                          <a:lnTo>
                            <a:pt x="74" y="2"/>
                          </a:lnTo>
                          <a:lnTo>
                            <a:pt x="83" y="6"/>
                          </a:lnTo>
                          <a:lnTo>
                            <a:pt x="91" y="11"/>
                          </a:lnTo>
                          <a:lnTo>
                            <a:pt x="97" y="18"/>
                          </a:lnTo>
                          <a:lnTo>
                            <a:pt x="103" y="24"/>
                          </a:lnTo>
                          <a:lnTo>
                            <a:pt x="105" y="32"/>
                          </a:lnTo>
                          <a:lnTo>
                            <a:pt x="106" y="40"/>
                          </a:lnTo>
                          <a:lnTo>
                            <a:pt x="105" y="48"/>
                          </a:lnTo>
                          <a:lnTo>
                            <a:pt x="103" y="55"/>
                          </a:lnTo>
                          <a:lnTo>
                            <a:pt x="97" y="62"/>
                          </a:lnTo>
                          <a:lnTo>
                            <a:pt x="91" y="68"/>
                          </a:lnTo>
                          <a:lnTo>
                            <a:pt x="83" y="74"/>
                          </a:lnTo>
                          <a:lnTo>
                            <a:pt x="74" y="78"/>
                          </a:lnTo>
                          <a:lnTo>
                            <a:pt x="64" y="79"/>
                          </a:lnTo>
                          <a:lnTo>
                            <a:pt x="53" y="80"/>
                          </a:lnTo>
                          <a:lnTo>
                            <a:pt x="43" y="79"/>
                          </a:lnTo>
                          <a:lnTo>
                            <a:pt x="32" y="78"/>
                          </a:lnTo>
                          <a:lnTo>
                            <a:pt x="23" y="74"/>
                          </a:lnTo>
                          <a:lnTo>
                            <a:pt x="16" y="68"/>
                          </a:lnTo>
                          <a:lnTo>
                            <a:pt x="9" y="62"/>
                          </a:lnTo>
                          <a:lnTo>
                            <a:pt x="4" y="55"/>
                          </a:lnTo>
                          <a:lnTo>
                            <a:pt x="1" y="48"/>
                          </a:lnTo>
                          <a:lnTo>
                            <a:pt x="0" y="40"/>
                          </a:lnTo>
                          <a:lnTo>
                            <a:pt x="1" y="32"/>
                          </a:lnTo>
                          <a:lnTo>
                            <a:pt x="4" y="24"/>
                          </a:lnTo>
                          <a:lnTo>
                            <a:pt x="9" y="18"/>
                          </a:lnTo>
                          <a:lnTo>
                            <a:pt x="16" y="11"/>
                          </a:lnTo>
                          <a:lnTo>
                            <a:pt x="23" y="6"/>
                          </a:lnTo>
                          <a:lnTo>
                            <a:pt x="32" y="2"/>
                          </a:lnTo>
                          <a:lnTo>
                            <a:pt x="43" y="1"/>
                          </a:lnTo>
                          <a:lnTo>
                            <a:pt x="53" y="0"/>
                          </a:lnTo>
                          <a:close/>
                        </a:path>
                      </a:pathLst>
                    </a:custGeom>
                    <a:grpFill/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pPr fontAlgn="auto">
                        <a:spcBef>
                          <a:spcPts val="0"/>
                        </a:spcBef>
                        <a:spcAft>
                          <a:spcPts val="0"/>
                        </a:spcAft>
                        <a:defRPr/>
                      </a:pPr>
                      <a:endParaRPr lang="da-DK" kern="0">
                        <a:solidFill>
                          <a:sysClr val="windowText" lastClr="000000"/>
                        </a:solidFill>
                        <a:latin typeface="+mn-lt"/>
                        <a:ea typeface="ＭＳ Ｐゴシック" pitchFamily="-97" charset="-128"/>
                        <a:cs typeface="+mn-cs"/>
                      </a:endParaRPr>
                    </a:p>
                  </p:txBody>
                </p:sp>
              </p:grpSp>
            </p:grpSp>
          </p:grpSp>
          <p:sp>
            <p:nvSpPr>
              <p:cNvPr id="361" name="Kors 375"/>
              <p:cNvSpPr/>
              <p:nvPr/>
            </p:nvSpPr>
            <p:spPr>
              <a:xfrm>
                <a:off x="3250474" y="3048000"/>
                <a:ext cx="352799" cy="344133"/>
              </a:xfrm>
              <a:prstGeom prst="plus">
                <a:avLst>
                  <a:gd name="adj" fmla="val 35909"/>
                </a:avLst>
              </a:prstGeom>
              <a:solidFill>
                <a:srgbClr val="E6E6E6">
                  <a:lumMod val="10000"/>
                </a:srgbClr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>
                  <a:solidFill>
                    <a:sysClr val="windowText" lastClr="000000"/>
                  </a:solidFill>
                  <a:latin typeface="+mn-lt"/>
                  <a:ea typeface="ＭＳ Ｐゴシック" pitchFamily="-97" charset="-128"/>
                  <a:cs typeface="+mn-cs"/>
                </a:endParaRPr>
              </a:p>
            </p:txBody>
          </p:sp>
        </p:grpSp>
        <p:grpSp>
          <p:nvGrpSpPr>
            <p:cNvPr id="119" name="Gruppe 248"/>
            <p:cNvGrpSpPr>
              <a:grpSpLocks/>
            </p:cNvGrpSpPr>
            <p:nvPr/>
          </p:nvGrpSpPr>
          <p:grpSpPr bwMode="auto">
            <a:xfrm>
              <a:off x="6451600" y="2871788"/>
              <a:ext cx="647700" cy="1462087"/>
              <a:chOff x="5827714" y="2209800"/>
              <a:chExt cx="1445620" cy="3263900"/>
            </a:xfrm>
          </p:grpSpPr>
          <p:grpSp>
            <p:nvGrpSpPr>
              <p:cNvPr id="335" name="Gruppe 948"/>
              <p:cNvGrpSpPr>
                <a:grpSpLocks/>
              </p:cNvGrpSpPr>
              <p:nvPr/>
            </p:nvGrpSpPr>
            <p:grpSpPr bwMode="auto">
              <a:xfrm>
                <a:off x="5827717" y="2209801"/>
                <a:ext cx="1445621" cy="3263898"/>
                <a:chOff x="5840413" y="260898"/>
                <a:chExt cx="2325687" cy="5250901"/>
              </a:xfrm>
            </p:grpSpPr>
            <p:grpSp>
              <p:nvGrpSpPr>
                <p:cNvPr id="337" name="Gruppe 918"/>
                <p:cNvGrpSpPr>
                  <a:grpSpLocks/>
                </p:cNvGrpSpPr>
                <p:nvPr/>
              </p:nvGrpSpPr>
              <p:grpSpPr bwMode="auto">
                <a:xfrm>
                  <a:off x="5840413" y="1338372"/>
                  <a:ext cx="2325687" cy="4173427"/>
                  <a:chOff x="909639" y="3975112"/>
                  <a:chExt cx="1096961" cy="1968488"/>
                </a:xfrm>
              </p:grpSpPr>
              <p:grpSp>
                <p:nvGrpSpPr>
                  <p:cNvPr id="343" name="Gruppe 821"/>
                  <p:cNvGrpSpPr>
                    <a:grpSpLocks/>
                  </p:cNvGrpSpPr>
                  <p:nvPr/>
                </p:nvGrpSpPr>
                <p:grpSpPr bwMode="auto">
                  <a:xfrm>
                    <a:off x="1019873" y="3975112"/>
                    <a:ext cx="733994" cy="1898571"/>
                    <a:chOff x="1019873" y="3975112"/>
                    <a:chExt cx="733994" cy="1898571"/>
                  </a:xfrm>
                </p:grpSpPr>
                <p:grpSp>
                  <p:nvGrpSpPr>
                    <p:cNvPr id="345" name="Gruppe 605"/>
                    <p:cNvGrpSpPr>
                      <a:grpSpLocks/>
                    </p:cNvGrpSpPr>
                    <p:nvPr/>
                  </p:nvGrpSpPr>
                  <p:grpSpPr bwMode="auto">
                    <a:xfrm>
                      <a:off x="1019873" y="4090780"/>
                      <a:ext cx="733994" cy="1782903"/>
                      <a:chOff x="-9134" y="3497879"/>
                      <a:chExt cx="972941" cy="2363314"/>
                    </a:xfrm>
                  </p:grpSpPr>
                  <p:sp>
                    <p:nvSpPr>
                      <p:cNvPr id="352" name="Freeform 130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-12586" y="3566550"/>
                        <a:ext cx="983598" cy="2273438"/>
                      </a:xfrm>
                      <a:custGeom>
                        <a:avLst/>
                        <a:gdLst/>
                        <a:ahLst/>
                        <a:cxnLst>
                          <a:cxn ang="0">
                            <a:pos x="145" y="87"/>
                          </a:cxn>
                          <a:cxn ang="0">
                            <a:pos x="99" y="110"/>
                          </a:cxn>
                          <a:cxn ang="0">
                            <a:pos x="93" y="162"/>
                          </a:cxn>
                          <a:cxn ang="0">
                            <a:pos x="158" y="272"/>
                          </a:cxn>
                          <a:cxn ang="0">
                            <a:pos x="138" y="326"/>
                          </a:cxn>
                          <a:cxn ang="0">
                            <a:pos x="89" y="375"/>
                          </a:cxn>
                          <a:cxn ang="0">
                            <a:pos x="70" y="414"/>
                          </a:cxn>
                          <a:cxn ang="0">
                            <a:pos x="94" y="449"/>
                          </a:cxn>
                          <a:cxn ang="0">
                            <a:pos x="168" y="522"/>
                          </a:cxn>
                          <a:cxn ang="0">
                            <a:pos x="150" y="638"/>
                          </a:cxn>
                          <a:cxn ang="0">
                            <a:pos x="115" y="750"/>
                          </a:cxn>
                          <a:cxn ang="0">
                            <a:pos x="70" y="804"/>
                          </a:cxn>
                          <a:cxn ang="0">
                            <a:pos x="53" y="835"/>
                          </a:cxn>
                          <a:cxn ang="0">
                            <a:pos x="75" y="868"/>
                          </a:cxn>
                          <a:cxn ang="0">
                            <a:pos x="34" y="905"/>
                          </a:cxn>
                          <a:cxn ang="0">
                            <a:pos x="8" y="942"/>
                          </a:cxn>
                          <a:cxn ang="0">
                            <a:pos x="15" y="999"/>
                          </a:cxn>
                          <a:cxn ang="0">
                            <a:pos x="0" y="1121"/>
                          </a:cxn>
                          <a:cxn ang="0">
                            <a:pos x="69" y="1163"/>
                          </a:cxn>
                          <a:cxn ang="0">
                            <a:pos x="171" y="1189"/>
                          </a:cxn>
                          <a:cxn ang="0">
                            <a:pos x="285" y="1193"/>
                          </a:cxn>
                          <a:cxn ang="0">
                            <a:pos x="393" y="1175"/>
                          </a:cxn>
                          <a:cxn ang="0">
                            <a:pos x="474" y="1129"/>
                          </a:cxn>
                          <a:cxn ang="0">
                            <a:pos x="484" y="1032"/>
                          </a:cxn>
                          <a:cxn ang="0">
                            <a:pos x="489" y="965"/>
                          </a:cxn>
                          <a:cxn ang="0">
                            <a:pos x="470" y="921"/>
                          </a:cxn>
                          <a:cxn ang="0">
                            <a:pos x="441" y="870"/>
                          </a:cxn>
                          <a:cxn ang="0">
                            <a:pos x="449" y="832"/>
                          </a:cxn>
                          <a:cxn ang="0">
                            <a:pos x="425" y="805"/>
                          </a:cxn>
                          <a:cxn ang="0">
                            <a:pos x="373" y="713"/>
                          </a:cxn>
                          <a:cxn ang="0">
                            <a:pos x="349" y="609"/>
                          </a:cxn>
                          <a:cxn ang="0">
                            <a:pos x="344" y="485"/>
                          </a:cxn>
                          <a:cxn ang="0">
                            <a:pos x="417" y="446"/>
                          </a:cxn>
                          <a:cxn ang="0">
                            <a:pos x="436" y="411"/>
                          </a:cxn>
                          <a:cxn ang="0">
                            <a:pos x="414" y="374"/>
                          </a:cxn>
                          <a:cxn ang="0">
                            <a:pos x="379" y="343"/>
                          </a:cxn>
                          <a:cxn ang="0">
                            <a:pos x="393" y="306"/>
                          </a:cxn>
                          <a:cxn ang="0">
                            <a:pos x="376" y="273"/>
                          </a:cxn>
                          <a:cxn ang="0">
                            <a:pos x="409" y="192"/>
                          </a:cxn>
                          <a:cxn ang="0">
                            <a:pos x="432" y="139"/>
                          </a:cxn>
                          <a:cxn ang="0">
                            <a:pos x="416" y="110"/>
                          </a:cxn>
                          <a:cxn ang="0">
                            <a:pos x="349" y="77"/>
                          </a:cxn>
                          <a:cxn ang="0">
                            <a:pos x="322" y="42"/>
                          </a:cxn>
                          <a:cxn ang="0">
                            <a:pos x="309" y="16"/>
                          </a:cxn>
                          <a:cxn ang="0">
                            <a:pos x="281" y="2"/>
                          </a:cxn>
                          <a:cxn ang="0">
                            <a:pos x="243" y="3"/>
                          </a:cxn>
                          <a:cxn ang="0">
                            <a:pos x="215" y="27"/>
                          </a:cxn>
                        </a:cxnLst>
                        <a:rect l="0" t="0" r="r" b="b"/>
                        <a:pathLst>
                          <a:path w="493" h="1194">
                            <a:moveTo>
                              <a:pt x="208" y="62"/>
                            </a:moveTo>
                            <a:lnTo>
                              <a:pt x="167" y="83"/>
                            </a:lnTo>
                            <a:lnTo>
                              <a:pt x="145" y="87"/>
                            </a:lnTo>
                            <a:lnTo>
                              <a:pt x="125" y="93"/>
                            </a:lnTo>
                            <a:lnTo>
                              <a:pt x="110" y="100"/>
                            </a:lnTo>
                            <a:lnTo>
                              <a:pt x="99" y="110"/>
                            </a:lnTo>
                            <a:lnTo>
                              <a:pt x="92" y="124"/>
                            </a:lnTo>
                            <a:lnTo>
                              <a:pt x="90" y="141"/>
                            </a:lnTo>
                            <a:lnTo>
                              <a:pt x="93" y="162"/>
                            </a:lnTo>
                            <a:lnTo>
                              <a:pt x="104" y="187"/>
                            </a:lnTo>
                            <a:lnTo>
                              <a:pt x="158" y="242"/>
                            </a:lnTo>
                            <a:lnTo>
                              <a:pt x="158" y="272"/>
                            </a:lnTo>
                            <a:lnTo>
                              <a:pt x="140" y="282"/>
                            </a:lnTo>
                            <a:lnTo>
                              <a:pt x="135" y="302"/>
                            </a:lnTo>
                            <a:lnTo>
                              <a:pt x="138" y="326"/>
                            </a:lnTo>
                            <a:lnTo>
                              <a:pt x="147" y="346"/>
                            </a:lnTo>
                            <a:lnTo>
                              <a:pt x="104" y="360"/>
                            </a:lnTo>
                            <a:lnTo>
                              <a:pt x="89" y="375"/>
                            </a:lnTo>
                            <a:lnTo>
                              <a:pt x="77" y="389"/>
                            </a:lnTo>
                            <a:lnTo>
                              <a:pt x="71" y="402"/>
                            </a:lnTo>
                            <a:lnTo>
                              <a:pt x="70" y="414"/>
                            </a:lnTo>
                            <a:lnTo>
                              <a:pt x="74" y="426"/>
                            </a:lnTo>
                            <a:lnTo>
                              <a:pt x="82" y="437"/>
                            </a:lnTo>
                            <a:lnTo>
                              <a:pt x="94" y="449"/>
                            </a:lnTo>
                            <a:lnTo>
                              <a:pt x="113" y="459"/>
                            </a:lnTo>
                            <a:lnTo>
                              <a:pt x="173" y="480"/>
                            </a:lnTo>
                            <a:lnTo>
                              <a:pt x="168" y="522"/>
                            </a:lnTo>
                            <a:lnTo>
                              <a:pt x="162" y="562"/>
                            </a:lnTo>
                            <a:lnTo>
                              <a:pt x="156" y="601"/>
                            </a:lnTo>
                            <a:lnTo>
                              <a:pt x="150" y="638"/>
                            </a:lnTo>
                            <a:lnTo>
                              <a:pt x="140" y="676"/>
                            </a:lnTo>
                            <a:lnTo>
                              <a:pt x="129" y="713"/>
                            </a:lnTo>
                            <a:lnTo>
                              <a:pt x="115" y="750"/>
                            </a:lnTo>
                            <a:lnTo>
                              <a:pt x="98" y="789"/>
                            </a:lnTo>
                            <a:lnTo>
                              <a:pt x="83" y="796"/>
                            </a:lnTo>
                            <a:lnTo>
                              <a:pt x="70" y="804"/>
                            </a:lnTo>
                            <a:lnTo>
                              <a:pt x="61" y="814"/>
                            </a:lnTo>
                            <a:lnTo>
                              <a:pt x="55" y="823"/>
                            </a:lnTo>
                            <a:lnTo>
                              <a:pt x="53" y="835"/>
                            </a:lnTo>
                            <a:lnTo>
                              <a:pt x="55" y="845"/>
                            </a:lnTo>
                            <a:lnTo>
                              <a:pt x="62" y="857"/>
                            </a:lnTo>
                            <a:lnTo>
                              <a:pt x="75" y="868"/>
                            </a:lnTo>
                            <a:lnTo>
                              <a:pt x="78" y="889"/>
                            </a:lnTo>
                            <a:lnTo>
                              <a:pt x="53" y="896"/>
                            </a:lnTo>
                            <a:lnTo>
                              <a:pt x="34" y="905"/>
                            </a:lnTo>
                            <a:lnTo>
                              <a:pt x="21" y="916"/>
                            </a:lnTo>
                            <a:lnTo>
                              <a:pt x="13" y="928"/>
                            </a:lnTo>
                            <a:lnTo>
                              <a:pt x="8" y="942"/>
                            </a:lnTo>
                            <a:lnTo>
                              <a:pt x="8" y="959"/>
                            </a:lnTo>
                            <a:lnTo>
                              <a:pt x="10" y="978"/>
                            </a:lnTo>
                            <a:lnTo>
                              <a:pt x="15" y="999"/>
                            </a:lnTo>
                            <a:lnTo>
                              <a:pt x="19" y="1032"/>
                            </a:lnTo>
                            <a:lnTo>
                              <a:pt x="0" y="1057"/>
                            </a:lnTo>
                            <a:lnTo>
                              <a:pt x="0" y="1121"/>
                            </a:lnTo>
                            <a:lnTo>
                              <a:pt x="18" y="1137"/>
                            </a:lnTo>
                            <a:lnTo>
                              <a:pt x="41" y="1151"/>
                            </a:lnTo>
                            <a:lnTo>
                              <a:pt x="69" y="1163"/>
                            </a:lnTo>
                            <a:lnTo>
                              <a:pt x="101" y="1174"/>
                            </a:lnTo>
                            <a:lnTo>
                              <a:pt x="135" y="1182"/>
                            </a:lnTo>
                            <a:lnTo>
                              <a:pt x="171" y="1189"/>
                            </a:lnTo>
                            <a:lnTo>
                              <a:pt x="208" y="1192"/>
                            </a:lnTo>
                            <a:lnTo>
                              <a:pt x="246" y="1194"/>
                            </a:lnTo>
                            <a:lnTo>
                              <a:pt x="285" y="1193"/>
                            </a:lnTo>
                            <a:lnTo>
                              <a:pt x="322" y="1190"/>
                            </a:lnTo>
                            <a:lnTo>
                              <a:pt x="359" y="1184"/>
                            </a:lnTo>
                            <a:lnTo>
                              <a:pt x="393" y="1175"/>
                            </a:lnTo>
                            <a:lnTo>
                              <a:pt x="424" y="1162"/>
                            </a:lnTo>
                            <a:lnTo>
                              <a:pt x="451" y="1147"/>
                            </a:lnTo>
                            <a:lnTo>
                              <a:pt x="474" y="1129"/>
                            </a:lnTo>
                            <a:lnTo>
                              <a:pt x="493" y="1107"/>
                            </a:lnTo>
                            <a:lnTo>
                              <a:pt x="493" y="1069"/>
                            </a:lnTo>
                            <a:lnTo>
                              <a:pt x="484" y="1032"/>
                            </a:lnTo>
                            <a:lnTo>
                              <a:pt x="487" y="1005"/>
                            </a:lnTo>
                            <a:lnTo>
                              <a:pt x="489" y="984"/>
                            </a:lnTo>
                            <a:lnTo>
                              <a:pt x="489" y="965"/>
                            </a:lnTo>
                            <a:lnTo>
                              <a:pt x="486" y="950"/>
                            </a:lnTo>
                            <a:lnTo>
                              <a:pt x="480" y="936"/>
                            </a:lnTo>
                            <a:lnTo>
                              <a:pt x="470" y="921"/>
                            </a:lnTo>
                            <a:lnTo>
                              <a:pt x="454" y="906"/>
                            </a:lnTo>
                            <a:lnTo>
                              <a:pt x="433" y="888"/>
                            </a:lnTo>
                            <a:lnTo>
                              <a:pt x="441" y="870"/>
                            </a:lnTo>
                            <a:lnTo>
                              <a:pt x="446" y="855"/>
                            </a:lnTo>
                            <a:lnTo>
                              <a:pt x="449" y="842"/>
                            </a:lnTo>
                            <a:lnTo>
                              <a:pt x="449" y="832"/>
                            </a:lnTo>
                            <a:lnTo>
                              <a:pt x="444" y="823"/>
                            </a:lnTo>
                            <a:lnTo>
                              <a:pt x="438" y="814"/>
                            </a:lnTo>
                            <a:lnTo>
                              <a:pt x="425" y="805"/>
                            </a:lnTo>
                            <a:lnTo>
                              <a:pt x="409" y="793"/>
                            </a:lnTo>
                            <a:lnTo>
                              <a:pt x="389" y="751"/>
                            </a:lnTo>
                            <a:lnTo>
                              <a:pt x="373" y="713"/>
                            </a:lnTo>
                            <a:lnTo>
                              <a:pt x="362" y="677"/>
                            </a:lnTo>
                            <a:lnTo>
                              <a:pt x="355" y="644"/>
                            </a:lnTo>
                            <a:lnTo>
                              <a:pt x="349" y="609"/>
                            </a:lnTo>
                            <a:lnTo>
                              <a:pt x="345" y="572"/>
                            </a:lnTo>
                            <a:lnTo>
                              <a:pt x="344" y="531"/>
                            </a:lnTo>
                            <a:lnTo>
                              <a:pt x="344" y="485"/>
                            </a:lnTo>
                            <a:lnTo>
                              <a:pt x="379" y="471"/>
                            </a:lnTo>
                            <a:lnTo>
                              <a:pt x="404" y="455"/>
                            </a:lnTo>
                            <a:lnTo>
                              <a:pt x="417" y="446"/>
                            </a:lnTo>
                            <a:lnTo>
                              <a:pt x="426" y="435"/>
                            </a:lnTo>
                            <a:lnTo>
                              <a:pt x="433" y="423"/>
                            </a:lnTo>
                            <a:lnTo>
                              <a:pt x="436" y="411"/>
                            </a:lnTo>
                            <a:lnTo>
                              <a:pt x="434" y="398"/>
                            </a:lnTo>
                            <a:lnTo>
                              <a:pt x="427" y="386"/>
                            </a:lnTo>
                            <a:lnTo>
                              <a:pt x="414" y="374"/>
                            </a:lnTo>
                            <a:lnTo>
                              <a:pt x="394" y="364"/>
                            </a:lnTo>
                            <a:lnTo>
                              <a:pt x="368" y="356"/>
                            </a:lnTo>
                            <a:lnTo>
                              <a:pt x="379" y="343"/>
                            </a:lnTo>
                            <a:lnTo>
                              <a:pt x="386" y="330"/>
                            </a:lnTo>
                            <a:lnTo>
                              <a:pt x="390" y="318"/>
                            </a:lnTo>
                            <a:lnTo>
                              <a:pt x="393" y="306"/>
                            </a:lnTo>
                            <a:lnTo>
                              <a:pt x="390" y="295"/>
                            </a:lnTo>
                            <a:lnTo>
                              <a:pt x="386" y="283"/>
                            </a:lnTo>
                            <a:lnTo>
                              <a:pt x="376" y="273"/>
                            </a:lnTo>
                            <a:lnTo>
                              <a:pt x="364" y="261"/>
                            </a:lnTo>
                            <a:lnTo>
                              <a:pt x="389" y="227"/>
                            </a:lnTo>
                            <a:lnTo>
                              <a:pt x="409" y="192"/>
                            </a:lnTo>
                            <a:lnTo>
                              <a:pt x="420" y="170"/>
                            </a:lnTo>
                            <a:lnTo>
                              <a:pt x="428" y="153"/>
                            </a:lnTo>
                            <a:lnTo>
                              <a:pt x="432" y="139"/>
                            </a:lnTo>
                            <a:lnTo>
                              <a:pt x="432" y="128"/>
                            </a:lnTo>
                            <a:lnTo>
                              <a:pt x="426" y="118"/>
                            </a:lnTo>
                            <a:lnTo>
                              <a:pt x="416" y="110"/>
                            </a:lnTo>
                            <a:lnTo>
                              <a:pt x="400" y="102"/>
                            </a:lnTo>
                            <a:lnTo>
                              <a:pt x="378" y="92"/>
                            </a:lnTo>
                            <a:lnTo>
                              <a:pt x="349" y="77"/>
                            </a:lnTo>
                            <a:lnTo>
                              <a:pt x="320" y="68"/>
                            </a:lnTo>
                            <a:lnTo>
                              <a:pt x="322" y="54"/>
                            </a:lnTo>
                            <a:lnTo>
                              <a:pt x="322" y="42"/>
                            </a:lnTo>
                            <a:lnTo>
                              <a:pt x="320" y="32"/>
                            </a:lnTo>
                            <a:lnTo>
                              <a:pt x="315" y="23"/>
                            </a:lnTo>
                            <a:lnTo>
                              <a:pt x="309" y="16"/>
                            </a:lnTo>
                            <a:lnTo>
                              <a:pt x="300" y="10"/>
                            </a:lnTo>
                            <a:lnTo>
                              <a:pt x="291" y="5"/>
                            </a:lnTo>
                            <a:lnTo>
                              <a:pt x="281" y="2"/>
                            </a:lnTo>
                            <a:lnTo>
                              <a:pt x="268" y="0"/>
                            </a:lnTo>
                            <a:lnTo>
                              <a:pt x="256" y="1"/>
                            </a:lnTo>
                            <a:lnTo>
                              <a:pt x="243" y="3"/>
                            </a:lnTo>
                            <a:lnTo>
                              <a:pt x="233" y="8"/>
                            </a:lnTo>
                            <a:lnTo>
                              <a:pt x="222" y="16"/>
                            </a:lnTo>
                            <a:lnTo>
                              <a:pt x="215" y="27"/>
                            </a:lnTo>
                            <a:lnTo>
                              <a:pt x="211" y="42"/>
                            </a:lnTo>
                            <a:lnTo>
                              <a:pt x="208" y="62"/>
                            </a:lnTo>
                            <a:close/>
                          </a:path>
                        </a:pathLst>
                      </a:custGeom>
                      <a:gradFill flip="none" rotWithShape="1">
                        <a:gsLst>
                          <a:gs pos="100000">
                            <a:srgbClr val="E6E6E6"/>
                          </a:gs>
                          <a:gs pos="44000">
                            <a:srgbClr val="080808"/>
                          </a:gs>
                          <a:gs pos="48000">
                            <a:srgbClr val="080808"/>
                          </a:gs>
                        </a:gsLst>
                        <a:lin ang="0" scaled="1"/>
                        <a:tileRect/>
                      </a:gradFill>
                      <a:ln w="9525" cap="flat" cmpd="sng" algn="ctr">
                        <a:noFill/>
                        <a:prstDash val="solid"/>
                      </a:ln>
                      <a:effectLst>
                        <a:outerShdw blurRad="40000" dist="23000" dir="5400000" rotWithShape="0">
                          <a:srgbClr val="000000">
                            <a:alpha val="35000"/>
                          </a:srgbClr>
                        </a:outerShdw>
                      </a:effectLst>
                    </p:spPr>
                    <p:txBody>
                      <a:bodyPr anchor="ctr"/>
                      <a:lstStyle/>
                      <a:p>
                        <a:pPr algn="ctr" fontAlgn="auto">
                          <a:spcBef>
                            <a:spcPts val="0"/>
                          </a:spcBef>
                          <a:spcAft>
                            <a:spcPts val="0"/>
                          </a:spcAft>
                          <a:defRPr/>
                        </a:pPr>
                        <a:endParaRPr lang="da-DK" kern="0">
                          <a:solidFill>
                            <a:sysClr val="window" lastClr="FFFFFF"/>
                          </a:solidFill>
                          <a:latin typeface="Calibri"/>
                          <a:cs typeface="+mn-cs"/>
                        </a:endParaRPr>
                      </a:p>
                    </p:txBody>
                  </p:sp>
                  <p:sp>
                    <p:nvSpPr>
                      <p:cNvPr id="353" name="Freeform 131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352756" y="3648731"/>
                        <a:ext cx="365324" cy="164344"/>
                      </a:xfrm>
                      <a:custGeom>
                        <a:avLst/>
                        <a:gdLst/>
                        <a:ahLst/>
                        <a:cxnLst>
                          <a:cxn ang="0">
                            <a:pos x="13" y="8"/>
                          </a:cxn>
                          <a:cxn ang="0">
                            <a:pos x="0" y="22"/>
                          </a:cxn>
                          <a:cxn ang="0">
                            <a:pos x="8" y="43"/>
                          </a:cxn>
                          <a:cxn ang="0">
                            <a:pos x="28" y="49"/>
                          </a:cxn>
                          <a:cxn ang="0">
                            <a:pos x="53" y="54"/>
                          </a:cxn>
                          <a:cxn ang="0">
                            <a:pos x="81" y="58"/>
                          </a:cxn>
                          <a:cxn ang="0">
                            <a:pos x="108" y="56"/>
                          </a:cxn>
                          <a:cxn ang="0">
                            <a:pos x="135" y="53"/>
                          </a:cxn>
                          <a:cxn ang="0">
                            <a:pos x="159" y="46"/>
                          </a:cxn>
                          <a:cxn ang="0">
                            <a:pos x="176" y="33"/>
                          </a:cxn>
                          <a:cxn ang="0">
                            <a:pos x="185" y="16"/>
                          </a:cxn>
                          <a:cxn ang="0">
                            <a:pos x="160" y="6"/>
                          </a:cxn>
                          <a:cxn ang="0">
                            <a:pos x="144" y="0"/>
                          </a:cxn>
                          <a:cxn ang="0">
                            <a:pos x="139" y="15"/>
                          </a:cxn>
                          <a:cxn ang="0">
                            <a:pos x="127" y="24"/>
                          </a:cxn>
                          <a:cxn ang="0">
                            <a:pos x="109" y="29"/>
                          </a:cxn>
                          <a:cxn ang="0">
                            <a:pos x="89" y="29"/>
                          </a:cxn>
                          <a:cxn ang="0">
                            <a:pos x="68" y="25"/>
                          </a:cxn>
                          <a:cxn ang="0">
                            <a:pos x="51" y="20"/>
                          </a:cxn>
                          <a:cxn ang="0">
                            <a:pos x="38" y="11"/>
                          </a:cxn>
                          <a:cxn ang="0">
                            <a:pos x="33" y="1"/>
                          </a:cxn>
                          <a:cxn ang="0">
                            <a:pos x="13" y="8"/>
                          </a:cxn>
                        </a:cxnLst>
                        <a:rect l="0" t="0" r="r" b="b"/>
                        <a:pathLst>
                          <a:path w="185" h="58">
                            <a:moveTo>
                              <a:pt x="13" y="8"/>
                            </a:moveTo>
                            <a:lnTo>
                              <a:pt x="0" y="22"/>
                            </a:lnTo>
                            <a:lnTo>
                              <a:pt x="8" y="43"/>
                            </a:lnTo>
                            <a:lnTo>
                              <a:pt x="28" y="49"/>
                            </a:lnTo>
                            <a:lnTo>
                              <a:pt x="53" y="54"/>
                            </a:lnTo>
                            <a:lnTo>
                              <a:pt x="81" y="58"/>
                            </a:lnTo>
                            <a:lnTo>
                              <a:pt x="108" y="56"/>
                            </a:lnTo>
                            <a:lnTo>
                              <a:pt x="135" y="53"/>
                            </a:lnTo>
                            <a:lnTo>
                              <a:pt x="159" y="46"/>
                            </a:lnTo>
                            <a:lnTo>
                              <a:pt x="176" y="33"/>
                            </a:lnTo>
                            <a:lnTo>
                              <a:pt x="185" y="16"/>
                            </a:lnTo>
                            <a:lnTo>
                              <a:pt x="160" y="6"/>
                            </a:lnTo>
                            <a:lnTo>
                              <a:pt x="144" y="0"/>
                            </a:lnTo>
                            <a:lnTo>
                              <a:pt x="139" y="15"/>
                            </a:lnTo>
                            <a:lnTo>
                              <a:pt x="127" y="24"/>
                            </a:lnTo>
                            <a:lnTo>
                              <a:pt x="109" y="29"/>
                            </a:lnTo>
                            <a:lnTo>
                              <a:pt x="89" y="29"/>
                            </a:lnTo>
                            <a:lnTo>
                              <a:pt x="68" y="25"/>
                            </a:lnTo>
                            <a:lnTo>
                              <a:pt x="51" y="20"/>
                            </a:lnTo>
                            <a:lnTo>
                              <a:pt x="38" y="11"/>
                            </a:lnTo>
                            <a:lnTo>
                              <a:pt x="33" y="1"/>
                            </a:lnTo>
                            <a:lnTo>
                              <a:pt x="13" y="8"/>
                            </a:lnTo>
                            <a:close/>
                          </a:path>
                        </a:pathLst>
                      </a:custGeom>
                      <a:solidFill>
                        <a:srgbClr val="E6E6E6">
                          <a:lumMod val="10000"/>
                        </a:srgbClr>
                      </a:solidFill>
                      <a:ln w="9525">
                        <a:noFill/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pPr fontAlgn="auto">
                          <a:spcBef>
                            <a:spcPts val="0"/>
                          </a:spcBef>
                          <a:spcAft>
                            <a:spcPts val="0"/>
                          </a:spcAft>
                          <a:defRPr/>
                        </a:pPr>
                        <a:endParaRPr lang="da-DK" kern="0">
                          <a:solidFill>
                            <a:sysClr val="windowText" lastClr="000000"/>
                          </a:solidFill>
                          <a:latin typeface="+mn-lt"/>
                          <a:ea typeface="ＭＳ Ｐゴシック" pitchFamily="-97" charset="-128"/>
                          <a:cs typeface="+mn-cs"/>
                        </a:endParaRPr>
                      </a:p>
                    </p:txBody>
                  </p:sp>
                  <p:sp>
                    <p:nvSpPr>
                      <p:cNvPr id="354" name="Freeform 132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184141" y="3703512"/>
                        <a:ext cx="646350" cy="191726"/>
                      </a:xfrm>
                      <a:custGeom>
                        <a:avLst/>
                        <a:gdLst/>
                        <a:ahLst/>
                        <a:cxnLst>
                          <a:cxn ang="0">
                            <a:pos x="32" y="10"/>
                          </a:cxn>
                          <a:cxn ang="0">
                            <a:pos x="1" y="26"/>
                          </a:cxn>
                          <a:cxn ang="0">
                            <a:pos x="0" y="43"/>
                          </a:cxn>
                          <a:cxn ang="0">
                            <a:pos x="3" y="60"/>
                          </a:cxn>
                          <a:cxn ang="0">
                            <a:pos x="14" y="71"/>
                          </a:cxn>
                          <a:cxn ang="0">
                            <a:pos x="27" y="81"/>
                          </a:cxn>
                          <a:cxn ang="0">
                            <a:pos x="46" y="90"/>
                          </a:cxn>
                          <a:cxn ang="0">
                            <a:pos x="67" y="95"/>
                          </a:cxn>
                          <a:cxn ang="0">
                            <a:pos x="91" y="100"/>
                          </a:cxn>
                          <a:cxn ang="0">
                            <a:pos x="117" y="102"/>
                          </a:cxn>
                          <a:cxn ang="0">
                            <a:pos x="144" y="102"/>
                          </a:cxn>
                          <a:cxn ang="0">
                            <a:pos x="171" y="102"/>
                          </a:cxn>
                          <a:cxn ang="0">
                            <a:pos x="199" y="100"/>
                          </a:cxn>
                          <a:cxn ang="0">
                            <a:pos x="225" y="98"/>
                          </a:cxn>
                          <a:cxn ang="0">
                            <a:pos x="251" y="94"/>
                          </a:cxn>
                          <a:cxn ang="0">
                            <a:pos x="273" y="90"/>
                          </a:cxn>
                          <a:cxn ang="0">
                            <a:pos x="292" y="85"/>
                          </a:cxn>
                          <a:cxn ang="0">
                            <a:pos x="308" y="79"/>
                          </a:cxn>
                          <a:cxn ang="0">
                            <a:pos x="319" y="71"/>
                          </a:cxn>
                          <a:cxn ang="0">
                            <a:pos x="326" y="61"/>
                          </a:cxn>
                          <a:cxn ang="0">
                            <a:pos x="329" y="50"/>
                          </a:cxn>
                          <a:cxn ang="0">
                            <a:pos x="329" y="39"/>
                          </a:cxn>
                          <a:cxn ang="0">
                            <a:pos x="325" y="28"/>
                          </a:cxn>
                          <a:cxn ang="0">
                            <a:pos x="316" y="18"/>
                          </a:cxn>
                          <a:cxn ang="0">
                            <a:pos x="303" y="8"/>
                          </a:cxn>
                          <a:cxn ang="0">
                            <a:pos x="285" y="0"/>
                          </a:cxn>
                          <a:cxn ang="0">
                            <a:pos x="269" y="18"/>
                          </a:cxn>
                          <a:cxn ang="0">
                            <a:pos x="252" y="31"/>
                          </a:cxn>
                          <a:cxn ang="0">
                            <a:pos x="234" y="39"/>
                          </a:cxn>
                          <a:cxn ang="0">
                            <a:pos x="215" y="43"/>
                          </a:cxn>
                          <a:cxn ang="0">
                            <a:pos x="194" y="45"/>
                          </a:cxn>
                          <a:cxn ang="0">
                            <a:pos x="173" y="43"/>
                          </a:cxn>
                          <a:cxn ang="0">
                            <a:pos x="148" y="41"/>
                          </a:cxn>
                          <a:cxn ang="0">
                            <a:pos x="122" y="40"/>
                          </a:cxn>
                          <a:cxn ang="0">
                            <a:pos x="67" y="30"/>
                          </a:cxn>
                          <a:cxn ang="0">
                            <a:pos x="49" y="3"/>
                          </a:cxn>
                          <a:cxn ang="0">
                            <a:pos x="32" y="10"/>
                          </a:cxn>
                        </a:cxnLst>
                        <a:rect l="0" t="0" r="r" b="b"/>
                        <a:pathLst>
                          <a:path w="329" h="102">
                            <a:moveTo>
                              <a:pt x="32" y="10"/>
                            </a:moveTo>
                            <a:lnTo>
                              <a:pt x="1" y="26"/>
                            </a:lnTo>
                            <a:lnTo>
                              <a:pt x="0" y="43"/>
                            </a:lnTo>
                            <a:lnTo>
                              <a:pt x="3" y="60"/>
                            </a:lnTo>
                            <a:lnTo>
                              <a:pt x="14" y="71"/>
                            </a:lnTo>
                            <a:lnTo>
                              <a:pt x="27" y="81"/>
                            </a:lnTo>
                            <a:lnTo>
                              <a:pt x="46" y="90"/>
                            </a:lnTo>
                            <a:lnTo>
                              <a:pt x="67" y="95"/>
                            </a:lnTo>
                            <a:lnTo>
                              <a:pt x="91" y="100"/>
                            </a:lnTo>
                            <a:lnTo>
                              <a:pt x="117" y="102"/>
                            </a:lnTo>
                            <a:lnTo>
                              <a:pt x="144" y="102"/>
                            </a:lnTo>
                            <a:lnTo>
                              <a:pt x="171" y="102"/>
                            </a:lnTo>
                            <a:lnTo>
                              <a:pt x="199" y="100"/>
                            </a:lnTo>
                            <a:lnTo>
                              <a:pt x="225" y="98"/>
                            </a:lnTo>
                            <a:lnTo>
                              <a:pt x="251" y="94"/>
                            </a:lnTo>
                            <a:lnTo>
                              <a:pt x="273" y="90"/>
                            </a:lnTo>
                            <a:lnTo>
                              <a:pt x="292" y="85"/>
                            </a:lnTo>
                            <a:lnTo>
                              <a:pt x="308" y="79"/>
                            </a:lnTo>
                            <a:lnTo>
                              <a:pt x="319" y="71"/>
                            </a:lnTo>
                            <a:lnTo>
                              <a:pt x="326" y="61"/>
                            </a:lnTo>
                            <a:lnTo>
                              <a:pt x="329" y="50"/>
                            </a:lnTo>
                            <a:lnTo>
                              <a:pt x="329" y="39"/>
                            </a:lnTo>
                            <a:lnTo>
                              <a:pt x="325" y="28"/>
                            </a:lnTo>
                            <a:lnTo>
                              <a:pt x="316" y="18"/>
                            </a:lnTo>
                            <a:lnTo>
                              <a:pt x="303" y="8"/>
                            </a:lnTo>
                            <a:lnTo>
                              <a:pt x="285" y="0"/>
                            </a:lnTo>
                            <a:lnTo>
                              <a:pt x="269" y="18"/>
                            </a:lnTo>
                            <a:lnTo>
                              <a:pt x="252" y="31"/>
                            </a:lnTo>
                            <a:lnTo>
                              <a:pt x="234" y="39"/>
                            </a:lnTo>
                            <a:lnTo>
                              <a:pt x="215" y="43"/>
                            </a:lnTo>
                            <a:lnTo>
                              <a:pt x="194" y="45"/>
                            </a:lnTo>
                            <a:lnTo>
                              <a:pt x="173" y="43"/>
                            </a:lnTo>
                            <a:lnTo>
                              <a:pt x="148" y="41"/>
                            </a:lnTo>
                            <a:lnTo>
                              <a:pt x="122" y="40"/>
                            </a:lnTo>
                            <a:lnTo>
                              <a:pt x="67" y="30"/>
                            </a:lnTo>
                            <a:lnTo>
                              <a:pt x="49" y="3"/>
                            </a:lnTo>
                            <a:lnTo>
                              <a:pt x="32" y="10"/>
                            </a:lnTo>
                            <a:close/>
                          </a:path>
                        </a:pathLst>
                      </a:custGeom>
                      <a:solidFill>
                        <a:srgbClr val="E6E6E6">
                          <a:lumMod val="10000"/>
                        </a:srgbClr>
                      </a:solidFill>
                      <a:ln w="9525">
                        <a:noFill/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pPr fontAlgn="auto">
                          <a:spcBef>
                            <a:spcPts val="0"/>
                          </a:spcBef>
                          <a:spcAft>
                            <a:spcPts val="0"/>
                          </a:spcAft>
                          <a:defRPr/>
                        </a:pPr>
                        <a:endParaRPr lang="da-DK" kern="0">
                          <a:solidFill>
                            <a:sysClr val="windowText" lastClr="000000"/>
                          </a:solidFill>
                          <a:latin typeface="+mn-lt"/>
                          <a:ea typeface="ＭＳ Ｐゴシック" pitchFamily="-97" charset="-128"/>
                          <a:cs typeface="+mn-cs"/>
                        </a:endParaRPr>
                      </a:p>
                    </p:txBody>
                  </p:sp>
                  <p:sp>
                    <p:nvSpPr>
                      <p:cNvPr id="355" name="Freeform 133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352756" y="4114364"/>
                        <a:ext cx="421529" cy="54781"/>
                      </a:xfrm>
                      <a:custGeom>
                        <a:avLst/>
                        <a:gdLst/>
                        <a:ahLst/>
                        <a:cxnLst>
                          <a:cxn ang="0">
                            <a:pos x="12" y="0"/>
                          </a:cxn>
                          <a:cxn ang="0">
                            <a:pos x="24" y="6"/>
                          </a:cxn>
                          <a:cxn ang="0">
                            <a:pos x="35" y="12"/>
                          </a:cxn>
                          <a:cxn ang="0">
                            <a:pos x="47" y="15"/>
                          </a:cxn>
                          <a:cxn ang="0">
                            <a:pos x="58" y="17"/>
                          </a:cxn>
                          <a:cxn ang="0">
                            <a:pos x="70" y="20"/>
                          </a:cxn>
                          <a:cxn ang="0">
                            <a:pos x="82" y="21"/>
                          </a:cxn>
                          <a:cxn ang="0">
                            <a:pos x="94" y="22"/>
                          </a:cxn>
                          <a:cxn ang="0">
                            <a:pos x="106" y="21"/>
                          </a:cxn>
                          <a:cxn ang="0">
                            <a:pos x="119" y="20"/>
                          </a:cxn>
                          <a:cxn ang="0">
                            <a:pos x="131" y="19"/>
                          </a:cxn>
                          <a:cxn ang="0">
                            <a:pos x="143" y="16"/>
                          </a:cxn>
                          <a:cxn ang="0">
                            <a:pos x="156" y="14"/>
                          </a:cxn>
                          <a:cxn ang="0">
                            <a:pos x="167" y="12"/>
                          </a:cxn>
                          <a:cxn ang="0">
                            <a:pos x="180" y="8"/>
                          </a:cxn>
                          <a:cxn ang="0">
                            <a:pos x="192" y="6"/>
                          </a:cxn>
                          <a:cxn ang="0">
                            <a:pos x="204" y="2"/>
                          </a:cxn>
                          <a:cxn ang="0">
                            <a:pos x="204" y="14"/>
                          </a:cxn>
                          <a:cxn ang="0">
                            <a:pos x="196" y="17"/>
                          </a:cxn>
                          <a:cxn ang="0">
                            <a:pos x="188" y="21"/>
                          </a:cxn>
                          <a:cxn ang="0">
                            <a:pos x="178" y="24"/>
                          </a:cxn>
                          <a:cxn ang="0">
                            <a:pos x="167" y="27"/>
                          </a:cxn>
                          <a:cxn ang="0">
                            <a:pos x="155" y="30"/>
                          </a:cxn>
                          <a:cxn ang="0">
                            <a:pos x="143" y="32"/>
                          </a:cxn>
                          <a:cxn ang="0">
                            <a:pos x="129" y="35"/>
                          </a:cxn>
                          <a:cxn ang="0">
                            <a:pos x="117" y="37"/>
                          </a:cxn>
                          <a:cxn ang="0">
                            <a:pos x="102" y="37"/>
                          </a:cxn>
                          <a:cxn ang="0">
                            <a:pos x="88" y="37"/>
                          </a:cxn>
                          <a:cxn ang="0">
                            <a:pos x="73" y="36"/>
                          </a:cxn>
                          <a:cxn ang="0">
                            <a:pos x="58" y="34"/>
                          </a:cxn>
                          <a:cxn ang="0">
                            <a:pos x="44" y="29"/>
                          </a:cxn>
                          <a:cxn ang="0">
                            <a:pos x="29" y="24"/>
                          </a:cxn>
                          <a:cxn ang="0">
                            <a:pos x="14" y="17"/>
                          </a:cxn>
                          <a:cxn ang="0">
                            <a:pos x="0" y="8"/>
                          </a:cxn>
                          <a:cxn ang="0">
                            <a:pos x="12" y="0"/>
                          </a:cxn>
                        </a:cxnLst>
                        <a:rect l="0" t="0" r="r" b="b"/>
                        <a:pathLst>
                          <a:path w="204" h="37">
                            <a:moveTo>
                              <a:pt x="12" y="0"/>
                            </a:moveTo>
                            <a:lnTo>
                              <a:pt x="24" y="6"/>
                            </a:lnTo>
                            <a:lnTo>
                              <a:pt x="35" y="12"/>
                            </a:lnTo>
                            <a:lnTo>
                              <a:pt x="47" y="15"/>
                            </a:lnTo>
                            <a:lnTo>
                              <a:pt x="58" y="17"/>
                            </a:lnTo>
                            <a:lnTo>
                              <a:pt x="70" y="20"/>
                            </a:lnTo>
                            <a:lnTo>
                              <a:pt x="82" y="21"/>
                            </a:lnTo>
                            <a:lnTo>
                              <a:pt x="94" y="22"/>
                            </a:lnTo>
                            <a:lnTo>
                              <a:pt x="106" y="21"/>
                            </a:lnTo>
                            <a:lnTo>
                              <a:pt x="119" y="20"/>
                            </a:lnTo>
                            <a:lnTo>
                              <a:pt x="131" y="19"/>
                            </a:lnTo>
                            <a:lnTo>
                              <a:pt x="143" y="16"/>
                            </a:lnTo>
                            <a:lnTo>
                              <a:pt x="156" y="14"/>
                            </a:lnTo>
                            <a:lnTo>
                              <a:pt x="167" y="12"/>
                            </a:lnTo>
                            <a:lnTo>
                              <a:pt x="180" y="8"/>
                            </a:lnTo>
                            <a:lnTo>
                              <a:pt x="192" y="6"/>
                            </a:lnTo>
                            <a:lnTo>
                              <a:pt x="204" y="2"/>
                            </a:lnTo>
                            <a:lnTo>
                              <a:pt x="204" y="14"/>
                            </a:lnTo>
                            <a:lnTo>
                              <a:pt x="196" y="17"/>
                            </a:lnTo>
                            <a:lnTo>
                              <a:pt x="188" y="21"/>
                            </a:lnTo>
                            <a:lnTo>
                              <a:pt x="178" y="24"/>
                            </a:lnTo>
                            <a:lnTo>
                              <a:pt x="167" y="27"/>
                            </a:lnTo>
                            <a:lnTo>
                              <a:pt x="155" y="30"/>
                            </a:lnTo>
                            <a:lnTo>
                              <a:pt x="143" y="32"/>
                            </a:lnTo>
                            <a:lnTo>
                              <a:pt x="129" y="35"/>
                            </a:lnTo>
                            <a:lnTo>
                              <a:pt x="117" y="37"/>
                            </a:lnTo>
                            <a:lnTo>
                              <a:pt x="102" y="37"/>
                            </a:lnTo>
                            <a:lnTo>
                              <a:pt x="88" y="37"/>
                            </a:lnTo>
                            <a:lnTo>
                              <a:pt x="73" y="36"/>
                            </a:lnTo>
                            <a:lnTo>
                              <a:pt x="58" y="34"/>
                            </a:lnTo>
                            <a:lnTo>
                              <a:pt x="44" y="29"/>
                            </a:lnTo>
                            <a:lnTo>
                              <a:pt x="29" y="24"/>
                            </a:lnTo>
                            <a:lnTo>
                              <a:pt x="14" y="17"/>
                            </a:lnTo>
                            <a:lnTo>
                              <a:pt x="0" y="8"/>
                            </a:lnTo>
                            <a:lnTo>
                              <a:pt x="12" y="0"/>
                            </a:lnTo>
                            <a:close/>
                          </a:path>
                        </a:pathLst>
                      </a:custGeom>
                      <a:solidFill>
                        <a:srgbClr val="E6E6E6">
                          <a:lumMod val="10000"/>
                        </a:srgbClr>
                      </a:solidFill>
                      <a:ln w="9525">
                        <a:noFill/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pPr fontAlgn="auto">
                          <a:spcBef>
                            <a:spcPts val="0"/>
                          </a:spcBef>
                          <a:spcAft>
                            <a:spcPts val="0"/>
                          </a:spcAft>
                          <a:defRPr/>
                        </a:pPr>
                        <a:endParaRPr lang="da-DK" kern="0">
                          <a:solidFill>
                            <a:sysClr val="windowText" lastClr="000000"/>
                          </a:solidFill>
                          <a:latin typeface="+mn-lt"/>
                          <a:ea typeface="ＭＳ Ｐゴシック" pitchFamily="-97" charset="-128"/>
                          <a:cs typeface="+mn-cs"/>
                        </a:endParaRPr>
                      </a:p>
                    </p:txBody>
                  </p:sp>
                  <p:sp>
                    <p:nvSpPr>
                      <p:cNvPr id="356" name="Freeform 135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156029" y="4251326"/>
                        <a:ext cx="702572" cy="164344"/>
                      </a:xfrm>
                      <a:custGeom>
                        <a:avLst/>
                        <a:gdLst/>
                        <a:ahLst/>
                        <a:cxnLst>
                          <a:cxn ang="0">
                            <a:pos x="40" y="0"/>
                          </a:cxn>
                          <a:cxn ang="0">
                            <a:pos x="19" y="9"/>
                          </a:cxn>
                          <a:cxn ang="0">
                            <a:pos x="6" y="20"/>
                          </a:cxn>
                          <a:cxn ang="0">
                            <a:pos x="0" y="30"/>
                          </a:cxn>
                          <a:cxn ang="0">
                            <a:pos x="0" y="42"/>
                          </a:cxn>
                          <a:cxn ang="0">
                            <a:pos x="7" y="53"/>
                          </a:cxn>
                          <a:cxn ang="0">
                            <a:pos x="17" y="65"/>
                          </a:cxn>
                          <a:cxn ang="0">
                            <a:pos x="32" y="75"/>
                          </a:cxn>
                          <a:cxn ang="0">
                            <a:pos x="50" y="85"/>
                          </a:cxn>
                          <a:cxn ang="0">
                            <a:pos x="66" y="89"/>
                          </a:cxn>
                          <a:cxn ang="0">
                            <a:pos x="82" y="92"/>
                          </a:cxn>
                          <a:cxn ang="0">
                            <a:pos x="97" y="95"/>
                          </a:cxn>
                          <a:cxn ang="0">
                            <a:pos x="113" y="96"/>
                          </a:cxn>
                          <a:cxn ang="0">
                            <a:pos x="128" y="98"/>
                          </a:cxn>
                          <a:cxn ang="0">
                            <a:pos x="144" y="99"/>
                          </a:cxn>
                          <a:cxn ang="0">
                            <a:pos x="159" y="99"/>
                          </a:cxn>
                          <a:cxn ang="0">
                            <a:pos x="174" y="100"/>
                          </a:cxn>
                          <a:cxn ang="0">
                            <a:pos x="189" y="100"/>
                          </a:cxn>
                          <a:cxn ang="0">
                            <a:pos x="205" y="100"/>
                          </a:cxn>
                          <a:cxn ang="0">
                            <a:pos x="220" y="99"/>
                          </a:cxn>
                          <a:cxn ang="0">
                            <a:pos x="236" y="99"/>
                          </a:cxn>
                          <a:cxn ang="0">
                            <a:pos x="251" y="98"/>
                          </a:cxn>
                          <a:cxn ang="0">
                            <a:pos x="267" y="97"/>
                          </a:cxn>
                          <a:cxn ang="0">
                            <a:pos x="284" y="95"/>
                          </a:cxn>
                          <a:cxn ang="0">
                            <a:pos x="300" y="94"/>
                          </a:cxn>
                          <a:cxn ang="0">
                            <a:pos x="323" y="81"/>
                          </a:cxn>
                          <a:cxn ang="0">
                            <a:pos x="339" y="68"/>
                          </a:cxn>
                          <a:cxn ang="0">
                            <a:pos x="349" y="56"/>
                          </a:cxn>
                          <a:cxn ang="0">
                            <a:pos x="351" y="43"/>
                          </a:cxn>
                          <a:cxn ang="0">
                            <a:pos x="348" y="31"/>
                          </a:cxn>
                          <a:cxn ang="0">
                            <a:pos x="338" y="21"/>
                          </a:cxn>
                          <a:cxn ang="0">
                            <a:pos x="320" y="12"/>
                          </a:cxn>
                          <a:cxn ang="0">
                            <a:pos x="296" y="5"/>
                          </a:cxn>
                          <a:cxn ang="0">
                            <a:pos x="298" y="15"/>
                          </a:cxn>
                          <a:cxn ang="0">
                            <a:pos x="294" y="23"/>
                          </a:cxn>
                          <a:cxn ang="0">
                            <a:pos x="284" y="30"/>
                          </a:cxn>
                          <a:cxn ang="0">
                            <a:pos x="272" y="37"/>
                          </a:cxn>
                          <a:cxn ang="0">
                            <a:pos x="258" y="38"/>
                          </a:cxn>
                          <a:cxn ang="0">
                            <a:pos x="245" y="39"/>
                          </a:cxn>
                          <a:cxn ang="0">
                            <a:pos x="234" y="41"/>
                          </a:cxn>
                          <a:cxn ang="0">
                            <a:pos x="222" y="42"/>
                          </a:cxn>
                          <a:cxn ang="0">
                            <a:pos x="211" y="43"/>
                          </a:cxn>
                          <a:cxn ang="0">
                            <a:pos x="199" y="43"/>
                          </a:cxn>
                          <a:cxn ang="0">
                            <a:pos x="188" y="44"/>
                          </a:cxn>
                          <a:cxn ang="0">
                            <a:pos x="178" y="44"/>
                          </a:cxn>
                          <a:cxn ang="0">
                            <a:pos x="166" y="44"/>
                          </a:cxn>
                          <a:cxn ang="0">
                            <a:pos x="155" y="44"/>
                          </a:cxn>
                          <a:cxn ang="0">
                            <a:pos x="143" y="44"/>
                          </a:cxn>
                          <a:cxn ang="0">
                            <a:pos x="133" y="43"/>
                          </a:cxn>
                          <a:cxn ang="0">
                            <a:pos x="120" y="42"/>
                          </a:cxn>
                          <a:cxn ang="0">
                            <a:pos x="108" y="41"/>
                          </a:cxn>
                          <a:cxn ang="0">
                            <a:pos x="96" y="39"/>
                          </a:cxn>
                          <a:cxn ang="0">
                            <a:pos x="82" y="37"/>
                          </a:cxn>
                          <a:cxn ang="0">
                            <a:pos x="73" y="32"/>
                          </a:cxn>
                          <a:cxn ang="0">
                            <a:pos x="65" y="28"/>
                          </a:cxn>
                          <a:cxn ang="0">
                            <a:pos x="58" y="23"/>
                          </a:cxn>
                          <a:cxn ang="0">
                            <a:pos x="52" y="19"/>
                          </a:cxn>
                          <a:cxn ang="0">
                            <a:pos x="47" y="14"/>
                          </a:cxn>
                          <a:cxn ang="0">
                            <a:pos x="44" y="11"/>
                          </a:cxn>
                          <a:cxn ang="0">
                            <a:pos x="42" y="5"/>
                          </a:cxn>
                          <a:cxn ang="0">
                            <a:pos x="40" y="0"/>
                          </a:cxn>
                        </a:cxnLst>
                        <a:rect l="0" t="0" r="r" b="b"/>
                        <a:pathLst>
                          <a:path w="351" h="100">
                            <a:moveTo>
                              <a:pt x="40" y="0"/>
                            </a:moveTo>
                            <a:lnTo>
                              <a:pt x="19" y="9"/>
                            </a:lnTo>
                            <a:lnTo>
                              <a:pt x="6" y="20"/>
                            </a:lnTo>
                            <a:lnTo>
                              <a:pt x="0" y="30"/>
                            </a:lnTo>
                            <a:lnTo>
                              <a:pt x="0" y="42"/>
                            </a:lnTo>
                            <a:lnTo>
                              <a:pt x="7" y="53"/>
                            </a:lnTo>
                            <a:lnTo>
                              <a:pt x="17" y="65"/>
                            </a:lnTo>
                            <a:lnTo>
                              <a:pt x="32" y="75"/>
                            </a:lnTo>
                            <a:lnTo>
                              <a:pt x="50" y="85"/>
                            </a:lnTo>
                            <a:lnTo>
                              <a:pt x="66" y="89"/>
                            </a:lnTo>
                            <a:lnTo>
                              <a:pt x="82" y="92"/>
                            </a:lnTo>
                            <a:lnTo>
                              <a:pt x="97" y="95"/>
                            </a:lnTo>
                            <a:lnTo>
                              <a:pt x="113" y="96"/>
                            </a:lnTo>
                            <a:lnTo>
                              <a:pt x="128" y="98"/>
                            </a:lnTo>
                            <a:lnTo>
                              <a:pt x="144" y="99"/>
                            </a:lnTo>
                            <a:lnTo>
                              <a:pt x="159" y="99"/>
                            </a:lnTo>
                            <a:lnTo>
                              <a:pt x="174" y="100"/>
                            </a:lnTo>
                            <a:lnTo>
                              <a:pt x="189" y="100"/>
                            </a:lnTo>
                            <a:lnTo>
                              <a:pt x="205" y="100"/>
                            </a:lnTo>
                            <a:lnTo>
                              <a:pt x="220" y="99"/>
                            </a:lnTo>
                            <a:lnTo>
                              <a:pt x="236" y="99"/>
                            </a:lnTo>
                            <a:lnTo>
                              <a:pt x="251" y="98"/>
                            </a:lnTo>
                            <a:lnTo>
                              <a:pt x="267" y="97"/>
                            </a:lnTo>
                            <a:lnTo>
                              <a:pt x="284" y="95"/>
                            </a:lnTo>
                            <a:lnTo>
                              <a:pt x="300" y="94"/>
                            </a:lnTo>
                            <a:lnTo>
                              <a:pt x="323" y="81"/>
                            </a:lnTo>
                            <a:lnTo>
                              <a:pt x="339" y="68"/>
                            </a:lnTo>
                            <a:lnTo>
                              <a:pt x="349" y="56"/>
                            </a:lnTo>
                            <a:lnTo>
                              <a:pt x="351" y="43"/>
                            </a:lnTo>
                            <a:lnTo>
                              <a:pt x="348" y="31"/>
                            </a:lnTo>
                            <a:lnTo>
                              <a:pt x="338" y="21"/>
                            </a:lnTo>
                            <a:lnTo>
                              <a:pt x="320" y="12"/>
                            </a:lnTo>
                            <a:lnTo>
                              <a:pt x="296" y="5"/>
                            </a:lnTo>
                            <a:lnTo>
                              <a:pt x="298" y="15"/>
                            </a:lnTo>
                            <a:lnTo>
                              <a:pt x="294" y="23"/>
                            </a:lnTo>
                            <a:lnTo>
                              <a:pt x="284" y="30"/>
                            </a:lnTo>
                            <a:lnTo>
                              <a:pt x="272" y="37"/>
                            </a:lnTo>
                            <a:lnTo>
                              <a:pt x="258" y="38"/>
                            </a:lnTo>
                            <a:lnTo>
                              <a:pt x="245" y="39"/>
                            </a:lnTo>
                            <a:lnTo>
                              <a:pt x="234" y="41"/>
                            </a:lnTo>
                            <a:lnTo>
                              <a:pt x="222" y="42"/>
                            </a:lnTo>
                            <a:lnTo>
                              <a:pt x="211" y="43"/>
                            </a:lnTo>
                            <a:lnTo>
                              <a:pt x="199" y="43"/>
                            </a:lnTo>
                            <a:lnTo>
                              <a:pt x="188" y="44"/>
                            </a:lnTo>
                            <a:lnTo>
                              <a:pt x="178" y="44"/>
                            </a:lnTo>
                            <a:lnTo>
                              <a:pt x="166" y="44"/>
                            </a:lnTo>
                            <a:lnTo>
                              <a:pt x="155" y="44"/>
                            </a:lnTo>
                            <a:lnTo>
                              <a:pt x="143" y="44"/>
                            </a:lnTo>
                            <a:lnTo>
                              <a:pt x="133" y="43"/>
                            </a:lnTo>
                            <a:lnTo>
                              <a:pt x="120" y="42"/>
                            </a:lnTo>
                            <a:lnTo>
                              <a:pt x="108" y="41"/>
                            </a:lnTo>
                            <a:lnTo>
                              <a:pt x="96" y="39"/>
                            </a:lnTo>
                            <a:lnTo>
                              <a:pt x="82" y="37"/>
                            </a:lnTo>
                            <a:lnTo>
                              <a:pt x="73" y="32"/>
                            </a:lnTo>
                            <a:lnTo>
                              <a:pt x="65" y="28"/>
                            </a:lnTo>
                            <a:lnTo>
                              <a:pt x="58" y="23"/>
                            </a:lnTo>
                            <a:lnTo>
                              <a:pt x="52" y="19"/>
                            </a:lnTo>
                            <a:lnTo>
                              <a:pt x="47" y="14"/>
                            </a:lnTo>
                            <a:lnTo>
                              <a:pt x="44" y="11"/>
                            </a:lnTo>
                            <a:lnTo>
                              <a:pt x="42" y="5"/>
                            </a:lnTo>
                            <a:lnTo>
                              <a:pt x="40" y="0"/>
                            </a:lnTo>
                            <a:close/>
                          </a:path>
                        </a:pathLst>
                      </a:custGeom>
                      <a:solidFill>
                        <a:srgbClr val="E6E6E6">
                          <a:lumMod val="10000"/>
                        </a:srgbClr>
                      </a:solidFill>
                      <a:ln w="9525">
                        <a:noFill/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pPr fontAlgn="auto">
                          <a:spcBef>
                            <a:spcPts val="0"/>
                          </a:spcBef>
                          <a:spcAft>
                            <a:spcPts val="0"/>
                          </a:spcAft>
                          <a:defRPr/>
                        </a:pPr>
                        <a:endParaRPr lang="da-DK" kern="0">
                          <a:solidFill>
                            <a:sysClr val="windowText" lastClr="000000"/>
                          </a:solidFill>
                          <a:latin typeface="+mn-lt"/>
                          <a:ea typeface="ＭＳ Ｐゴシック" pitchFamily="-97" charset="-128"/>
                          <a:cs typeface="+mn-cs"/>
                        </a:endParaRPr>
                      </a:p>
                    </p:txBody>
                  </p:sp>
                  <p:sp>
                    <p:nvSpPr>
                      <p:cNvPr id="357" name="Freeform 147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99824" y="5073048"/>
                        <a:ext cx="758777" cy="164344"/>
                      </a:xfrm>
                      <a:custGeom>
                        <a:avLst/>
                        <a:gdLst/>
                        <a:ahLst/>
                        <a:cxnLst>
                          <a:cxn ang="0">
                            <a:pos x="24" y="4"/>
                          </a:cxn>
                          <a:cxn ang="0">
                            <a:pos x="68" y="40"/>
                          </a:cxn>
                          <a:cxn ang="0">
                            <a:pos x="89" y="44"/>
                          </a:cxn>
                          <a:cxn ang="0">
                            <a:pos x="108" y="48"/>
                          </a:cxn>
                          <a:cxn ang="0">
                            <a:pos x="127" y="53"/>
                          </a:cxn>
                          <a:cxn ang="0">
                            <a:pos x="144" y="55"/>
                          </a:cxn>
                          <a:cxn ang="0">
                            <a:pos x="160" y="57"/>
                          </a:cxn>
                          <a:cxn ang="0">
                            <a:pos x="176" y="59"/>
                          </a:cxn>
                          <a:cxn ang="0">
                            <a:pos x="192" y="59"/>
                          </a:cxn>
                          <a:cxn ang="0">
                            <a:pos x="207" y="59"/>
                          </a:cxn>
                          <a:cxn ang="0">
                            <a:pos x="222" y="58"/>
                          </a:cxn>
                          <a:cxn ang="0">
                            <a:pos x="237" y="57"/>
                          </a:cxn>
                          <a:cxn ang="0">
                            <a:pos x="253" y="54"/>
                          </a:cxn>
                          <a:cxn ang="0">
                            <a:pos x="270" y="50"/>
                          </a:cxn>
                          <a:cxn ang="0">
                            <a:pos x="286" y="46"/>
                          </a:cxn>
                          <a:cxn ang="0">
                            <a:pos x="304" y="39"/>
                          </a:cxn>
                          <a:cxn ang="0">
                            <a:pos x="323" y="32"/>
                          </a:cxn>
                          <a:cxn ang="0">
                            <a:pos x="342" y="23"/>
                          </a:cxn>
                          <a:cxn ang="0">
                            <a:pos x="348" y="10"/>
                          </a:cxn>
                          <a:cxn ang="0">
                            <a:pos x="352" y="3"/>
                          </a:cxn>
                          <a:cxn ang="0">
                            <a:pos x="356" y="0"/>
                          </a:cxn>
                          <a:cxn ang="0">
                            <a:pos x="359" y="1"/>
                          </a:cxn>
                          <a:cxn ang="0">
                            <a:pos x="363" y="4"/>
                          </a:cxn>
                          <a:cxn ang="0">
                            <a:pos x="367" y="11"/>
                          </a:cxn>
                          <a:cxn ang="0">
                            <a:pos x="374" y="20"/>
                          </a:cxn>
                          <a:cxn ang="0">
                            <a:pos x="382" y="32"/>
                          </a:cxn>
                          <a:cxn ang="0">
                            <a:pos x="366" y="55"/>
                          </a:cxn>
                          <a:cxn ang="0">
                            <a:pos x="349" y="65"/>
                          </a:cxn>
                          <a:cxn ang="0">
                            <a:pos x="329" y="73"/>
                          </a:cxn>
                          <a:cxn ang="0">
                            <a:pos x="310" y="80"/>
                          </a:cxn>
                          <a:cxn ang="0">
                            <a:pos x="288" y="86"/>
                          </a:cxn>
                          <a:cxn ang="0">
                            <a:pos x="266" y="91"/>
                          </a:cxn>
                          <a:cxn ang="0">
                            <a:pos x="243" y="94"/>
                          </a:cxn>
                          <a:cxn ang="0">
                            <a:pos x="219" y="96"/>
                          </a:cxn>
                          <a:cxn ang="0">
                            <a:pos x="196" y="96"/>
                          </a:cxn>
                          <a:cxn ang="0">
                            <a:pos x="172" y="96"/>
                          </a:cxn>
                          <a:cxn ang="0">
                            <a:pos x="147" y="95"/>
                          </a:cxn>
                          <a:cxn ang="0">
                            <a:pos x="124" y="92"/>
                          </a:cxn>
                          <a:cxn ang="0">
                            <a:pos x="101" y="88"/>
                          </a:cxn>
                          <a:cxn ang="0">
                            <a:pos x="78" y="84"/>
                          </a:cxn>
                          <a:cxn ang="0">
                            <a:pos x="58" y="79"/>
                          </a:cxn>
                          <a:cxn ang="0">
                            <a:pos x="37" y="72"/>
                          </a:cxn>
                          <a:cxn ang="0">
                            <a:pos x="18" y="65"/>
                          </a:cxn>
                          <a:cxn ang="0">
                            <a:pos x="12" y="56"/>
                          </a:cxn>
                          <a:cxn ang="0">
                            <a:pos x="6" y="47"/>
                          </a:cxn>
                          <a:cxn ang="0">
                            <a:pos x="2" y="38"/>
                          </a:cxn>
                          <a:cxn ang="0">
                            <a:pos x="0" y="28"/>
                          </a:cxn>
                          <a:cxn ang="0">
                            <a:pos x="0" y="20"/>
                          </a:cxn>
                          <a:cxn ang="0">
                            <a:pos x="5" y="13"/>
                          </a:cxn>
                          <a:cxn ang="0">
                            <a:pos x="12" y="8"/>
                          </a:cxn>
                          <a:cxn ang="0">
                            <a:pos x="24" y="4"/>
                          </a:cxn>
                        </a:cxnLst>
                        <a:rect l="0" t="0" r="r" b="b"/>
                        <a:pathLst>
                          <a:path w="382" h="96">
                            <a:moveTo>
                              <a:pt x="24" y="4"/>
                            </a:moveTo>
                            <a:lnTo>
                              <a:pt x="68" y="40"/>
                            </a:lnTo>
                            <a:lnTo>
                              <a:pt x="89" y="44"/>
                            </a:lnTo>
                            <a:lnTo>
                              <a:pt x="108" y="48"/>
                            </a:lnTo>
                            <a:lnTo>
                              <a:pt x="127" y="53"/>
                            </a:lnTo>
                            <a:lnTo>
                              <a:pt x="144" y="55"/>
                            </a:lnTo>
                            <a:lnTo>
                              <a:pt x="160" y="57"/>
                            </a:lnTo>
                            <a:lnTo>
                              <a:pt x="176" y="59"/>
                            </a:lnTo>
                            <a:lnTo>
                              <a:pt x="192" y="59"/>
                            </a:lnTo>
                            <a:lnTo>
                              <a:pt x="207" y="59"/>
                            </a:lnTo>
                            <a:lnTo>
                              <a:pt x="222" y="58"/>
                            </a:lnTo>
                            <a:lnTo>
                              <a:pt x="237" y="57"/>
                            </a:lnTo>
                            <a:lnTo>
                              <a:pt x="253" y="54"/>
                            </a:lnTo>
                            <a:lnTo>
                              <a:pt x="270" y="50"/>
                            </a:lnTo>
                            <a:lnTo>
                              <a:pt x="286" y="46"/>
                            </a:lnTo>
                            <a:lnTo>
                              <a:pt x="304" y="39"/>
                            </a:lnTo>
                            <a:lnTo>
                              <a:pt x="323" y="32"/>
                            </a:lnTo>
                            <a:lnTo>
                              <a:pt x="342" y="23"/>
                            </a:lnTo>
                            <a:lnTo>
                              <a:pt x="348" y="10"/>
                            </a:lnTo>
                            <a:lnTo>
                              <a:pt x="352" y="3"/>
                            </a:lnTo>
                            <a:lnTo>
                              <a:pt x="356" y="0"/>
                            </a:lnTo>
                            <a:lnTo>
                              <a:pt x="359" y="1"/>
                            </a:lnTo>
                            <a:lnTo>
                              <a:pt x="363" y="4"/>
                            </a:lnTo>
                            <a:lnTo>
                              <a:pt x="367" y="11"/>
                            </a:lnTo>
                            <a:lnTo>
                              <a:pt x="374" y="20"/>
                            </a:lnTo>
                            <a:lnTo>
                              <a:pt x="382" y="32"/>
                            </a:lnTo>
                            <a:lnTo>
                              <a:pt x="366" y="55"/>
                            </a:lnTo>
                            <a:lnTo>
                              <a:pt x="349" y="65"/>
                            </a:lnTo>
                            <a:lnTo>
                              <a:pt x="329" y="73"/>
                            </a:lnTo>
                            <a:lnTo>
                              <a:pt x="310" y="80"/>
                            </a:lnTo>
                            <a:lnTo>
                              <a:pt x="288" y="86"/>
                            </a:lnTo>
                            <a:lnTo>
                              <a:pt x="266" y="91"/>
                            </a:lnTo>
                            <a:lnTo>
                              <a:pt x="243" y="94"/>
                            </a:lnTo>
                            <a:lnTo>
                              <a:pt x="219" y="96"/>
                            </a:lnTo>
                            <a:lnTo>
                              <a:pt x="196" y="96"/>
                            </a:lnTo>
                            <a:lnTo>
                              <a:pt x="172" y="96"/>
                            </a:lnTo>
                            <a:lnTo>
                              <a:pt x="147" y="95"/>
                            </a:lnTo>
                            <a:lnTo>
                              <a:pt x="124" y="92"/>
                            </a:lnTo>
                            <a:lnTo>
                              <a:pt x="101" y="88"/>
                            </a:lnTo>
                            <a:lnTo>
                              <a:pt x="78" y="84"/>
                            </a:lnTo>
                            <a:lnTo>
                              <a:pt x="58" y="79"/>
                            </a:lnTo>
                            <a:lnTo>
                              <a:pt x="37" y="72"/>
                            </a:lnTo>
                            <a:lnTo>
                              <a:pt x="18" y="65"/>
                            </a:lnTo>
                            <a:lnTo>
                              <a:pt x="12" y="56"/>
                            </a:lnTo>
                            <a:lnTo>
                              <a:pt x="6" y="47"/>
                            </a:lnTo>
                            <a:lnTo>
                              <a:pt x="2" y="38"/>
                            </a:lnTo>
                            <a:lnTo>
                              <a:pt x="0" y="28"/>
                            </a:lnTo>
                            <a:lnTo>
                              <a:pt x="0" y="20"/>
                            </a:lnTo>
                            <a:lnTo>
                              <a:pt x="5" y="13"/>
                            </a:lnTo>
                            <a:lnTo>
                              <a:pt x="12" y="8"/>
                            </a:lnTo>
                            <a:lnTo>
                              <a:pt x="24" y="4"/>
                            </a:lnTo>
                            <a:close/>
                          </a:path>
                        </a:pathLst>
                      </a:custGeom>
                      <a:solidFill>
                        <a:srgbClr val="E6E6E6">
                          <a:lumMod val="10000"/>
                        </a:srgbClr>
                      </a:solidFill>
                      <a:ln w="9525">
                        <a:noFill/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pPr fontAlgn="auto">
                          <a:spcBef>
                            <a:spcPts val="0"/>
                          </a:spcBef>
                          <a:spcAft>
                            <a:spcPts val="0"/>
                          </a:spcAft>
                          <a:defRPr/>
                        </a:pPr>
                        <a:endParaRPr lang="da-DK" kern="0">
                          <a:solidFill>
                            <a:sysClr val="windowText" lastClr="000000"/>
                          </a:solidFill>
                          <a:latin typeface="+mn-lt"/>
                          <a:ea typeface="ＭＳ Ｐゴシック" pitchFamily="-97" charset="-128"/>
                          <a:cs typeface="+mn-cs"/>
                        </a:endParaRPr>
                      </a:p>
                    </p:txBody>
                  </p:sp>
                  <p:sp>
                    <p:nvSpPr>
                      <p:cNvPr id="358" name="Freeform 148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-12586" y="5237392"/>
                        <a:ext cx="983598" cy="356071"/>
                      </a:xfrm>
                      <a:custGeom>
                        <a:avLst/>
                        <a:gdLst/>
                        <a:ahLst/>
                        <a:cxnLst>
                          <a:cxn ang="0">
                            <a:pos x="7" y="102"/>
                          </a:cxn>
                          <a:cxn ang="0">
                            <a:pos x="18" y="116"/>
                          </a:cxn>
                          <a:cxn ang="0">
                            <a:pos x="34" y="130"/>
                          </a:cxn>
                          <a:cxn ang="0">
                            <a:pos x="55" y="143"/>
                          </a:cxn>
                          <a:cxn ang="0">
                            <a:pos x="80" y="155"/>
                          </a:cxn>
                          <a:cxn ang="0">
                            <a:pos x="109" y="165"/>
                          </a:cxn>
                          <a:cxn ang="0">
                            <a:pos x="141" y="173"/>
                          </a:cxn>
                          <a:cxn ang="0">
                            <a:pos x="176" y="179"/>
                          </a:cxn>
                          <a:cxn ang="0">
                            <a:pos x="211" y="182"/>
                          </a:cxn>
                          <a:cxn ang="0">
                            <a:pos x="248" y="184"/>
                          </a:cxn>
                          <a:cxn ang="0">
                            <a:pos x="285" y="183"/>
                          </a:cxn>
                          <a:cxn ang="0">
                            <a:pos x="323" y="180"/>
                          </a:cxn>
                          <a:cxn ang="0">
                            <a:pos x="359" y="173"/>
                          </a:cxn>
                          <a:cxn ang="0">
                            <a:pos x="393" y="164"/>
                          </a:cxn>
                          <a:cxn ang="0">
                            <a:pos x="427" y="151"/>
                          </a:cxn>
                          <a:cxn ang="0">
                            <a:pos x="455" y="135"/>
                          </a:cxn>
                          <a:cxn ang="0">
                            <a:pos x="482" y="115"/>
                          </a:cxn>
                          <a:cxn ang="0">
                            <a:pos x="483" y="93"/>
                          </a:cxn>
                          <a:cxn ang="0">
                            <a:pos x="483" y="77"/>
                          </a:cxn>
                          <a:cxn ang="0">
                            <a:pos x="482" y="65"/>
                          </a:cxn>
                          <a:cxn ang="0">
                            <a:pos x="478" y="54"/>
                          </a:cxn>
                          <a:cxn ang="0">
                            <a:pos x="473" y="44"/>
                          </a:cxn>
                          <a:cxn ang="0">
                            <a:pos x="463" y="34"/>
                          </a:cxn>
                          <a:cxn ang="0">
                            <a:pos x="451" y="22"/>
                          </a:cxn>
                          <a:cxn ang="0">
                            <a:pos x="435" y="7"/>
                          </a:cxn>
                          <a:cxn ang="0">
                            <a:pos x="416" y="23"/>
                          </a:cxn>
                          <a:cxn ang="0">
                            <a:pos x="396" y="37"/>
                          </a:cxn>
                          <a:cxn ang="0">
                            <a:pos x="375" y="50"/>
                          </a:cxn>
                          <a:cxn ang="0">
                            <a:pos x="353" y="59"/>
                          </a:cxn>
                          <a:cxn ang="0">
                            <a:pos x="330" y="67"/>
                          </a:cxn>
                          <a:cxn ang="0">
                            <a:pos x="307" y="73"/>
                          </a:cxn>
                          <a:cxn ang="0">
                            <a:pos x="284" y="76"/>
                          </a:cxn>
                          <a:cxn ang="0">
                            <a:pos x="260" y="78"/>
                          </a:cxn>
                          <a:cxn ang="0">
                            <a:pos x="235" y="78"/>
                          </a:cxn>
                          <a:cxn ang="0">
                            <a:pos x="211" y="76"/>
                          </a:cxn>
                          <a:cxn ang="0">
                            <a:pos x="187" y="73"/>
                          </a:cxn>
                          <a:cxn ang="0">
                            <a:pos x="163" y="68"/>
                          </a:cxn>
                          <a:cxn ang="0">
                            <a:pos x="140" y="61"/>
                          </a:cxn>
                          <a:cxn ang="0">
                            <a:pos x="116" y="53"/>
                          </a:cxn>
                          <a:cxn ang="0">
                            <a:pos x="94" y="44"/>
                          </a:cxn>
                          <a:cxn ang="0">
                            <a:pos x="72" y="32"/>
                          </a:cxn>
                          <a:cxn ang="0">
                            <a:pos x="66" y="0"/>
                          </a:cxn>
                          <a:cxn ang="0">
                            <a:pos x="56" y="5"/>
                          </a:cxn>
                          <a:cxn ang="0">
                            <a:pos x="42" y="12"/>
                          </a:cxn>
                          <a:cxn ang="0">
                            <a:pos x="29" y="20"/>
                          </a:cxn>
                          <a:cxn ang="0">
                            <a:pos x="17" y="30"/>
                          </a:cxn>
                          <a:cxn ang="0">
                            <a:pos x="7" y="43"/>
                          </a:cxn>
                          <a:cxn ang="0">
                            <a:pos x="2" y="59"/>
                          </a:cxn>
                          <a:cxn ang="0">
                            <a:pos x="0" y="78"/>
                          </a:cxn>
                          <a:cxn ang="0">
                            <a:pos x="7" y="102"/>
                          </a:cxn>
                        </a:cxnLst>
                        <a:rect l="0" t="0" r="r" b="b"/>
                        <a:pathLst>
                          <a:path w="483" h="184">
                            <a:moveTo>
                              <a:pt x="7" y="102"/>
                            </a:moveTo>
                            <a:lnTo>
                              <a:pt x="18" y="116"/>
                            </a:lnTo>
                            <a:lnTo>
                              <a:pt x="34" y="130"/>
                            </a:lnTo>
                            <a:lnTo>
                              <a:pt x="55" y="143"/>
                            </a:lnTo>
                            <a:lnTo>
                              <a:pt x="80" y="155"/>
                            </a:lnTo>
                            <a:lnTo>
                              <a:pt x="109" y="165"/>
                            </a:lnTo>
                            <a:lnTo>
                              <a:pt x="141" y="173"/>
                            </a:lnTo>
                            <a:lnTo>
                              <a:pt x="176" y="179"/>
                            </a:lnTo>
                            <a:lnTo>
                              <a:pt x="211" y="182"/>
                            </a:lnTo>
                            <a:lnTo>
                              <a:pt x="248" y="184"/>
                            </a:lnTo>
                            <a:lnTo>
                              <a:pt x="285" y="183"/>
                            </a:lnTo>
                            <a:lnTo>
                              <a:pt x="323" y="180"/>
                            </a:lnTo>
                            <a:lnTo>
                              <a:pt x="359" y="173"/>
                            </a:lnTo>
                            <a:lnTo>
                              <a:pt x="393" y="164"/>
                            </a:lnTo>
                            <a:lnTo>
                              <a:pt x="427" y="151"/>
                            </a:lnTo>
                            <a:lnTo>
                              <a:pt x="455" y="135"/>
                            </a:lnTo>
                            <a:lnTo>
                              <a:pt x="482" y="115"/>
                            </a:lnTo>
                            <a:lnTo>
                              <a:pt x="483" y="93"/>
                            </a:lnTo>
                            <a:lnTo>
                              <a:pt x="483" y="77"/>
                            </a:lnTo>
                            <a:lnTo>
                              <a:pt x="482" y="65"/>
                            </a:lnTo>
                            <a:lnTo>
                              <a:pt x="478" y="54"/>
                            </a:lnTo>
                            <a:lnTo>
                              <a:pt x="473" y="44"/>
                            </a:lnTo>
                            <a:lnTo>
                              <a:pt x="463" y="34"/>
                            </a:lnTo>
                            <a:lnTo>
                              <a:pt x="451" y="22"/>
                            </a:lnTo>
                            <a:lnTo>
                              <a:pt x="435" y="7"/>
                            </a:lnTo>
                            <a:lnTo>
                              <a:pt x="416" y="23"/>
                            </a:lnTo>
                            <a:lnTo>
                              <a:pt x="396" y="37"/>
                            </a:lnTo>
                            <a:lnTo>
                              <a:pt x="375" y="50"/>
                            </a:lnTo>
                            <a:lnTo>
                              <a:pt x="353" y="59"/>
                            </a:lnTo>
                            <a:lnTo>
                              <a:pt x="330" y="67"/>
                            </a:lnTo>
                            <a:lnTo>
                              <a:pt x="307" y="73"/>
                            </a:lnTo>
                            <a:lnTo>
                              <a:pt x="284" y="76"/>
                            </a:lnTo>
                            <a:lnTo>
                              <a:pt x="260" y="78"/>
                            </a:lnTo>
                            <a:lnTo>
                              <a:pt x="235" y="78"/>
                            </a:lnTo>
                            <a:lnTo>
                              <a:pt x="211" y="76"/>
                            </a:lnTo>
                            <a:lnTo>
                              <a:pt x="187" y="73"/>
                            </a:lnTo>
                            <a:lnTo>
                              <a:pt x="163" y="68"/>
                            </a:lnTo>
                            <a:lnTo>
                              <a:pt x="140" y="61"/>
                            </a:lnTo>
                            <a:lnTo>
                              <a:pt x="116" y="53"/>
                            </a:lnTo>
                            <a:lnTo>
                              <a:pt x="94" y="44"/>
                            </a:lnTo>
                            <a:lnTo>
                              <a:pt x="72" y="32"/>
                            </a:lnTo>
                            <a:lnTo>
                              <a:pt x="66" y="0"/>
                            </a:lnTo>
                            <a:lnTo>
                              <a:pt x="56" y="5"/>
                            </a:lnTo>
                            <a:lnTo>
                              <a:pt x="42" y="12"/>
                            </a:lnTo>
                            <a:lnTo>
                              <a:pt x="29" y="20"/>
                            </a:lnTo>
                            <a:lnTo>
                              <a:pt x="17" y="30"/>
                            </a:lnTo>
                            <a:lnTo>
                              <a:pt x="7" y="43"/>
                            </a:lnTo>
                            <a:lnTo>
                              <a:pt x="2" y="59"/>
                            </a:lnTo>
                            <a:lnTo>
                              <a:pt x="0" y="78"/>
                            </a:lnTo>
                            <a:lnTo>
                              <a:pt x="7" y="102"/>
                            </a:lnTo>
                            <a:close/>
                          </a:path>
                        </a:pathLst>
                      </a:custGeom>
                      <a:solidFill>
                        <a:srgbClr val="E6E6E6">
                          <a:lumMod val="10000"/>
                        </a:srgbClr>
                      </a:solidFill>
                      <a:ln w="9525">
                        <a:noFill/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pPr fontAlgn="auto">
                          <a:spcBef>
                            <a:spcPts val="0"/>
                          </a:spcBef>
                          <a:spcAft>
                            <a:spcPts val="0"/>
                          </a:spcAft>
                          <a:defRPr/>
                        </a:pPr>
                        <a:endParaRPr lang="da-DK" kern="0">
                          <a:solidFill>
                            <a:sysClr val="windowText" lastClr="000000"/>
                          </a:solidFill>
                          <a:latin typeface="+mn-lt"/>
                          <a:ea typeface="ＭＳ Ｐゴシック" pitchFamily="-97" charset="-128"/>
                          <a:cs typeface="+mn-cs"/>
                        </a:endParaRPr>
                      </a:p>
                    </p:txBody>
                  </p:sp>
                  <p:sp>
                    <p:nvSpPr>
                      <p:cNvPr id="359" name="Freeform 184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08961" y="3566550"/>
                        <a:ext cx="196709" cy="82181"/>
                      </a:xfrm>
                      <a:custGeom>
                        <a:avLst/>
                        <a:gdLst/>
                        <a:ahLst/>
                        <a:cxnLst>
                          <a:cxn ang="0">
                            <a:pos x="48" y="0"/>
                          </a:cxn>
                          <a:cxn ang="0">
                            <a:pos x="57" y="2"/>
                          </a:cxn>
                          <a:cxn ang="0">
                            <a:pos x="66" y="3"/>
                          </a:cxn>
                          <a:cxn ang="0">
                            <a:pos x="74" y="6"/>
                          </a:cxn>
                          <a:cxn ang="0">
                            <a:pos x="81" y="11"/>
                          </a:cxn>
                          <a:cxn ang="0">
                            <a:pos x="87" y="16"/>
                          </a:cxn>
                          <a:cxn ang="0">
                            <a:pos x="91" y="22"/>
                          </a:cxn>
                          <a:cxn ang="0">
                            <a:pos x="94" y="29"/>
                          </a:cxn>
                          <a:cxn ang="0">
                            <a:pos x="95" y="36"/>
                          </a:cxn>
                          <a:cxn ang="0">
                            <a:pos x="94" y="43"/>
                          </a:cxn>
                          <a:cxn ang="0">
                            <a:pos x="91" y="50"/>
                          </a:cxn>
                          <a:cxn ang="0">
                            <a:pos x="87" y="56"/>
                          </a:cxn>
                          <a:cxn ang="0">
                            <a:pos x="81" y="61"/>
                          </a:cxn>
                          <a:cxn ang="0">
                            <a:pos x="74" y="66"/>
                          </a:cxn>
                          <a:cxn ang="0">
                            <a:pos x="66" y="69"/>
                          </a:cxn>
                          <a:cxn ang="0">
                            <a:pos x="57" y="71"/>
                          </a:cxn>
                          <a:cxn ang="0">
                            <a:pos x="48" y="72"/>
                          </a:cxn>
                          <a:cxn ang="0">
                            <a:pos x="38" y="71"/>
                          </a:cxn>
                          <a:cxn ang="0">
                            <a:pos x="29" y="69"/>
                          </a:cxn>
                          <a:cxn ang="0">
                            <a:pos x="21" y="66"/>
                          </a:cxn>
                          <a:cxn ang="0">
                            <a:pos x="14" y="61"/>
                          </a:cxn>
                          <a:cxn ang="0">
                            <a:pos x="8" y="56"/>
                          </a:cxn>
                          <a:cxn ang="0">
                            <a:pos x="4" y="50"/>
                          </a:cxn>
                          <a:cxn ang="0">
                            <a:pos x="2" y="43"/>
                          </a:cxn>
                          <a:cxn ang="0">
                            <a:pos x="0" y="36"/>
                          </a:cxn>
                          <a:cxn ang="0">
                            <a:pos x="2" y="29"/>
                          </a:cxn>
                          <a:cxn ang="0">
                            <a:pos x="4" y="22"/>
                          </a:cxn>
                          <a:cxn ang="0">
                            <a:pos x="8" y="16"/>
                          </a:cxn>
                          <a:cxn ang="0">
                            <a:pos x="14" y="11"/>
                          </a:cxn>
                          <a:cxn ang="0">
                            <a:pos x="21" y="6"/>
                          </a:cxn>
                          <a:cxn ang="0">
                            <a:pos x="29" y="3"/>
                          </a:cxn>
                          <a:cxn ang="0">
                            <a:pos x="38" y="2"/>
                          </a:cxn>
                          <a:cxn ang="0">
                            <a:pos x="48" y="0"/>
                          </a:cxn>
                        </a:cxnLst>
                        <a:rect l="0" t="0" r="r" b="b"/>
                        <a:pathLst>
                          <a:path w="95" h="72">
                            <a:moveTo>
                              <a:pt x="48" y="0"/>
                            </a:moveTo>
                            <a:lnTo>
                              <a:pt x="57" y="2"/>
                            </a:lnTo>
                            <a:lnTo>
                              <a:pt x="66" y="3"/>
                            </a:lnTo>
                            <a:lnTo>
                              <a:pt x="74" y="6"/>
                            </a:lnTo>
                            <a:lnTo>
                              <a:pt x="81" y="11"/>
                            </a:lnTo>
                            <a:lnTo>
                              <a:pt x="87" y="16"/>
                            </a:lnTo>
                            <a:lnTo>
                              <a:pt x="91" y="22"/>
                            </a:lnTo>
                            <a:lnTo>
                              <a:pt x="94" y="29"/>
                            </a:lnTo>
                            <a:lnTo>
                              <a:pt x="95" y="36"/>
                            </a:lnTo>
                            <a:lnTo>
                              <a:pt x="94" y="43"/>
                            </a:lnTo>
                            <a:lnTo>
                              <a:pt x="91" y="50"/>
                            </a:lnTo>
                            <a:lnTo>
                              <a:pt x="87" y="56"/>
                            </a:lnTo>
                            <a:lnTo>
                              <a:pt x="81" y="61"/>
                            </a:lnTo>
                            <a:lnTo>
                              <a:pt x="74" y="66"/>
                            </a:lnTo>
                            <a:lnTo>
                              <a:pt x="66" y="69"/>
                            </a:lnTo>
                            <a:lnTo>
                              <a:pt x="57" y="71"/>
                            </a:lnTo>
                            <a:lnTo>
                              <a:pt x="48" y="72"/>
                            </a:lnTo>
                            <a:lnTo>
                              <a:pt x="38" y="71"/>
                            </a:lnTo>
                            <a:lnTo>
                              <a:pt x="29" y="69"/>
                            </a:lnTo>
                            <a:lnTo>
                              <a:pt x="21" y="66"/>
                            </a:lnTo>
                            <a:lnTo>
                              <a:pt x="14" y="61"/>
                            </a:lnTo>
                            <a:lnTo>
                              <a:pt x="8" y="56"/>
                            </a:lnTo>
                            <a:lnTo>
                              <a:pt x="4" y="50"/>
                            </a:lnTo>
                            <a:lnTo>
                              <a:pt x="2" y="43"/>
                            </a:lnTo>
                            <a:lnTo>
                              <a:pt x="0" y="36"/>
                            </a:lnTo>
                            <a:lnTo>
                              <a:pt x="2" y="29"/>
                            </a:lnTo>
                            <a:lnTo>
                              <a:pt x="4" y="22"/>
                            </a:lnTo>
                            <a:lnTo>
                              <a:pt x="8" y="16"/>
                            </a:lnTo>
                            <a:lnTo>
                              <a:pt x="14" y="11"/>
                            </a:lnTo>
                            <a:lnTo>
                              <a:pt x="21" y="6"/>
                            </a:lnTo>
                            <a:lnTo>
                              <a:pt x="29" y="3"/>
                            </a:lnTo>
                            <a:lnTo>
                              <a:pt x="38" y="2"/>
                            </a:lnTo>
                            <a:lnTo>
                              <a:pt x="48" y="0"/>
                            </a:lnTo>
                            <a:close/>
                          </a:path>
                        </a:pathLst>
                      </a:custGeom>
                      <a:solidFill>
                        <a:srgbClr val="E6E6E6">
                          <a:lumMod val="10000"/>
                        </a:srgbClr>
                      </a:solidFill>
                      <a:ln w="9525">
                        <a:noFill/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pPr fontAlgn="auto">
                          <a:spcBef>
                            <a:spcPts val="0"/>
                          </a:spcBef>
                          <a:spcAft>
                            <a:spcPts val="0"/>
                          </a:spcAft>
                          <a:defRPr/>
                        </a:pPr>
                        <a:endParaRPr lang="da-DK" kern="0">
                          <a:solidFill>
                            <a:sysClr val="windowText" lastClr="000000"/>
                          </a:solidFill>
                          <a:latin typeface="+mn-lt"/>
                          <a:ea typeface="ＭＳ Ｐゴシック" pitchFamily="-97" charset="-128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346" name="Gruppe 813"/>
                    <p:cNvGrpSpPr/>
                    <p:nvPr/>
                  </p:nvGrpSpPr>
                  <p:grpSpPr>
                    <a:xfrm>
                      <a:off x="1090613" y="3975112"/>
                      <a:ext cx="617921" cy="1727207"/>
                      <a:chOff x="3656013" y="3433763"/>
                      <a:chExt cx="684213" cy="1912498"/>
                    </a:xfrm>
                    <a:solidFill>
                      <a:srgbClr val="FFFFFF">
                        <a:alpha val="9000"/>
                      </a:srgbClr>
                    </a:solidFill>
                  </p:grpSpPr>
                  <p:sp>
                    <p:nvSpPr>
                      <p:cNvPr id="347" name="Freeform 316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3824288" y="3986213"/>
                        <a:ext cx="365125" cy="65088"/>
                      </a:xfrm>
                      <a:custGeom>
                        <a:avLst/>
                        <a:gdLst/>
                        <a:ahLst/>
                        <a:cxnLst>
                          <a:cxn ang="0">
                            <a:pos x="13" y="0"/>
                          </a:cxn>
                          <a:cxn ang="0">
                            <a:pos x="26" y="6"/>
                          </a:cxn>
                          <a:cxn ang="0">
                            <a:pos x="39" y="13"/>
                          </a:cxn>
                          <a:cxn ang="0">
                            <a:pos x="52" y="16"/>
                          </a:cxn>
                          <a:cxn ang="0">
                            <a:pos x="65" y="19"/>
                          </a:cxn>
                          <a:cxn ang="0">
                            <a:pos x="78" y="22"/>
                          </a:cxn>
                          <a:cxn ang="0">
                            <a:pos x="93" y="23"/>
                          </a:cxn>
                          <a:cxn ang="0">
                            <a:pos x="106" y="24"/>
                          </a:cxn>
                          <a:cxn ang="0">
                            <a:pos x="120" y="23"/>
                          </a:cxn>
                          <a:cxn ang="0">
                            <a:pos x="134" y="22"/>
                          </a:cxn>
                          <a:cxn ang="0">
                            <a:pos x="147" y="20"/>
                          </a:cxn>
                          <a:cxn ang="0">
                            <a:pos x="161" y="18"/>
                          </a:cxn>
                          <a:cxn ang="0">
                            <a:pos x="176" y="15"/>
                          </a:cxn>
                          <a:cxn ang="0">
                            <a:pos x="189" y="13"/>
                          </a:cxn>
                          <a:cxn ang="0">
                            <a:pos x="203" y="9"/>
                          </a:cxn>
                          <a:cxn ang="0">
                            <a:pos x="216" y="6"/>
                          </a:cxn>
                          <a:cxn ang="0">
                            <a:pos x="230" y="2"/>
                          </a:cxn>
                          <a:cxn ang="0">
                            <a:pos x="230" y="15"/>
                          </a:cxn>
                          <a:cxn ang="0">
                            <a:pos x="221" y="19"/>
                          </a:cxn>
                          <a:cxn ang="0">
                            <a:pos x="212" y="23"/>
                          </a:cxn>
                          <a:cxn ang="0">
                            <a:pos x="200" y="27"/>
                          </a:cxn>
                          <a:cxn ang="0">
                            <a:pos x="189" y="29"/>
                          </a:cxn>
                          <a:cxn ang="0">
                            <a:pos x="174" y="33"/>
                          </a:cxn>
                          <a:cxn ang="0">
                            <a:pos x="161" y="36"/>
                          </a:cxn>
                          <a:cxn ang="0">
                            <a:pos x="146" y="39"/>
                          </a:cxn>
                          <a:cxn ang="0">
                            <a:pos x="132" y="41"/>
                          </a:cxn>
                          <a:cxn ang="0">
                            <a:pos x="115" y="41"/>
                          </a:cxn>
                          <a:cxn ang="0">
                            <a:pos x="99" y="41"/>
                          </a:cxn>
                          <a:cxn ang="0">
                            <a:pos x="82" y="40"/>
                          </a:cxn>
                          <a:cxn ang="0">
                            <a:pos x="65" y="37"/>
                          </a:cxn>
                          <a:cxn ang="0">
                            <a:pos x="50" y="32"/>
                          </a:cxn>
                          <a:cxn ang="0">
                            <a:pos x="33" y="27"/>
                          </a:cxn>
                          <a:cxn ang="0">
                            <a:pos x="16" y="19"/>
                          </a:cxn>
                          <a:cxn ang="0">
                            <a:pos x="0" y="9"/>
                          </a:cxn>
                          <a:cxn ang="0">
                            <a:pos x="13" y="0"/>
                          </a:cxn>
                        </a:cxnLst>
                        <a:rect l="0" t="0" r="r" b="b"/>
                        <a:pathLst>
                          <a:path w="230" h="41">
                            <a:moveTo>
                              <a:pt x="13" y="0"/>
                            </a:moveTo>
                            <a:lnTo>
                              <a:pt x="26" y="6"/>
                            </a:lnTo>
                            <a:lnTo>
                              <a:pt x="39" y="13"/>
                            </a:lnTo>
                            <a:lnTo>
                              <a:pt x="52" y="16"/>
                            </a:lnTo>
                            <a:lnTo>
                              <a:pt x="65" y="19"/>
                            </a:lnTo>
                            <a:lnTo>
                              <a:pt x="78" y="22"/>
                            </a:lnTo>
                            <a:lnTo>
                              <a:pt x="93" y="23"/>
                            </a:lnTo>
                            <a:lnTo>
                              <a:pt x="106" y="24"/>
                            </a:lnTo>
                            <a:lnTo>
                              <a:pt x="120" y="23"/>
                            </a:lnTo>
                            <a:lnTo>
                              <a:pt x="134" y="22"/>
                            </a:lnTo>
                            <a:lnTo>
                              <a:pt x="147" y="20"/>
                            </a:lnTo>
                            <a:lnTo>
                              <a:pt x="161" y="18"/>
                            </a:lnTo>
                            <a:lnTo>
                              <a:pt x="176" y="15"/>
                            </a:lnTo>
                            <a:lnTo>
                              <a:pt x="189" y="13"/>
                            </a:lnTo>
                            <a:lnTo>
                              <a:pt x="203" y="9"/>
                            </a:lnTo>
                            <a:lnTo>
                              <a:pt x="216" y="6"/>
                            </a:lnTo>
                            <a:lnTo>
                              <a:pt x="230" y="2"/>
                            </a:lnTo>
                            <a:lnTo>
                              <a:pt x="230" y="15"/>
                            </a:lnTo>
                            <a:lnTo>
                              <a:pt x="221" y="19"/>
                            </a:lnTo>
                            <a:lnTo>
                              <a:pt x="212" y="23"/>
                            </a:lnTo>
                            <a:lnTo>
                              <a:pt x="200" y="27"/>
                            </a:lnTo>
                            <a:lnTo>
                              <a:pt x="189" y="29"/>
                            </a:lnTo>
                            <a:lnTo>
                              <a:pt x="174" y="33"/>
                            </a:lnTo>
                            <a:lnTo>
                              <a:pt x="161" y="36"/>
                            </a:lnTo>
                            <a:lnTo>
                              <a:pt x="146" y="39"/>
                            </a:lnTo>
                            <a:lnTo>
                              <a:pt x="132" y="41"/>
                            </a:lnTo>
                            <a:lnTo>
                              <a:pt x="115" y="41"/>
                            </a:lnTo>
                            <a:lnTo>
                              <a:pt x="99" y="41"/>
                            </a:lnTo>
                            <a:lnTo>
                              <a:pt x="82" y="40"/>
                            </a:lnTo>
                            <a:lnTo>
                              <a:pt x="65" y="37"/>
                            </a:lnTo>
                            <a:lnTo>
                              <a:pt x="50" y="32"/>
                            </a:lnTo>
                            <a:lnTo>
                              <a:pt x="33" y="27"/>
                            </a:lnTo>
                            <a:lnTo>
                              <a:pt x="16" y="19"/>
                            </a:lnTo>
                            <a:lnTo>
                              <a:pt x="0" y="9"/>
                            </a:lnTo>
                            <a:lnTo>
                              <a:pt x="13" y="0"/>
                            </a:lnTo>
                            <a:close/>
                          </a:path>
                        </a:pathLst>
                      </a:custGeom>
                      <a:grpFill/>
                      <a:ln w="9525">
                        <a:noFill/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pPr fontAlgn="auto">
                          <a:spcBef>
                            <a:spcPts val="0"/>
                          </a:spcBef>
                          <a:spcAft>
                            <a:spcPts val="0"/>
                          </a:spcAft>
                          <a:defRPr/>
                        </a:pPr>
                        <a:endParaRPr lang="da-DK" kern="0">
                          <a:solidFill>
                            <a:sysClr val="windowText" lastClr="000000"/>
                          </a:solidFill>
                          <a:latin typeface="+mn-lt"/>
                          <a:ea typeface="ＭＳ Ｐゴシック" pitchFamily="-97" charset="-128"/>
                          <a:cs typeface="+mn-cs"/>
                        </a:endParaRPr>
                      </a:p>
                    </p:txBody>
                  </p:sp>
                  <p:sp>
                    <p:nvSpPr>
                      <p:cNvPr id="348" name="Freeform 330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3656013" y="4872038"/>
                        <a:ext cx="684213" cy="173038"/>
                      </a:xfrm>
                      <a:custGeom>
                        <a:avLst/>
                        <a:gdLst/>
                        <a:ahLst/>
                        <a:cxnLst>
                          <a:cxn ang="0">
                            <a:pos x="27" y="5"/>
                          </a:cxn>
                          <a:cxn ang="0">
                            <a:pos x="77" y="45"/>
                          </a:cxn>
                          <a:cxn ang="0">
                            <a:pos x="100" y="51"/>
                          </a:cxn>
                          <a:cxn ang="0">
                            <a:pos x="122" y="54"/>
                          </a:cxn>
                          <a:cxn ang="0">
                            <a:pos x="143" y="60"/>
                          </a:cxn>
                          <a:cxn ang="0">
                            <a:pos x="162" y="62"/>
                          </a:cxn>
                          <a:cxn ang="0">
                            <a:pos x="180" y="65"/>
                          </a:cxn>
                          <a:cxn ang="0">
                            <a:pos x="199" y="67"/>
                          </a:cxn>
                          <a:cxn ang="0">
                            <a:pos x="217" y="67"/>
                          </a:cxn>
                          <a:cxn ang="0">
                            <a:pos x="234" y="67"/>
                          </a:cxn>
                          <a:cxn ang="0">
                            <a:pos x="251" y="66"/>
                          </a:cxn>
                          <a:cxn ang="0">
                            <a:pos x="267" y="65"/>
                          </a:cxn>
                          <a:cxn ang="0">
                            <a:pos x="286" y="61"/>
                          </a:cxn>
                          <a:cxn ang="0">
                            <a:pos x="304" y="57"/>
                          </a:cxn>
                          <a:cxn ang="0">
                            <a:pos x="322" y="52"/>
                          </a:cxn>
                          <a:cxn ang="0">
                            <a:pos x="343" y="44"/>
                          </a:cxn>
                          <a:cxn ang="0">
                            <a:pos x="363" y="36"/>
                          </a:cxn>
                          <a:cxn ang="0">
                            <a:pos x="386" y="26"/>
                          </a:cxn>
                          <a:cxn ang="0">
                            <a:pos x="392" y="12"/>
                          </a:cxn>
                          <a:cxn ang="0">
                            <a:pos x="397" y="4"/>
                          </a:cxn>
                          <a:cxn ang="0">
                            <a:pos x="401" y="0"/>
                          </a:cxn>
                          <a:cxn ang="0">
                            <a:pos x="405" y="1"/>
                          </a:cxn>
                          <a:cxn ang="0">
                            <a:pos x="409" y="5"/>
                          </a:cxn>
                          <a:cxn ang="0">
                            <a:pos x="414" y="13"/>
                          </a:cxn>
                          <a:cxn ang="0">
                            <a:pos x="422" y="23"/>
                          </a:cxn>
                          <a:cxn ang="0">
                            <a:pos x="431" y="36"/>
                          </a:cxn>
                          <a:cxn ang="0">
                            <a:pos x="413" y="62"/>
                          </a:cxn>
                          <a:cxn ang="0">
                            <a:pos x="393" y="74"/>
                          </a:cxn>
                          <a:cxn ang="0">
                            <a:pos x="371" y="83"/>
                          </a:cxn>
                          <a:cxn ang="0">
                            <a:pos x="349" y="91"/>
                          </a:cxn>
                          <a:cxn ang="0">
                            <a:pos x="325" y="97"/>
                          </a:cxn>
                          <a:cxn ang="0">
                            <a:pos x="300" y="103"/>
                          </a:cxn>
                          <a:cxn ang="0">
                            <a:pos x="274" y="106"/>
                          </a:cxn>
                          <a:cxn ang="0">
                            <a:pos x="247" y="109"/>
                          </a:cxn>
                          <a:cxn ang="0">
                            <a:pos x="221" y="109"/>
                          </a:cxn>
                          <a:cxn ang="0">
                            <a:pos x="193" y="109"/>
                          </a:cxn>
                          <a:cxn ang="0">
                            <a:pos x="166" y="108"/>
                          </a:cxn>
                          <a:cxn ang="0">
                            <a:pos x="140" y="104"/>
                          </a:cxn>
                          <a:cxn ang="0">
                            <a:pos x="114" y="100"/>
                          </a:cxn>
                          <a:cxn ang="0">
                            <a:pos x="88" y="95"/>
                          </a:cxn>
                          <a:cxn ang="0">
                            <a:pos x="65" y="90"/>
                          </a:cxn>
                          <a:cxn ang="0">
                            <a:pos x="42" y="82"/>
                          </a:cxn>
                          <a:cxn ang="0">
                            <a:pos x="21" y="74"/>
                          </a:cxn>
                          <a:cxn ang="0">
                            <a:pos x="13" y="64"/>
                          </a:cxn>
                          <a:cxn ang="0">
                            <a:pos x="7" y="53"/>
                          </a:cxn>
                          <a:cxn ang="0">
                            <a:pos x="3" y="43"/>
                          </a:cxn>
                          <a:cxn ang="0">
                            <a:pos x="0" y="32"/>
                          </a:cxn>
                          <a:cxn ang="0">
                            <a:pos x="0" y="23"/>
                          </a:cxn>
                          <a:cxn ang="0">
                            <a:pos x="5" y="16"/>
                          </a:cxn>
                          <a:cxn ang="0">
                            <a:pos x="13" y="9"/>
                          </a:cxn>
                          <a:cxn ang="0">
                            <a:pos x="27" y="5"/>
                          </a:cxn>
                        </a:cxnLst>
                        <a:rect l="0" t="0" r="r" b="b"/>
                        <a:pathLst>
                          <a:path w="431" h="109">
                            <a:moveTo>
                              <a:pt x="27" y="5"/>
                            </a:moveTo>
                            <a:lnTo>
                              <a:pt x="77" y="45"/>
                            </a:lnTo>
                            <a:lnTo>
                              <a:pt x="100" y="51"/>
                            </a:lnTo>
                            <a:lnTo>
                              <a:pt x="122" y="54"/>
                            </a:lnTo>
                            <a:lnTo>
                              <a:pt x="143" y="60"/>
                            </a:lnTo>
                            <a:lnTo>
                              <a:pt x="162" y="62"/>
                            </a:lnTo>
                            <a:lnTo>
                              <a:pt x="180" y="65"/>
                            </a:lnTo>
                            <a:lnTo>
                              <a:pt x="199" y="67"/>
                            </a:lnTo>
                            <a:lnTo>
                              <a:pt x="217" y="67"/>
                            </a:lnTo>
                            <a:lnTo>
                              <a:pt x="234" y="67"/>
                            </a:lnTo>
                            <a:lnTo>
                              <a:pt x="251" y="66"/>
                            </a:lnTo>
                            <a:lnTo>
                              <a:pt x="267" y="65"/>
                            </a:lnTo>
                            <a:lnTo>
                              <a:pt x="286" y="61"/>
                            </a:lnTo>
                            <a:lnTo>
                              <a:pt x="304" y="57"/>
                            </a:lnTo>
                            <a:lnTo>
                              <a:pt x="322" y="52"/>
                            </a:lnTo>
                            <a:lnTo>
                              <a:pt x="343" y="44"/>
                            </a:lnTo>
                            <a:lnTo>
                              <a:pt x="363" y="36"/>
                            </a:lnTo>
                            <a:lnTo>
                              <a:pt x="386" y="26"/>
                            </a:lnTo>
                            <a:lnTo>
                              <a:pt x="392" y="12"/>
                            </a:lnTo>
                            <a:lnTo>
                              <a:pt x="397" y="4"/>
                            </a:lnTo>
                            <a:lnTo>
                              <a:pt x="401" y="0"/>
                            </a:lnTo>
                            <a:lnTo>
                              <a:pt x="405" y="1"/>
                            </a:lnTo>
                            <a:lnTo>
                              <a:pt x="409" y="5"/>
                            </a:lnTo>
                            <a:lnTo>
                              <a:pt x="414" y="13"/>
                            </a:lnTo>
                            <a:lnTo>
                              <a:pt x="422" y="23"/>
                            </a:lnTo>
                            <a:lnTo>
                              <a:pt x="431" y="36"/>
                            </a:lnTo>
                            <a:lnTo>
                              <a:pt x="413" y="62"/>
                            </a:lnTo>
                            <a:lnTo>
                              <a:pt x="393" y="74"/>
                            </a:lnTo>
                            <a:lnTo>
                              <a:pt x="371" y="83"/>
                            </a:lnTo>
                            <a:lnTo>
                              <a:pt x="349" y="91"/>
                            </a:lnTo>
                            <a:lnTo>
                              <a:pt x="325" y="97"/>
                            </a:lnTo>
                            <a:lnTo>
                              <a:pt x="300" y="103"/>
                            </a:lnTo>
                            <a:lnTo>
                              <a:pt x="274" y="106"/>
                            </a:lnTo>
                            <a:lnTo>
                              <a:pt x="247" y="109"/>
                            </a:lnTo>
                            <a:lnTo>
                              <a:pt x="221" y="109"/>
                            </a:lnTo>
                            <a:lnTo>
                              <a:pt x="193" y="109"/>
                            </a:lnTo>
                            <a:lnTo>
                              <a:pt x="166" y="108"/>
                            </a:lnTo>
                            <a:lnTo>
                              <a:pt x="140" y="104"/>
                            </a:lnTo>
                            <a:lnTo>
                              <a:pt x="114" y="100"/>
                            </a:lnTo>
                            <a:lnTo>
                              <a:pt x="88" y="95"/>
                            </a:lnTo>
                            <a:lnTo>
                              <a:pt x="65" y="90"/>
                            </a:lnTo>
                            <a:lnTo>
                              <a:pt x="42" y="82"/>
                            </a:lnTo>
                            <a:lnTo>
                              <a:pt x="21" y="74"/>
                            </a:lnTo>
                            <a:lnTo>
                              <a:pt x="13" y="64"/>
                            </a:lnTo>
                            <a:lnTo>
                              <a:pt x="7" y="53"/>
                            </a:lnTo>
                            <a:lnTo>
                              <a:pt x="3" y="43"/>
                            </a:lnTo>
                            <a:lnTo>
                              <a:pt x="0" y="32"/>
                            </a:lnTo>
                            <a:lnTo>
                              <a:pt x="0" y="23"/>
                            </a:lnTo>
                            <a:lnTo>
                              <a:pt x="5" y="16"/>
                            </a:lnTo>
                            <a:lnTo>
                              <a:pt x="13" y="9"/>
                            </a:lnTo>
                            <a:lnTo>
                              <a:pt x="27" y="5"/>
                            </a:lnTo>
                            <a:close/>
                          </a:path>
                        </a:pathLst>
                      </a:custGeom>
                      <a:grpFill/>
                      <a:ln w="9525">
                        <a:noFill/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pPr fontAlgn="auto">
                          <a:spcBef>
                            <a:spcPts val="0"/>
                          </a:spcBef>
                          <a:spcAft>
                            <a:spcPts val="0"/>
                          </a:spcAft>
                          <a:defRPr/>
                        </a:pPr>
                        <a:endParaRPr lang="da-DK" kern="0">
                          <a:solidFill>
                            <a:sysClr val="windowText" lastClr="000000"/>
                          </a:solidFill>
                          <a:latin typeface="+mn-lt"/>
                          <a:ea typeface="ＭＳ Ｐゴシック" pitchFamily="-97" charset="-128"/>
                          <a:cs typeface="+mn-cs"/>
                        </a:endParaRPr>
                      </a:p>
                    </p:txBody>
                  </p:sp>
                  <p:sp>
                    <p:nvSpPr>
                      <p:cNvPr id="349" name="Freeform 336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3781425" y="5231961"/>
                        <a:ext cx="490538" cy="114300"/>
                      </a:xfrm>
                      <a:custGeom>
                        <a:avLst/>
                        <a:gdLst/>
                        <a:ahLst/>
                        <a:cxnLst>
                          <a:cxn ang="0">
                            <a:pos x="0" y="29"/>
                          </a:cxn>
                          <a:cxn ang="0">
                            <a:pos x="3" y="37"/>
                          </a:cxn>
                          <a:cxn ang="0">
                            <a:pos x="7" y="45"/>
                          </a:cxn>
                          <a:cxn ang="0">
                            <a:pos x="11" y="53"/>
                          </a:cxn>
                          <a:cxn ang="0">
                            <a:pos x="15" y="61"/>
                          </a:cxn>
                          <a:cxn ang="0">
                            <a:pos x="22" y="62"/>
                          </a:cxn>
                          <a:cxn ang="0">
                            <a:pos x="29" y="63"/>
                          </a:cxn>
                          <a:cxn ang="0">
                            <a:pos x="37" y="65"/>
                          </a:cxn>
                          <a:cxn ang="0">
                            <a:pos x="44" y="66"/>
                          </a:cxn>
                          <a:cxn ang="0">
                            <a:pos x="51" y="67"/>
                          </a:cxn>
                          <a:cxn ang="0">
                            <a:pos x="59" y="68"/>
                          </a:cxn>
                          <a:cxn ang="0">
                            <a:pos x="65" y="71"/>
                          </a:cxn>
                          <a:cxn ang="0">
                            <a:pos x="73" y="72"/>
                          </a:cxn>
                          <a:cxn ang="0">
                            <a:pos x="91" y="72"/>
                          </a:cxn>
                          <a:cxn ang="0">
                            <a:pos x="109" y="71"/>
                          </a:cxn>
                          <a:cxn ang="0">
                            <a:pos x="127" y="71"/>
                          </a:cxn>
                          <a:cxn ang="0">
                            <a:pos x="146" y="70"/>
                          </a:cxn>
                          <a:cxn ang="0">
                            <a:pos x="164" y="70"/>
                          </a:cxn>
                          <a:cxn ang="0">
                            <a:pos x="183" y="68"/>
                          </a:cxn>
                          <a:cxn ang="0">
                            <a:pos x="201" y="68"/>
                          </a:cxn>
                          <a:cxn ang="0">
                            <a:pos x="220" y="67"/>
                          </a:cxn>
                          <a:cxn ang="0">
                            <a:pos x="231" y="65"/>
                          </a:cxn>
                          <a:cxn ang="0">
                            <a:pos x="242" y="61"/>
                          </a:cxn>
                          <a:cxn ang="0">
                            <a:pos x="253" y="58"/>
                          </a:cxn>
                          <a:cxn ang="0">
                            <a:pos x="265" y="54"/>
                          </a:cxn>
                          <a:cxn ang="0">
                            <a:pos x="275" y="52"/>
                          </a:cxn>
                          <a:cxn ang="0">
                            <a:pos x="287" y="48"/>
                          </a:cxn>
                          <a:cxn ang="0">
                            <a:pos x="297" y="45"/>
                          </a:cxn>
                          <a:cxn ang="0">
                            <a:pos x="309" y="41"/>
                          </a:cxn>
                          <a:cxn ang="0">
                            <a:pos x="309" y="26"/>
                          </a:cxn>
                          <a:cxn ang="0">
                            <a:pos x="307" y="13"/>
                          </a:cxn>
                          <a:cxn ang="0">
                            <a:pos x="303" y="5"/>
                          </a:cxn>
                          <a:cxn ang="0">
                            <a:pos x="297" y="1"/>
                          </a:cxn>
                          <a:cxn ang="0">
                            <a:pos x="290" y="0"/>
                          </a:cxn>
                          <a:cxn ang="0">
                            <a:pos x="279" y="0"/>
                          </a:cxn>
                          <a:cxn ang="0">
                            <a:pos x="268" y="4"/>
                          </a:cxn>
                          <a:cxn ang="0">
                            <a:pos x="252" y="9"/>
                          </a:cxn>
                          <a:cxn ang="0">
                            <a:pos x="242" y="9"/>
                          </a:cxn>
                          <a:cxn ang="0">
                            <a:pos x="231" y="10"/>
                          </a:cxn>
                          <a:cxn ang="0">
                            <a:pos x="221" y="10"/>
                          </a:cxn>
                          <a:cxn ang="0">
                            <a:pos x="211" y="10"/>
                          </a:cxn>
                          <a:cxn ang="0">
                            <a:pos x="200" y="10"/>
                          </a:cxn>
                          <a:cxn ang="0">
                            <a:pos x="188" y="10"/>
                          </a:cxn>
                          <a:cxn ang="0">
                            <a:pos x="178" y="11"/>
                          </a:cxn>
                          <a:cxn ang="0">
                            <a:pos x="168" y="11"/>
                          </a:cxn>
                          <a:cxn ang="0">
                            <a:pos x="140" y="10"/>
                          </a:cxn>
                          <a:cxn ang="0">
                            <a:pos x="116" y="9"/>
                          </a:cxn>
                          <a:cxn ang="0">
                            <a:pos x="96" y="6"/>
                          </a:cxn>
                          <a:cxn ang="0">
                            <a:pos x="77" y="5"/>
                          </a:cxn>
                          <a:cxn ang="0">
                            <a:pos x="60" y="6"/>
                          </a:cxn>
                          <a:cxn ang="0">
                            <a:pos x="42" y="9"/>
                          </a:cxn>
                          <a:cxn ang="0">
                            <a:pos x="22" y="16"/>
                          </a:cxn>
                          <a:cxn ang="0">
                            <a:pos x="0" y="29"/>
                          </a:cxn>
                        </a:cxnLst>
                        <a:rect l="0" t="0" r="r" b="b"/>
                        <a:pathLst>
                          <a:path w="309" h="72">
                            <a:moveTo>
                              <a:pt x="0" y="29"/>
                            </a:moveTo>
                            <a:lnTo>
                              <a:pt x="3" y="37"/>
                            </a:lnTo>
                            <a:lnTo>
                              <a:pt x="7" y="45"/>
                            </a:lnTo>
                            <a:lnTo>
                              <a:pt x="11" y="53"/>
                            </a:lnTo>
                            <a:lnTo>
                              <a:pt x="15" y="61"/>
                            </a:lnTo>
                            <a:lnTo>
                              <a:pt x="22" y="62"/>
                            </a:lnTo>
                            <a:lnTo>
                              <a:pt x="29" y="63"/>
                            </a:lnTo>
                            <a:lnTo>
                              <a:pt x="37" y="65"/>
                            </a:lnTo>
                            <a:lnTo>
                              <a:pt x="44" y="66"/>
                            </a:lnTo>
                            <a:lnTo>
                              <a:pt x="51" y="67"/>
                            </a:lnTo>
                            <a:lnTo>
                              <a:pt x="59" y="68"/>
                            </a:lnTo>
                            <a:lnTo>
                              <a:pt x="65" y="71"/>
                            </a:lnTo>
                            <a:lnTo>
                              <a:pt x="73" y="72"/>
                            </a:lnTo>
                            <a:lnTo>
                              <a:pt x="91" y="72"/>
                            </a:lnTo>
                            <a:lnTo>
                              <a:pt x="109" y="71"/>
                            </a:lnTo>
                            <a:lnTo>
                              <a:pt x="127" y="71"/>
                            </a:lnTo>
                            <a:lnTo>
                              <a:pt x="146" y="70"/>
                            </a:lnTo>
                            <a:lnTo>
                              <a:pt x="164" y="70"/>
                            </a:lnTo>
                            <a:lnTo>
                              <a:pt x="183" y="68"/>
                            </a:lnTo>
                            <a:lnTo>
                              <a:pt x="201" y="68"/>
                            </a:lnTo>
                            <a:lnTo>
                              <a:pt x="220" y="67"/>
                            </a:lnTo>
                            <a:lnTo>
                              <a:pt x="231" y="65"/>
                            </a:lnTo>
                            <a:lnTo>
                              <a:pt x="242" y="61"/>
                            </a:lnTo>
                            <a:lnTo>
                              <a:pt x="253" y="58"/>
                            </a:lnTo>
                            <a:lnTo>
                              <a:pt x="265" y="54"/>
                            </a:lnTo>
                            <a:lnTo>
                              <a:pt x="275" y="52"/>
                            </a:lnTo>
                            <a:lnTo>
                              <a:pt x="287" y="48"/>
                            </a:lnTo>
                            <a:lnTo>
                              <a:pt x="297" y="45"/>
                            </a:lnTo>
                            <a:lnTo>
                              <a:pt x="309" y="41"/>
                            </a:lnTo>
                            <a:lnTo>
                              <a:pt x="309" y="26"/>
                            </a:lnTo>
                            <a:lnTo>
                              <a:pt x="307" y="13"/>
                            </a:lnTo>
                            <a:lnTo>
                              <a:pt x="303" y="5"/>
                            </a:lnTo>
                            <a:lnTo>
                              <a:pt x="297" y="1"/>
                            </a:lnTo>
                            <a:lnTo>
                              <a:pt x="290" y="0"/>
                            </a:lnTo>
                            <a:lnTo>
                              <a:pt x="279" y="0"/>
                            </a:lnTo>
                            <a:lnTo>
                              <a:pt x="268" y="4"/>
                            </a:lnTo>
                            <a:lnTo>
                              <a:pt x="252" y="9"/>
                            </a:lnTo>
                            <a:lnTo>
                              <a:pt x="242" y="9"/>
                            </a:lnTo>
                            <a:lnTo>
                              <a:pt x="231" y="10"/>
                            </a:lnTo>
                            <a:lnTo>
                              <a:pt x="221" y="10"/>
                            </a:lnTo>
                            <a:lnTo>
                              <a:pt x="211" y="10"/>
                            </a:lnTo>
                            <a:lnTo>
                              <a:pt x="200" y="10"/>
                            </a:lnTo>
                            <a:lnTo>
                              <a:pt x="188" y="10"/>
                            </a:lnTo>
                            <a:lnTo>
                              <a:pt x="178" y="11"/>
                            </a:lnTo>
                            <a:lnTo>
                              <a:pt x="168" y="11"/>
                            </a:lnTo>
                            <a:lnTo>
                              <a:pt x="140" y="10"/>
                            </a:lnTo>
                            <a:lnTo>
                              <a:pt x="116" y="9"/>
                            </a:lnTo>
                            <a:lnTo>
                              <a:pt x="96" y="6"/>
                            </a:lnTo>
                            <a:lnTo>
                              <a:pt x="77" y="5"/>
                            </a:lnTo>
                            <a:lnTo>
                              <a:pt x="60" y="6"/>
                            </a:lnTo>
                            <a:lnTo>
                              <a:pt x="42" y="9"/>
                            </a:lnTo>
                            <a:lnTo>
                              <a:pt x="22" y="16"/>
                            </a:lnTo>
                            <a:lnTo>
                              <a:pt x="0" y="29"/>
                            </a:lnTo>
                            <a:close/>
                          </a:path>
                        </a:pathLst>
                      </a:custGeom>
                      <a:grpFill/>
                      <a:ln w="9525">
                        <a:noFill/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pPr fontAlgn="auto">
                          <a:spcBef>
                            <a:spcPts val="0"/>
                          </a:spcBef>
                          <a:spcAft>
                            <a:spcPts val="0"/>
                          </a:spcAft>
                          <a:defRPr/>
                        </a:pPr>
                        <a:endParaRPr lang="da-DK" kern="0">
                          <a:solidFill>
                            <a:sysClr val="windowText" lastClr="000000"/>
                          </a:solidFill>
                          <a:latin typeface="+mn-lt"/>
                          <a:ea typeface="ＭＳ Ｐゴシック" pitchFamily="-97" charset="-128"/>
                          <a:cs typeface="+mn-cs"/>
                        </a:endParaRPr>
                      </a:p>
                    </p:txBody>
                  </p:sp>
                  <p:sp>
                    <p:nvSpPr>
                      <p:cNvPr id="350" name="Freeform 353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3932238" y="4217988"/>
                        <a:ext cx="177800" cy="39688"/>
                      </a:xfrm>
                      <a:custGeom>
                        <a:avLst/>
                        <a:gdLst/>
                        <a:ahLst/>
                        <a:cxnLst>
                          <a:cxn ang="0">
                            <a:pos x="0" y="11"/>
                          </a:cxn>
                          <a:cxn ang="0">
                            <a:pos x="5" y="17"/>
                          </a:cxn>
                          <a:cxn ang="0">
                            <a:pos x="26" y="25"/>
                          </a:cxn>
                          <a:cxn ang="0">
                            <a:pos x="80" y="20"/>
                          </a:cxn>
                          <a:cxn ang="0">
                            <a:pos x="112" y="13"/>
                          </a:cxn>
                          <a:cxn ang="0">
                            <a:pos x="110" y="4"/>
                          </a:cxn>
                          <a:cxn ang="0">
                            <a:pos x="108" y="0"/>
                          </a:cxn>
                          <a:cxn ang="0">
                            <a:pos x="103" y="2"/>
                          </a:cxn>
                          <a:cxn ang="0">
                            <a:pos x="92" y="4"/>
                          </a:cxn>
                          <a:cxn ang="0">
                            <a:pos x="61" y="6"/>
                          </a:cxn>
                          <a:cxn ang="0">
                            <a:pos x="51" y="6"/>
                          </a:cxn>
                          <a:cxn ang="0">
                            <a:pos x="43" y="4"/>
                          </a:cxn>
                          <a:cxn ang="0">
                            <a:pos x="35" y="4"/>
                          </a:cxn>
                          <a:cxn ang="0">
                            <a:pos x="29" y="3"/>
                          </a:cxn>
                          <a:cxn ang="0">
                            <a:pos x="22" y="3"/>
                          </a:cxn>
                          <a:cxn ang="0">
                            <a:pos x="14" y="4"/>
                          </a:cxn>
                          <a:cxn ang="0">
                            <a:pos x="8" y="7"/>
                          </a:cxn>
                          <a:cxn ang="0">
                            <a:pos x="0" y="11"/>
                          </a:cxn>
                        </a:cxnLst>
                        <a:rect l="0" t="0" r="r" b="b"/>
                        <a:pathLst>
                          <a:path w="112" h="25">
                            <a:moveTo>
                              <a:pt x="0" y="11"/>
                            </a:moveTo>
                            <a:lnTo>
                              <a:pt x="5" y="17"/>
                            </a:lnTo>
                            <a:lnTo>
                              <a:pt x="26" y="25"/>
                            </a:lnTo>
                            <a:lnTo>
                              <a:pt x="80" y="20"/>
                            </a:lnTo>
                            <a:lnTo>
                              <a:pt x="112" y="13"/>
                            </a:lnTo>
                            <a:lnTo>
                              <a:pt x="110" y="4"/>
                            </a:lnTo>
                            <a:lnTo>
                              <a:pt x="108" y="0"/>
                            </a:lnTo>
                            <a:lnTo>
                              <a:pt x="103" y="2"/>
                            </a:lnTo>
                            <a:lnTo>
                              <a:pt x="92" y="4"/>
                            </a:lnTo>
                            <a:lnTo>
                              <a:pt x="61" y="6"/>
                            </a:lnTo>
                            <a:lnTo>
                              <a:pt x="51" y="6"/>
                            </a:lnTo>
                            <a:lnTo>
                              <a:pt x="43" y="4"/>
                            </a:lnTo>
                            <a:lnTo>
                              <a:pt x="35" y="4"/>
                            </a:lnTo>
                            <a:lnTo>
                              <a:pt x="29" y="3"/>
                            </a:lnTo>
                            <a:lnTo>
                              <a:pt x="22" y="3"/>
                            </a:lnTo>
                            <a:lnTo>
                              <a:pt x="14" y="4"/>
                            </a:lnTo>
                            <a:lnTo>
                              <a:pt x="8" y="7"/>
                            </a:lnTo>
                            <a:lnTo>
                              <a:pt x="0" y="11"/>
                            </a:lnTo>
                            <a:close/>
                          </a:path>
                        </a:pathLst>
                      </a:custGeom>
                      <a:grpFill/>
                      <a:ln w="9525">
                        <a:noFill/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pPr fontAlgn="auto">
                          <a:spcBef>
                            <a:spcPts val="0"/>
                          </a:spcBef>
                          <a:spcAft>
                            <a:spcPts val="0"/>
                          </a:spcAft>
                          <a:defRPr/>
                        </a:pPr>
                        <a:endParaRPr lang="da-DK" kern="0">
                          <a:solidFill>
                            <a:sysClr val="windowText" lastClr="000000"/>
                          </a:solidFill>
                          <a:latin typeface="+mn-lt"/>
                          <a:ea typeface="ＭＳ Ｐゴシック" pitchFamily="-97" charset="-128"/>
                          <a:cs typeface="+mn-cs"/>
                        </a:endParaRPr>
                      </a:p>
                    </p:txBody>
                  </p:sp>
                  <p:sp>
                    <p:nvSpPr>
                      <p:cNvPr id="351" name="Freeform 367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3932238" y="3433763"/>
                        <a:ext cx="168275" cy="127000"/>
                      </a:xfrm>
                      <a:custGeom>
                        <a:avLst/>
                        <a:gdLst/>
                        <a:ahLst/>
                        <a:cxnLst>
                          <a:cxn ang="0">
                            <a:pos x="53" y="0"/>
                          </a:cxn>
                          <a:cxn ang="0">
                            <a:pos x="64" y="1"/>
                          </a:cxn>
                          <a:cxn ang="0">
                            <a:pos x="74" y="2"/>
                          </a:cxn>
                          <a:cxn ang="0">
                            <a:pos x="83" y="6"/>
                          </a:cxn>
                          <a:cxn ang="0">
                            <a:pos x="91" y="11"/>
                          </a:cxn>
                          <a:cxn ang="0">
                            <a:pos x="97" y="18"/>
                          </a:cxn>
                          <a:cxn ang="0">
                            <a:pos x="103" y="24"/>
                          </a:cxn>
                          <a:cxn ang="0">
                            <a:pos x="105" y="32"/>
                          </a:cxn>
                          <a:cxn ang="0">
                            <a:pos x="106" y="40"/>
                          </a:cxn>
                          <a:cxn ang="0">
                            <a:pos x="105" y="48"/>
                          </a:cxn>
                          <a:cxn ang="0">
                            <a:pos x="103" y="55"/>
                          </a:cxn>
                          <a:cxn ang="0">
                            <a:pos x="97" y="62"/>
                          </a:cxn>
                          <a:cxn ang="0">
                            <a:pos x="91" y="68"/>
                          </a:cxn>
                          <a:cxn ang="0">
                            <a:pos x="83" y="74"/>
                          </a:cxn>
                          <a:cxn ang="0">
                            <a:pos x="74" y="78"/>
                          </a:cxn>
                          <a:cxn ang="0">
                            <a:pos x="64" y="79"/>
                          </a:cxn>
                          <a:cxn ang="0">
                            <a:pos x="53" y="80"/>
                          </a:cxn>
                          <a:cxn ang="0">
                            <a:pos x="43" y="79"/>
                          </a:cxn>
                          <a:cxn ang="0">
                            <a:pos x="32" y="78"/>
                          </a:cxn>
                          <a:cxn ang="0">
                            <a:pos x="23" y="74"/>
                          </a:cxn>
                          <a:cxn ang="0">
                            <a:pos x="16" y="68"/>
                          </a:cxn>
                          <a:cxn ang="0">
                            <a:pos x="9" y="62"/>
                          </a:cxn>
                          <a:cxn ang="0">
                            <a:pos x="4" y="55"/>
                          </a:cxn>
                          <a:cxn ang="0">
                            <a:pos x="1" y="48"/>
                          </a:cxn>
                          <a:cxn ang="0">
                            <a:pos x="0" y="40"/>
                          </a:cxn>
                          <a:cxn ang="0">
                            <a:pos x="1" y="32"/>
                          </a:cxn>
                          <a:cxn ang="0">
                            <a:pos x="4" y="24"/>
                          </a:cxn>
                          <a:cxn ang="0">
                            <a:pos x="9" y="18"/>
                          </a:cxn>
                          <a:cxn ang="0">
                            <a:pos x="16" y="11"/>
                          </a:cxn>
                          <a:cxn ang="0">
                            <a:pos x="23" y="6"/>
                          </a:cxn>
                          <a:cxn ang="0">
                            <a:pos x="32" y="2"/>
                          </a:cxn>
                          <a:cxn ang="0">
                            <a:pos x="43" y="1"/>
                          </a:cxn>
                          <a:cxn ang="0">
                            <a:pos x="53" y="0"/>
                          </a:cxn>
                        </a:cxnLst>
                        <a:rect l="0" t="0" r="r" b="b"/>
                        <a:pathLst>
                          <a:path w="106" h="80">
                            <a:moveTo>
                              <a:pt x="53" y="0"/>
                            </a:moveTo>
                            <a:lnTo>
                              <a:pt x="64" y="1"/>
                            </a:lnTo>
                            <a:lnTo>
                              <a:pt x="74" y="2"/>
                            </a:lnTo>
                            <a:lnTo>
                              <a:pt x="83" y="6"/>
                            </a:lnTo>
                            <a:lnTo>
                              <a:pt x="91" y="11"/>
                            </a:lnTo>
                            <a:lnTo>
                              <a:pt x="97" y="18"/>
                            </a:lnTo>
                            <a:lnTo>
                              <a:pt x="103" y="24"/>
                            </a:lnTo>
                            <a:lnTo>
                              <a:pt x="105" y="32"/>
                            </a:lnTo>
                            <a:lnTo>
                              <a:pt x="106" y="40"/>
                            </a:lnTo>
                            <a:lnTo>
                              <a:pt x="105" y="48"/>
                            </a:lnTo>
                            <a:lnTo>
                              <a:pt x="103" y="55"/>
                            </a:lnTo>
                            <a:lnTo>
                              <a:pt x="97" y="62"/>
                            </a:lnTo>
                            <a:lnTo>
                              <a:pt x="91" y="68"/>
                            </a:lnTo>
                            <a:lnTo>
                              <a:pt x="83" y="74"/>
                            </a:lnTo>
                            <a:lnTo>
                              <a:pt x="74" y="78"/>
                            </a:lnTo>
                            <a:lnTo>
                              <a:pt x="64" y="79"/>
                            </a:lnTo>
                            <a:lnTo>
                              <a:pt x="53" y="80"/>
                            </a:lnTo>
                            <a:lnTo>
                              <a:pt x="43" y="79"/>
                            </a:lnTo>
                            <a:lnTo>
                              <a:pt x="32" y="78"/>
                            </a:lnTo>
                            <a:lnTo>
                              <a:pt x="23" y="74"/>
                            </a:lnTo>
                            <a:lnTo>
                              <a:pt x="16" y="68"/>
                            </a:lnTo>
                            <a:lnTo>
                              <a:pt x="9" y="62"/>
                            </a:lnTo>
                            <a:lnTo>
                              <a:pt x="4" y="55"/>
                            </a:lnTo>
                            <a:lnTo>
                              <a:pt x="1" y="48"/>
                            </a:lnTo>
                            <a:lnTo>
                              <a:pt x="0" y="40"/>
                            </a:lnTo>
                            <a:lnTo>
                              <a:pt x="1" y="32"/>
                            </a:lnTo>
                            <a:lnTo>
                              <a:pt x="4" y="24"/>
                            </a:lnTo>
                            <a:lnTo>
                              <a:pt x="9" y="18"/>
                            </a:lnTo>
                            <a:lnTo>
                              <a:pt x="16" y="11"/>
                            </a:lnTo>
                            <a:lnTo>
                              <a:pt x="23" y="6"/>
                            </a:lnTo>
                            <a:lnTo>
                              <a:pt x="32" y="2"/>
                            </a:lnTo>
                            <a:lnTo>
                              <a:pt x="43" y="1"/>
                            </a:lnTo>
                            <a:lnTo>
                              <a:pt x="53" y="0"/>
                            </a:lnTo>
                            <a:close/>
                          </a:path>
                        </a:pathLst>
                      </a:custGeom>
                      <a:grpFill/>
                      <a:ln w="9525">
                        <a:noFill/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pPr fontAlgn="auto">
                          <a:spcBef>
                            <a:spcPts val="0"/>
                          </a:spcBef>
                          <a:spcAft>
                            <a:spcPts val="0"/>
                          </a:spcAft>
                          <a:defRPr/>
                        </a:pPr>
                        <a:endParaRPr lang="da-DK" kern="0">
                          <a:solidFill>
                            <a:sysClr val="windowText" lastClr="000000"/>
                          </a:solidFill>
                          <a:latin typeface="+mn-lt"/>
                          <a:ea typeface="ＭＳ Ｐゴシック" pitchFamily="-97" charset="-128"/>
                          <a:cs typeface="+mn-cs"/>
                        </a:endParaRPr>
                      </a:p>
                    </p:txBody>
                  </p:sp>
                </p:grpSp>
              </p:grpSp>
              <p:sp>
                <p:nvSpPr>
                  <p:cNvPr id="344" name="Ellipse 403"/>
                  <p:cNvSpPr/>
                  <p:nvPr/>
                </p:nvSpPr>
                <p:spPr bwMode="auto">
                  <a:xfrm>
                    <a:off x="909639" y="5635729"/>
                    <a:ext cx="1096961" cy="307871"/>
                  </a:xfrm>
                  <a:prstGeom prst="ellipse">
                    <a:avLst/>
                  </a:prstGeom>
                  <a:gradFill flip="none" rotWithShape="1">
                    <a:gsLst>
                      <a:gs pos="24000">
                        <a:sysClr val="windowText" lastClr="000000">
                          <a:alpha val="42000"/>
                        </a:sysClr>
                      </a:gs>
                      <a:gs pos="100000">
                        <a:sysClr val="window" lastClr="FFFFFF">
                          <a:alpha val="0"/>
                        </a:sysClr>
                      </a:gs>
                    </a:gsLst>
                    <a:path path="shape">
                      <a:fillToRect l="50000" t="50000" r="50000" b="50000"/>
                    </a:path>
                    <a:tileRect/>
                  </a:gradFill>
                  <a:ln w="9525" cap="flat" cmpd="sng" algn="ctr">
                    <a:noFill/>
                    <a:prstDash val="solid"/>
                  </a:ln>
                  <a:effectLst/>
                </p:spPr>
                <p:txBody>
                  <a:bodyPr anchor="ctr"/>
                  <a:lstStyle/>
                  <a:p>
                    <a:pPr algn="ctr"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da-DK" kern="0" dirty="0" err="1">
                      <a:solidFill>
                        <a:sysClr val="window" lastClr="FFFFFF"/>
                      </a:solidFill>
                      <a:latin typeface="Calibri"/>
                      <a:ea typeface="ＭＳ Ｐゴシック" pitchFamily="-97" charset="-128"/>
                      <a:cs typeface="+mn-cs"/>
                    </a:endParaRPr>
                  </a:p>
                </p:txBody>
              </p:sp>
            </p:grpSp>
            <p:grpSp>
              <p:nvGrpSpPr>
                <p:cNvPr id="338" name="Gruppe 943"/>
                <p:cNvGrpSpPr>
                  <a:grpSpLocks/>
                </p:cNvGrpSpPr>
                <p:nvPr/>
              </p:nvGrpSpPr>
              <p:grpSpPr bwMode="auto">
                <a:xfrm>
                  <a:off x="6404733" y="260898"/>
                  <a:ext cx="946236" cy="1750302"/>
                  <a:chOff x="6106587" y="3035097"/>
                  <a:chExt cx="446313" cy="825568"/>
                </a:xfrm>
              </p:grpSpPr>
              <p:grpSp>
                <p:nvGrpSpPr>
                  <p:cNvPr id="339" name="Gruppe 916"/>
                  <p:cNvGrpSpPr>
                    <a:grpSpLocks/>
                  </p:cNvGrpSpPr>
                  <p:nvPr/>
                </p:nvGrpSpPr>
                <p:grpSpPr bwMode="auto">
                  <a:xfrm>
                    <a:off x="6106587" y="3139974"/>
                    <a:ext cx="446313" cy="720691"/>
                    <a:chOff x="750675" y="1114896"/>
                    <a:chExt cx="1245228" cy="2719993"/>
                  </a:xfrm>
                </p:grpSpPr>
                <p:sp>
                  <p:nvSpPr>
                    <p:cNvPr id="341" name="Freeform 384"/>
                    <p:cNvSpPr>
                      <a:spLocks/>
                    </p:cNvSpPr>
                    <p:nvPr/>
                  </p:nvSpPr>
                  <p:spPr bwMode="auto">
                    <a:xfrm>
                      <a:off x="959002" y="1085518"/>
                      <a:ext cx="1064735" cy="2729622"/>
                    </a:xfrm>
                    <a:custGeom>
                      <a:avLst/>
                      <a:gdLst/>
                      <a:ahLst/>
                      <a:cxnLst>
                        <a:cxn ang="0">
                          <a:pos x="406" y="0"/>
                        </a:cxn>
                        <a:cxn ang="0">
                          <a:pos x="324" y="90"/>
                        </a:cxn>
                        <a:cxn ang="0">
                          <a:pos x="254" y="180"/>
                        </a:cxn>
                        <a:cxn ang="0">
                          <a:pos x="192" y="268"/>
                        </a:cxn>
                        <a:cxn ang="0">
                          <a:pos x="142" y="354"/>
                        </a:cxn>
                        <a:cxn ang="0">
                          <a:pos x="146" y="352"/>
                        </a:cxn>
                        <a:cxn ang="0">
                          <a:pos x="152" y="350"/>
                        </a:cxn>
                        <a:cxn ang="0">
                          <a:pos x="162" y="356"/>
                        </a:cxn>
                        <a:cxn ang="0">
                          <a:pos x="178" y="378"/>
                        </a:cxn>
                        <a:cxn ang="0">
                          <a:pos x="200" y="428"/>
                        </a:cxn>
                        <a:cxn ang="0">
                          <a:pos x="232" y="530"/>
                        </a:cxn>
                        <a:cxn ang="0">
                          <a:pos x="262" y="666"/>
                        </a:cxn>
                        <a:cxn ang="0">
                          <a:pos x="274" y="728"/>
                        </a:cxn>
                        <a:cxn ang="0">
                          <a:pos x="232" y="664"/>
                        </a:cxn>
                        <a:cxn ang="0">
                          <a:pos x="208" y="634"/>
                        </a:cxn>
                        <a:cxn ang="0">
                          <a:pos x="182" y="612"/>
                        </a:cxn>
                        <a:cxn ang="0">
                          <a:pos x="160" y="598"/>
                        </a:cxn>
                        <a:cxn ang="0">
                          <a:pos x="138" y="592"/>
                        </a:cxn>
                        <a:cxn ang="0">
                          <a:pos x="120" y="590"/>
                        </a:cxn>
                        <a:cxn ang="0">
                          <a:pos x="94" y="598"/>
                        </a:cxn>
                        <a:cxn ang="0">
                          <a:pos x="64" y="618"/>
                        </a:cxn>
                        <a:cxn ang="0">
                          <a:pos x="44" y="642"/>
                        </a:cxn>
                        <a:cxn ang="0">
                          <a:pos x="26" y="672"/>
                        </a:cxn>
                        <a:cxn ang="0">
                          <a:pos x="26" y="650"/>
                        </a:cxn>
                        <a:cxn ang="0">
                          <a:pos x="14" y="708"/>
                        </a:cxn>
                        <a:cxn ang="0">
                          <a:pos x="0" y="822"/>
                        </a:cxn>
                        <a:cxn ang="0">
                          <a:pos x="0" y="930"/>
                        </a:cxn>
                        <a:cxn ang="0">
                          <a:pos x="12" y="1032"/>
                        </a:cxn>
                        <a:cxn ang="0">
                          <a:pos x="34" y="1130"/>
                        </a:cxn>
                        <a:cxn ang="0">
                          <a:pos x="64" y="1220"/>
                        </a:cxn>
                        <a:cxn ang="0">
                          <a:pos x="98" y="1304"/>
                        </a:cxn>
                        <a:cxn ang="0">
                          <a:pos x="138" y="1382"/>
                        </a:cxn>
                        <a:cxn ang="0">
                          <a:pos x="182" y="1452"/>
                        </a:cxn>
                        <a:cxn ang="0">
                          <a:pos x="246" y="1542"/>
                        </a:cxn>
                        <a:cxn ang="0">
                          <a:pos x="326" y="1634"/>
                        </a:cxn>
                        <a:cxn ang="0">
                          <a:pos x="382" y="1692"/>
                        </a:cxn>
                        <a:cxn ang="0">
                          <a:pos x="406" y="1712"/>
                        </a:cxn>
                        <a:cxn ang="0">
                          <a:pos x="480" y="1644"/>
                        </a:cxn>
                        <a:cxn ang="0">
                          <a:pos x="546" y="1574"/>
                        </a:cxn>
                        <a:cxn ang="0">
                          <a:pos x="602" y="1504"/>
                        </a:cxn>
                        <a:cxn ang="0">
                          <a:pos x="650" y="1434"/>
                        </a:cxn>
                        <a:cxn ang="0">
                          <a:pos x="690" y="1362"/>
                        </a:cxn>
                        <a:cxn ang="0">
                          <a:pos x="722" y="1288"/>
                        </a:cxn>
                        <a:cxn ang="0">
                          <a:pos x="746" y="1216"/>
                        </a:cxn>
                        <a:cxn ang="0">
                          <a:pos x="764" y="1142"/>
                        </a:cxn>
                        <a:cxn ang="0">
                          <a:pos x="776" y="1070"/>
                        </a:cxn>
                        <a:cxn ang="0">
                          <a:pos x="782" y="998"/>
                        </a:cxn>
                        <a:cxn ang="0">
                          <a:pos x="784" y="926"/>
                        </a:cxn>
                        <a:cxn ang="0">
                          <a:pos x="770" y="786"/>
                        </a:cxn>
                        <a:cxn ang="0">
                          <a:pos x="742" y="652"/>
                        </a:cxn>
                        <a:cxn ang="0">
                          <a:pos x="704" y="526"/>
                        </a:cxn>
                        <a:cxn ang="0">
                          <a:pos x="656" y="408"/>
                        </a:cxn>
                        <a:cxn ang="0">
                          <a:pos x="604" y="302"/>
                        </a:cxn>
                        <a:cxn ang="0">
                          <a:pos x="550" y="208"/>
                        </a:cxn>
                        <a:cxn ang="0">
                          <a:pos x="478" y="96"/>
                        </a:cxn>
                        <a:cxn ang="0">
                          <a:pos x="406" y="0"/>
                        </a:cxn>
                      </a:cxnLst>
                      <a:rect l="0" t="0" r="r" b="b"/>
                      <a:pathLst>
                        <a:path w="784" h="1712">
                          <a:moveTo>
                            <a:pt x="406" y="0"/>
                          </a:moveTo>
                          <a:lnTo>
                            <a:pt x="406" y="0"/>
                          </a:lnTo>
                          <a:lnTo>
                            <a:pt x="364" y="46"/>
                          </a:lnTo>
                          <a:lnTo>
                            <a:pt x="324" y="90"/>
                          </a:lnTo>
                          <a:lnTo>
                            <a:pt x="288" y="136"/>
                          </a:lnTo>
                          <a:lnTo>
                            <a:pt x="254" y="180"/>
                          </a:lnTo>
                          <a:lnTo>
                            <a:pt x="222" y="224"/>
                          </a:lnTo>
                          <a:lnTo>
                            <a:pt x="192" y="268"/>
                          </a:lnTo>
                          <a:lnTo>
                            <a:pt x="166" y="312"/>
                          </a:lnTo>
                          <a:lnTo>
                            <a:pt x="142" y="354"/>
                          </a:lnTo>
                          <a:lnTo>
                            <a:pt x="142" y="354"/>
                          </a:lnTo>
                          <a:lnTo>
                            <a:pt x="146" y="352"/>
                          </a:lnTo>
                          <a:lnTo>
                            <a:pt x="146" y="352"/>
                          </a:lnTo>
                          <a:lnTo>
                            <a:pt x="152" y="350"/>
                          </a:lnTo>
                          <a:lnTo>
                            <a:pt x="156" y="352"/>
                          </a:lnTo>
                          <a:lnTo>
                            <a:pt x="162" y="356"/>
                          </a:lnTo>
                          <a:lnTo>
                            <a:pt x="168" y="362"/>
                          </a:lnTo>
                          <a:lnTo>
                            <a:pt x="178" y="378"/>
                          </a:lnTo>
                          <a:lnTo>
                            <a:pt x="190" y="400"/>
                          </a:lnTo>
                          <a:lnTo>
                            <a:pt x="200" y="428"/>
                          </a:lnTo>
                          <a:lnTo>
                            <a:pt x="212" y="460"/>
                          </a:lnTo>
                          <a:lnTo>
                            <a:pt x="232" y="530"/>
                          </a:lnTo>
                          <a:lnTo>
                            <a:pt x="248" y="602"/>
                          </a:lnTo>
                          <a:lnTo>
                            <a:pt x="262" y="666"/>
                          </a:lnTo>
                          <a:lnTo>
                            <a:pt x="274" y="728"/>
                          </a:lnTo>
                          <a:lnTo>
                            <a:pt x="274" y="728"/>
                          </a:lnTo>
                          <a:lnTo>
                            <a:pt x="246" y="682"/>
                          </a:lnTo>
                          <a:lnTo>
                            <a:pt x="232" y="664"/>
                          </a:lnTo>
                          <a:lnTo>
                            <a:pt x="220" y="648"/>
                          </a:lnTo>
                          <a:lnTo>
                            <a:pt x="208" y="634"/>
                          </a:lnTo>
                          <a:lnTo>
                            <a:pt x="194" y="622"/>
                          </a:lnTo>
                          <a:lnTo>
                            <a:pt x="182" y="612"/>
                          </a:lnTo>
                          <a:lnTo>
                            <a:pt x="172" y="604"/>
                          </a:lnTo>
                          <a:lnTo>
                            <a:pt x="160" y="598"/>
                          </a:lnTo>
                          <a:lnTo>
                            <a:pt x="150" y="594"/>
                          </a:lnTo>
                          <a:lnTo>
                            <a:pt x="138" y="592"/>
                          </a:lnTo>
                          <a:lnTo>
                            <a:pt x="128" y="590"/>
                          </a:lnTo>
                          <a:lnTo>
                            <a:pt x="120" y="590"/>
                          </a:lnTo>
                          <a:lnTo>
                            <a:pt x="110" y="592"/>
                          </a:lnTo>
                          <a:lnTo>
                            <a:pt x="94" y="598"/>
                          </a:lnTo>
                          <a:lnTo>
                            <a:pt x="78" y="606"/>
                          </a:lnTo>
                          <a:lnTo>
                            <a:pt x="64" y="618"/>
                          </a:lnTo>
                          <a:lnTo>
                            <a:pt x="52" y="630"/>
                          </a:lnTo>
                          <a:lnTo>
                            <a:pt x="44" y="642"/>
                          </a:lnTo>
                          <a:lnTo>
                            <a:pt x="30" y="664"/>
                          </a:lnTo>
                          <a:lnTo>
                            <a:pt x="26" y="672"/>
                          </a:lnTo>
                          <a:lnTo>
                            <a:pt x="26" y="672"/>
                          </a:lnTo>
                          <a:lnTo>
                            <a:pt x="26" y="650"/>
                          </a:lnTo>
                          <a:lnTo>
                            <a:pt x="26" y="650"/>
                          </a:lnTo>
                          <a:lnTo>
                            <a:pt x="14" y="708"/>
                          </a:lnTo>
                          <a:lnTo>
                            <a:pt x="6" y="766"/>
                          </a:lnTo>
                          <a:lnTo>
                            <a:pt x="0" y="822"/>
                          </a:lnTo>
                          <a:lnTo>
                            <a:pt x="0" y="876"/>
                          </a:lnTo>
                          <a:lnTo>
                            <a:pt x="0" y="930"/>
                          </a:lnTo>
                          <a:lnTo>
                            <a:pt x="6" y="982"/>
                          </a:lnTo>
                          <a:lnTo>
                            <a:pt x="12" y="1032"/>
                          </a:lnTo>
                          <a:lnTo>
                            <a:pt x="22" y="1082"/>
                          </a:lnTo>
                          <a:lnTo>
                            <a:pt x="34" y="1130"/>
                          </a:lnTo>
                          <a:lnTo>
                            <a:pt x="48" y="1176"/>
                          </a:lnTo>
                          <a:lnTo>
                            <a:pt x="64" y="1220"/>
                          </a:lnTo>
                          <a:lnTo>
                            <a:pt x="80" y="1262"/>
                          </a:lnTo>
                          <a:lnTo>
                            <a:pt x="98" y="1304"/>
                          </a:lnTo>
                          <a:lnTo>
                            <a:pt x="118" y="1344"/>
                          </a:lnTo>
                          <a:lnTo>
                            <a:pt x="138" y="1382"/>
                          </a:lnTo>
                          <a:lnTo>
                            <a:pt x="160" y="1418"/>
                          </a:lnTo>
                          <a:lnTo>
                            <a:pt x="182" y="1452"/>
                          </a:lnTo>
                          <a:lnTo>
                            <a:pt x="202" y="1484"/>
                          </a:lnTo>
                          <a:lnTo>
                            <a:pt x="246" y="1542"/>
                          </a:lnTo>
                          <a:lnTo>
                            <a:pt x="288" y="1592"/>
                          </a:lnTo>
                          <a:lnTo>
                            <a:pt x="326" y="1634"/>
                          </a:lnTo>
                          <a:lnTo>
                            <a:pt x="358" y="1668"/>
                          </a:lnTo>
                          <a:lnTo>
                            <a:pt x="382" y="1692"/>
                          </a:lnTo>
                          <a:lnTo>
                            <a:pt x="406" y="1712"/>
                          </a:lnTo>
                          <a:lnTo>
                            <a:pt x="406" y="1712"/>
                          </a:lnTo>
                          <a:lnTo>
                            <a:pt x="444" y="1678"/>
                          </a:lnTo>
                          <a:lnTo>
                            <a:pt x="480" y="1644"/>
                          </a:lnTo>
                          <a:lnTo>
                            <a:pt x="514" y="1610"/>
                          </a:lnTo>
                          <a:lnTo>
                            <a:pt x="546" y="1574"/>
                          </a:lnTo>
                          <a:lnTo>
                            <a:pt x="574" y="1540"/>
                          </a:lnTo>
                          <a:lnTo>
                            <a:pt x="602" y="1504"/>
                          </a:lnTo>
                          <a:lnTo>
                            <a:pt x="626" y="1468"/>
                          </a:lnTo>
                          <a:lnTo>
                            <a:pt x="650" y="1434"/>
                          </a:lnTo>
                          <a:lnTo>
                            <a:pt x="670" y="1398"/>
                          </a:lnTo>
                          <a:lnTo>
                            <a:pt x="690" y="1362"/>
                          </a:lnTo>
                          <a:lnTo>
                            <a:pt x="706" y="1324"/>
                          </a:lnTo>
                          <a:lnTo>
                            <a:pt x="722" y="1288"/>
                          </a:lnTo>
                          <a:lnTo>
                            <a:pt x="734" y="1252"/>
                          </a:lnTo>
                          <a:lnTo>
                            <a:pt x="746" y="1216"/>
                          </a:lnTo>
                          <a:lnTo>
                            <a:pt x="756" y="1180"/>
                          </a:lnTo>
                          <a:lnTo>
                            <a:pt x="764" y="1142"/>
                          </a:lnTo>
                          <a:lnTo>
                            <a:pt x="770" y="1106"/>
                          </a:lnTo>
                          <a:lnTo>
                            <a:pt x="776" y="1070"/>
                          </a:lnTo>
                          <a:lnTo>
                            <a:pt x="780" y="1034"/>
                          </a:lnTo>
                          <a:lnTo>
                            <a:pt x="782" y="998"/>
                          </a:lnTo>
                          <a:lnTo>
                            <a:pt x="784" y="962"/>
                          </a:lnTo>
                          <a:lnTo>
                            <a:pt x="784" y="926"/>
                          </a:lnTo>
                          <a:lnTo>
                            <a:pt x="780" y="856"/>
                          </a:lnTo>
                          <a:lnTo>
                            <a:pt x="770" y="786"/>
                          </a:lnTo>
                          <a:lnTo>
                            <a:pt x="758" y="718"/>
                          </a:lnTo>
                          <a:lnTo>
                            <a:pt x="742" y="652"/>
                          </a:lnTo>
                          <a:lnTo>
                            <a:pt x="724" y="588"/>
                          </a:lnTo>
                          <a:lnTo>
                            <a:pt x="704" y="526"/>
                          </a:lnTo>
                          <a:lnTo>
                            <a:pt x="680" y="466"/>
                          </a:lnTo>
                          <a:lnTo>
                            <a:pt x="656" y="408"/>
                          </a:lnTo>
                          <a:lnTo>
                            <a:pt x="630" y="354"/>
                          </a:lnTo>
                          <a:lnTo>
                            <a:pt x="604" y="302"/>
                          </a:lnTo>
                          <a:lnTo>
                            <a:pt x="576" y="254"/>
                          </a:lnTo>
                          <a:lnTo>
                            <a:pt x="550" y="208"/>
                          </a:lnTo>
                          <a:lnTo>
                            <a:pt x="524" y="166"/>
                          </a:lnTo>
                          <a:lnTo>
                            <a:pt x="478" y="96"/>
                          </a:lnTo>
                          <a:lnTo>
                            <a:pt x="440" y="44"/>
                          </a:lnTo>
                          <a:lnTo>
                            <a:pt x="406" y="0"/>
                          </a:lnTo>
                          <a:lnTo>
                            <a:pt x="406" y="0"/>
                          </a:lnTo>
                          <a:close/>
                        </a:path>
                      </a:pathLst>
                    </a:custGeom>
                    <a:gradFill flip="none" rotWithShape="1">
                      <a:gsLst>
                        <a:gs pos="100000">
                          <a:srgbClr val="E6E6E6"/>
                        </a:gs>
                        <a:gs pos="44000">
                          <a:srgbClr val="080808"/>
                        </a:gs>
                        <a:gs pos="48000">
                          <a:srgbClr val="080808"/>
                        </a:gs>
                      </a:gsLst>
                      <a:lin ang="0" scaled="1"/>
                      <a:tileRect/>
                    </a:gradFill>
                    <a:ln w="9525" cap="flat" cmpd="sng" algn="ctr">
                      <a:noFill/>
                      <a:prstDash val="solid"/>
                    </a:ln>
                    <a:effectLst>
                      <a:outerShdw blurRad="40000" dist="23000" dir="5400000" rotWithShape="0">
                        <a:srgbClr val="000000">
                          <a:alpha val="35000"/>
                        </a:srgbClr>
                      </a:outerShdw>
                    </a:effectLst>
                  </p:spPr>
                  <p:txBody>
                    <a:bodyPr anchor="ctr"/>
                    <a:lstStyle/>
                    <a:p>
                      <a:pPr algn="ctr" fontAlgn="auto">
                        <a:spcBef>
                          <a:spcPts val="0"/>
                        </a:spcBef>
                        <a:spcAft>
                          <a:spcPts val="0"/>
                        </a:spcAft>
                        <a:defRPr/>
                      </a:pPr>
                      <a:endParaRPr lang="da-DK" kern="0">
                        <a:solidFill>
                          <a:sysClr val="window" lastClr="FFFFFF"/>
                        </a:solidFill>
                        <a:latin typeface="Calibri"/>
                        <a:cs typeface="+mn-cs"/>
                      </a:endParaRPr>
                    </a:p>
                  </p:txBody>
                </p:sp>
                <p:sp>
                  <p:nvSpPr>
                    <p:cNvPr id="342" name="Freeform 385"/>
                    <p:cNvSpPr>
                      <a:spLocks/>
                    </p:cNvSpPr>
                    <p:nvPr/>
                  </p:nvSpPr>
                  <p:spPr bwMode="auto">
                    <a:xfrm>
                      <a:off x="1018135" y="1631462"/>
                      <a:ext cx="295778" cy="623908"/>
                    </a:xfrm>
                    <a:custGeom>
                      <a:avLst/>
                      <a:gdLst/>
                      <a:ahLst/>
                      <a:cxnLst>
                        <a:cxn ang="0">
                          <a:pos x="248" y="378"/>
                        </a:cxn>
                        <a:cxn ang="0">
                          <a:pos x="248" y="378"/>
                        </a:cxn>
                        <a:cxn ang="0">
                          <a:pos x="236" y="316"/>
                        </a:cxn>
                        <a:cxn ang="0">
                          <a:pos x="222" y="252"/>
                        </a:cxn>
                        <a:cxn ang="0">
                          <a:pos x="206" y="180"/>
                        </a:cxn>
                        <a:cxn ang="0">
                          <a:pos x="186" y="110"/>
                        </a:cxn>
                        <a:cxn ang="0">
                          <a:pos x="174" y="78"/>
                        </a:cxn>
                        <a:cxn ang="0">
                          <a:pos x="164" y="50"/>
                        </a:cxn>
                        <a:cxn ang="0">
                          <a:pos x="152" y="28"/>
                        </a:cxn>
                        <a:cxn ang="0">
                          <a:pos x="142" y="12"/>
                        </a:cxn>
                        <a:cxn ang="0">
                          <a:pos x="136" y="6"/>
                        </a:cxn>
                        <a:cxn ang="0">
                          <a:pos x="130" y="2"/>
                        </a:cxn>
                        <a:cxn ang="0">
                          <a:pos x="126" y="0"/>
                        </a:cxn>
                        <a:cxn ang="0">
                          <a:pos x="120" y="2"/>
                        </a:cxn>
                        <a:cxn ang="0">
                          <a:pos x="120" y="2"/>
                        </a:cxn>
                        <a:cxn ang="0">
                          <a:pos x="116" y="4"/>
                        </a:cxn>
                        <a:cxn ang="0">
                          <a:pos x="116" y="4"/>
                        </a:cxn>
                        <a:cxn ang="0">
                          <a:pos x="94" y="42"/>
                        </a:cxn>
                        <a:cxn ang="0">
                          <a:pos x="76" y="80"/>
                        </a:cxn>
                        <a:cxn ang="0">
                          <a:pos x="60" y="118"/>
                        </a:cxn>
                        <a:cxn ang="0">
                          <a:pos x="44" y="154"/>
                        </a:cxn>
                        <a:cxn ang="0">
                          <a:pos x="30" y="192"/>
                        </a:cxn>
                        <a:cxn ang="0">
                          <a:pos x="18" y="228"/>
                        </a:cxn>
                        <a:cxn ang="0">
                          <a:pos x="8" y="264"/>
                        </a:cxn>
                        <a:cxn ang="0">
                          <a:pos x="0" y="300"/>
                        </a:cxn>
                        <a:cxn ang="0">
                          <a:pos x="0" y="300"/>
                        </a:cxn>
                        <a:cxn ang="0">
                          <a:pos x="0" y="322"/>
                        </a:cxn>
                        <a:cxn ang="0">
                          <a:pos x="0" y="322"/>
                        </a:cxn>
                        <a:cxn ang="0">
                          <a:pos x="4" y="314"/>
                        </a:cxn>
                        <a:cxn ang="0">
                          <a:pos x="18" y="292"/>
                        </a:cxn>
                        <a:cxn ang="0">
                          <a:pos x="26" y="280"/>
                        </a:cxn>
                        <a:cxn ang="0">
                          <a:pos x="38" y="268"/>
                        </a:cxn>
                        <a:cxn ang="0">
                          <a:pos x="52" y="256"/>
                        </a:cxn>
                        <a:cxn ang="0">
                          <a:pos x="68" y="248"/>
                        </a:cxn>
                        <a:cxn ang="0">
                          <a:pos x="84" y="242"/>
                        </a:cxn>
                        <a:cxn ang="0">
                          <a:pos x="94" y="240"/>
                        </a:cxn>
                        <a:cxn ang="0">
                          <a:pos x="102" y="240"/>
                        </a:cxn>
                        <a:cxn ang="0">
                          <a:pos x="112" y="242"/>
                        </a:cxn>
                        <a:cxn ang="0">
                          <a:pos x="124" y="244"/>
                        </a:cxn>
                        <a:cxn ang="0">
                          <a:pos x="134" y="248"/>
                        </a:cxn>
                        <a:cxn ang="0">
                          <a:pos x="146" y="254"/>
                        </a:cxn>
                        <a:cxn ang="0">
                          <a:pos x="156" y="262"/>
                        </a:cxn>
                        <a:cxn ang="0">
                          <a:pos x="168" y="272"/>
                        </a:cxn>
                        <a:cxn ang="0">
                          <a:pos x="182" y="284"/>
                        </a:cxn>
                        <a:cxn ang="0">
                          <a:pos x="194" y="298"/>
                        </a:cxn>
                        <a:cxn ang="0">
                          <a:pos x="206" y="314"/>
                        </a:cxn>
                        <a:cxn ang="0">
                          <a:pos x="220" y="332"/>
                        </a:cxn>
                        <a:cxn ang="0">
                          <a:pos x="248" y="378"/>
                        </a:cxn>
                        <a:cxn ang="0">
                          <a:pos x="248" y="378"/>
                        </a:cxn>
                      </a:cxnLst>
                      <a:rect l="0" t="0" r="r" b="b"/>
                      <a:pathLst>
                        <a:path w="248" h="378">
                          <a:moveTo>
                            <a:pt x="248" y="378"/>
                          </a:moveTo>
                          <a:lnTo>
                            <a:pt x="248" y="378"/>
                          </a:lnTo>
                          <a:lnTo>
                            <a:pt x="236" y="316"/>
                          </a:lnTo>
                          <a:lnTo>
                            <a:pt x="222" y="252"/>
                          </a:lnTo>
                          <a:lnTo>
                            <a:pt x="206" y="180"/>
                          </a:lnTo>
                          <a:lnTo>
                            <a:pt x="186" y="110"/>
                          </a:lnTo>
                          <a:lnTo>
                            <a:pt x="174" y="78"/>
                          </a:lnTo>
                          <a:lnTo>
                            <a:pt x="164" y="50"/>
                          </a:lnTo>
                          <a:lnTo>
                            <a:pt x="152" y="28"/>
                          </a:lnTo>
                          <a:lnTo>
                            <a:pt x="142" y="12"/>
                          </a:lnTo>
                          <a:lnTo>
                            <a:pt x="136" y="6"/>
                          </a:lnTo>
                          <a:lnTo>
                            <a:pt x="130" y="2"/>
                          </a:lnTo>
                          <a:lnTo>
                            <a:pt x="126" y="0"/>
                          </a:lnTo>
                          <a:lnTo>
                            <a:pt x="120" y="2"/>
                          </a:lnTo>
                          <a:lnTo>
                            <a:pt x="120" y="2"/>
                          </a:lnTo>
                          <a:lnTo>
                            <a:pt x="116" y="4"/>
                          </a:lnTo>
                          <a:lnTo>
                            <a:pt x="116" y="4"/>
                          </a:lnTo>
                          <a:lnTo>
                            <a:pt x="94" y="42"/>
                          </a:lnTo>
                          <a:lnTo>
                            <a:pt x="76" y="80"/>
                          </a:lnTo>
                          <a:lnTo>
                            <a:pt x="60" y="118"/>
                          </a:lnTo>
                          <a:lnTo>
                            <a:pt x="44" y="154"/>
                          </a:lnTo>
                          <a:lnTo>
                            <a:pt x="30" y="192"/>
                          </a:lnTo>
                          <a:lnTo>
                            <a:pt x="18" y="228"/>
                          </a:lnTo>
                          <a:lnTo>
                            <a:pt x="8" y="264"/>
                          </a:lnTo>
                          <a:lnTo>
                            <a:pt x="0" y="300"/>
                          </a:lnTo>
                          <a:lnTo>
                            <a:pt x="0" y="300"/>
                          </a:lnTo>
                          <a:lnTo>
                            <a:pt x="0" y="322"/>
                          </a:lnTo>
                          <a:lnTo>
                            <a:pt x="0" y="322"/>
                          </a:lnTo>
                          <a:lnTo>
                            <a:pt x="4" y="314"/>
                          </a:lnTo>
                          <a:lnTo>
                            <a:pt x="18" y="292"/>
                          </a:lnTo>
                          <a:lnTo>
                            <a:pt x="26" y="280"/>
                          </a:lnTo>
                          <a:lnTo>
                            <a:pt x="38" y="268"/>
                          </a:lnTo>
                          <a:lnTo>
                            <a:pt x="52" y="256"/>
                          </a:lnTo>
                          <a:lnTo>
                            <a:pt x="68" y="248"/>
                          </a:lnTo>
                          <a:lnTo>
                            <a:pt x="84" y="242"/>
                          </a:lnTo>
                          <a:lnTo>
                            <a:pt x="94" y="240"/>
                          </a:lnTo>
                          <a:lnTo>
                            <a:pt x="102" y="240"/>
                          </a:lnTo>
                          <a:lnTo>
                            <a:pt x="112" y="242"/>
                          </a:lnTo>
                          <a:lnTo>
                            <a:pt x="124" y="244"/>
                          </a:lnTo>
                          <a:lnTo>
                            <a:pt x="134" y="248"/>
                          </a:lnTo>
                          <a:lnTo>
                            <a:pt x="146" y="254"/>
                          </a:lnTo>
                          <a:lnTo>
                            <a:pt x="156" y="262"/>
                          </a:lnTo>
                          <a:lnTo>
                            <a:pt x="168" y="272"/>
                          </a:lnTo>
                          <a:lnTo>
                            <a:pt x="182" y="284"/>
                          </a:lnTo>
                          <a:lnTo>
                            <a:pt x="194" y="298"/>
                          </a:lnTo>
                          <a:lnTo>
                            <a:pt x="206" y="314"/>
                          </a:lnTo>
                          <a:lnTo>
                            <a:pt x="220" y="332"/>
                          </a:lnTo>
                          <a:lnTo>
                            <a:pt x="248" y="378"/>
                          </a:lnTo>
                          <a:lnTo>
                            <a:pt x="248" y="378"/>
                          </a:lnTo>
                          <a:close/>
                        </a:path>
                      </a:pathLst>
                    </a:custGeom>
                    <a:solidFill>
                      <a:srgbClr val="E6E6E6">
                        <a:lumMod val="50000"/>
                      </a:srgbClr>
                    </a:solidFill>
                    <a:ln w="9525" cap="flat" cmpd="sng" algn="ctr">
                      <a:noFill/>
                      <a:prstDash val="solid"/>
                    </a:ln>
                    <a:effectLst>
                      <a:outerShdw blurRad="40000" dist="23000" dir="5400000" rotWithShape="0">
                        <a:srgbClr val="000000">
                          <a:alpha val="35000"/>
                        </a:srgbClr>
                      </a:outerShdw>
                    </a:effectLst>
                  </p:spPr>
                  <p:txBody>
                    <a:bodyPr anchor="ctr"/>
                    <a:lstStyle/>
                    <a:p>
                      <a:pPr algn="ctr" fontAlgn="auto">
                        <a:spcBef>
                          <a:spcPts val="0"/>
                        </a:spcBef>
                        <a:spcAft>
                          <a:spcPts val="0"/>
                        </a:spcAft>
                        <a:defRPr/>
                      </a:pPr>
                      <a:endParaRPr lang="da-DK" kern="0">
                        <a:solidFill>
                          <a:sysClr val="window" lastClr="FFFFFF"/>
                        </a:solidFill>
                        <a:latin typeface="Calibri"/>
                        <a:cs typeface="+mn-cs"/>
                      </a:endParaRPr>
                    </a:p>
                  </p:txBody>
                </p:sp>
              </p:grpSp>
              <p:sp>
                <p:nvSpPr>
                  <p:cNvPr id="340" name="Ellipse 399"/>
                  <p:cNvSpPr/>
                  <p:nvPr/>
                </p:nvSpPr>
                <p:spPr bwMode="auto">
                  <a:xfrm>
                    <a:off x="6308462" y="3028875"/>
                    <a:ext cx="105999" cy="144641"/>
                  </a:xfrm>
                  <a:prstGeom prst="ellipse">
                    <a:avLst/>
                  </a:prstGeom>
                  <a:gradFill flip="none" rotWithShape="1">
                    <a:gsLst>
                      <a:gs pos="0">
                        <a:srgbClr val="D7D8D9">
                          <a:lumMod val="10000"/>
                          <a:tint val="66000"/>
                          <a:satMod val="160000"/>
                        </a:srgbClr>
                      </a:gs>
                      <a:gs pos="50000">
                        <a:srgbClr val="080808"/>
                      </a:gs>
                      <a:gs pos="100000">
                        <a:srgbClr val="080808"/>
                      </a:gs>
                    </a:gsLst>
                    <a:lin ang="10800000" scaled="1"/>
                    <a:tileRect/>
                  </a:gradFill>
                  <a:ln w="9525" cap="flat" cmpd="sng" algn="ctr">
                    <a:noFill/>
                    <a:prstDash val="solid"/>
                  </a:ln>
                  <a:effectLst>
                    <a:outerShdw blurRad="40000" dist="23000" dir="5400000" rotWithShape="0">
                      <a:srgbClr val="000000">
                        <a:alpha val="35000"/>
                      </a:srgbClr>
                    </a:outerShdw>
                  </a:effectLst>
                </p:spPr>
                <p:txBody>
                  <a:bodyPr anchor="ctr"/>
                  <a:lstStyle/>
                  <a:p>
                    <a:pPr algn="ctr"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da-DK" kern="0">
                      <a:solidFill>
                        <a:sysClr val="window" lastClr="FFFFFF"/>
                      </a:solidFill>
                      <a:latin typeface="Calibri"/>
                      <a:cs typeface="+mn-cs"/>
                    </a:endParaRPr>
                  </a:p>
                </p:txBody>
              </p:sp>
            </p:grpSp>
          </p:grpSp>
          <p:sp>
            <p:nvSpPr>
              <p:cNvPr id="336" name="Freeform 316"/>
              <p:cNvSpPr>
                <a:spLocks/>
              </p:cNvSpPr>
              <p:nvPr/>
            </p:nvSpPr>
            <p:spPr bwMode="auto">
              <a:xfrm>
                <a:off x="6304824" y="3181944"/>
                <a:ext cx="335274" cy="54464"/>
              </a:xfrm>
              <a:custGeom>
                <a:avLst/>
                <a:gdLst>
                  <a:gd name="T0" fmla="*/ 13 w 230"/>
                  <a:gd name="T1" fmla="*/ 0 h 41"/>
                  <a:gd name="T2" fmla="*/ 26 w 230"/>
                  <a:gd name="T3" fmla="*/ 6 h 41"/>
                  <a:gd name="T4" fmla="*/ 39 w 230"/>
                  <a:gd name="T5" fmla="*/ 13 h 41"/>
                  <a:gd name="T6" fmla="*/ 52 w 230"/>
                  <a:gd name="T7" fmla="*/ 16 h 41"/>
                  <a:gd name="T8" fmla="*/ 65 w 230"/>
                  <a:gd name="T9" fmla="*/ 19 h 41"/>
                  <a:gd name="T10" fmla="*/ 78 w 230"/>
                  <a:gd name="T11" fmla="*/ 22 h 41"/>
                  <a:gd name="T12" fmla="*/ 93 w 230"/>
                  <a:gd name="T13" fmla="*/ 23 h 41"/>
                  <a:gd name="T14" fmla="*/ 106 w 230"/>
                  <a:gd name="T15" fmla="*/ 24 h 41"/>
                  <a:gd name="T16" fmla="*/ 120 w 230"/>
                  <a:gd name="T17" fmla="*/ 23 h 41"/>
                  <a:gd name="T18" fmla="*/ 134 w 230"/>
                  <a:gd name="T19" fmla="*/ 22 h 41"/>
                  <a:gd name="T20" fmla="*/ 147 w 230"/>
                  <a:gd name="T21" fmla="*/ 20 h 41"/>
                  <a:gd name="T22" fmla="*/ 161 w 230"/>
                  <a:gd name="T23" fmla="*/ 18 h 41"/>
                  <a:gd name="T24" fmla="*/ 176 w 230"/>
                  <a:gd name="T25" fmla="*/ 15 h 41"/>
                  <a:gd name="T26" fmla="*/ 189 w 230"/>
                  <a:gd name="T27" fmla="*/ 13 h 41"/>
                  <a:gd name="T28" fmla="*/ 203 w 230"/>
                  <a:gd name="T29" fmla="*/ 9 h 41"/>
                  <a:gd name="T30" fmla="*/ 216 w 230"/>
                  <a:gd name="T31" fmla="*/ 6 h 41"/>
                  <a:gd name="T32" fmla="*/ 230 w 230"/>
                  <a:gd name="T33" fmla="*/ 2 h 41"/>
                  <a:gd name="T34" fmla="*/ 230 w 230"/>
                  <a:gd name="T35" fmla="*/ 15 h 41"/>
                  <a:gd name="T36" fmla="*/ 221 w 230"/>
                  <a:gd name="T37" fmla="*/ 19 h 41"/>
                  <a:gd name="T38" fmla="*/ 212 w 230"/>
                  <a:gd name="T39" fmla="*/ 23 h 41"/>
                  <a:gd name="T40" fmla="*/ 200 w 230"/>
                  <a:gd name="T41" fmla="*/ 27 h 41"/>
                  <a:gd name="T42" fmla="*/ 189 w 230"/>
                  <a:gd name="T43" fmla="*/ 29 h 41"/>
                  <a:gd name="T44" fmla="*/ 174 w 230"/>
                  <a:gd name="T45" fmla="*/ 33 h 41"/>
                  <a:gd name="T46" fmla="*/ 161 w 230"/>
                  <a:gd name="T47" fmla="*/ 36 h 41"/>
                  <a:gd name="T48" fmla="*/ 146 w 230"/>
                  <a:gd name="T49" fmla="*/ 39 h 41"/>
                  <a:gd name="T50" fmla="*/ 132 w 230"/>
                  <a:gd name="T51" fmla="*/ 41 h 41"/>
                  <a:gd name="T52" fmla="*/ 115 w 230"/>
                  <a:gd name="T53" fmla="*/ 41 h 41"/>
                  <a:gd name="T54" fmla="*/ 99 w 230"/>
                  <a:gd name="T55" fmla="*/ 41 h 41"/>
                  <a:gd name="T56" fmla="*/ 82 w 230"/>
                  <a:gd name="T57" fmla="*/ 40 h 41"/>
                  <a:gd name="T58" fmla="*/ 65 w 230"/>
                  <a:gd name="T59" fmla="*/ 37 h 41"/>
                  <a:gd name="T60" fmla="*/ 50 w 230"/>
                  <a:gd name="T61" fmla="*/ 32 h 41"/>
                  <a:gd name="T62" fmla="*/ 33 w 230"/>
                  <a:gd name="T63" fmla="*/ 27 h 41"/>
                  <a:gd name="T64" fmla="*/ 16 w 230"/>
                  <a:gd name="T65" fmla="*/ 19 h 41"/>
                  <a:gd name="T66" fmla="*/ 0 w 230"/>
                  <a:gd name="T67" fmla="*/ 9 h 41"/>
                  <a:gd name="T68" fmla="*/ 13 w 230"/>
                  <a:gd name="T69" fmla="*/ 0 h 41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w 230"/>
                  <a:gd name="T106" fmla="*/ 0 h 41"/>
                  <a:gd name="T107" fmla="*/ 230 w 230"/>
                  <a:gd name="T108" fmla="*/ 41 h 41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T105" t="T106" r="T107" b="T108"/>
                <a:pathLst>
                  <a:path w="230" h="41">
                    <a:moveTo>
                      <a:pt x="13" y="0"/>
                    </a:moveTo>
                    <a:lnTo>
                      <a:pt x="26" y="6"/>
                    </a:lnTo>
                    <a:lnTo>
                      <a:pt x="39" y="13"/>
                    </a:lnTo>
                    <a:lnTo>
                      <a:pt x="52" y="16"/>
                    </a:lnTo>
                    <a:lnTo>
                      <a:pt x="65" y="19"/>
                    </a:lnTo>
                    <a:lnTo>
                      <a:pt x="78" y="22"/>
                    </a:lnTo>
                    <a:lnTo>
                      <a:pt x="93" y="23"/>
                    </a:lnTo>
                    <a:lnTo>
                      <a:pt x="106" y="24"/>
                    </a:lnTo>
                    <a:lnTo>
                      <a:pt x="120" y="23"/>
                    </a:lnTo>
                    <a:lnTo>
                      <a:pt x="134" y="22"/>
                    </a:lnTo>
                    <a:lnTo>
                      <a:pt x="147" y="20"/>
                    </a:lnTo>
                    <a:lnTo>
                      <a:pt x="161" y="18"/>
                    </a:lnTo>
                    <a:lnTo>
                      <a:pt x="176" y="15"/>
                    </a:lnTo>
                    <a:lnTo>
                      <a:pt x="189" y="13"/>
                    </a:lnTo>
                    <a:lnTo>
                      <a:pt x="203" y="9"/>
                    </a:lnTo>
                    <a:lnTo>
                      <a:pt x="216" y="6"/>
                    </a:lnTo>
                    <a:lnTo>
                      <a:pt x="230" y="2"/>
                    </a:lnTo>
                    <a:lnTo>
                      <a:pt x="230" y="15"/>
                    </a:lnTo>
                    <a:lnTo>
                      <a:pt x="221" y="19"/>
                    </a:lnTo>
                    <a:lnTo>
                      <a:pt x="212" y="23"/>
                    </a:lnTo>
                    <a:lnTo>
                      <a:pt x="200" y="27"/>
                    </a:lnTo>
                    <a:lnTo>
                      <a:pt x="189" y="29"/>
                    </a:lnTo>
                    <a:lnTo>
                      <a:pt x="174" y="33"/>
                    </a:lnTo>
                    <a:lnTo>
                      <a:pt x="161" y="36"/>
                    </a:lnTo>
                    <a:lnTo>
                      <a:pt x="146" y="39"/>
                    </a:lnTo>
                    <a:lnTo>
                      <a:pt x="132" y="41"/>
                    </a:lnTo>
                    <a:lnTo>
                      <a:pt x="115" y="41"/>
                    </a:lnTo>
                    <a:lnTo>
                      <a:pt x="99" y="41"/>
                    </a:lnTo>
                    <a:lnTo>
                      <a:pt x="82" y="40"/>
                    </a:lnTo>
                    <a:lnTo>
                      <a:pt x="65" y="37"/>
                    </a:lnTo>
                    <a:lnTo>
                      <a:pt x="50" y="32"/>
                    </a:lnTo>
                    <a:lnTo>
                      <a:pt x="33" y="27"/>
                    </a:lnTo>
                    <a:lnTo>
                      <a:pt x="16" y="19"/>
                    </a:lnTo>
                    <a:lnTo>
                      <a:pt x="0" y="9"/>
                    </a:lnTo>
                    <a:lnTo>
                      <a:pt x="13" y="0"/>
                    </a:lnTo>
                    <a:close/>
                  </a:path>
                </a:pathLst>
              </a:custGeom>
              <a:solidFill>
                <a:srgbClr val="FFFFFF">
                  <a:alpha val="9019"/>
                </a:srgbClr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>
                  <a:solidFill>
                    <a:sysClr val="windowText" lastClr="000000"/>
                  </a:solidFill>
                  <a:latin typeface="+mn-lt"/>
                  <a:cs typeface="+mn-cs"/>
                </a:endParaRPr>
              </a:p>
            </p:txBody>
          </p:sp>
        </p:grpSp>
        <p:grpSp>
          <p:nvGrpSpPr>
            <p:cNvPr id="120" name="Gruppe 58"/>
            <p:cNvGrpSpPr>
              <a:grpSpLocks/>
            </p:cNvGrpSpPr>
            <p:nvPr/>
          </p:nvGrpSpPr>
          <p:grpSpPr bwMode="auto">
            <a:xfrm flipH="1">
              <a:off x="4549775" y="4213225"/>
              <a:ext cx="790575" cy="1514475"/>
              <a:chOff x="-7886" y="3498389"/>
              <a:chExt cx="1257247" cy="2407111"/>
            </a:xfrm>
          </p:grpSpPr>
          <p:sp>
            <p:nvSpPr>
              <p:cNvPr id="319" name="Ellipse 420"/>
              <p:cNvSpPr/>
              <p:nvPr/>
            </p:nvSpPr>
            <p:spPr bwMode="auto">
              <a:xfrm>
                <a:off x="152400" y="5597629"/>
                <a:ext cx="1096961" cy="307871"/>
              </a:xfrm>
              <a:prstGeom prst="ellipse">
                <a:avLst/>
              </a:prstGeom>
              <a:gradFill flip="none" rotWithShape="1">
                <a:gsLst>
                  <a:gs pos="24000">
                    <a:sysClr val="windowText" lastClr="000000">
                      <a:alpha val="42000"/>
                    </a:sysClr>
                  </a:gs>
                  <a:gs pos="100000">
                    <a:sysClr val="window" lastClr="FFFFFF">
                      <a:alpha val="0"/>
                    </a:sysClr>
                  </a:gs>
                </a:gsLst>
                <a:path path="shape">
                  <a:fillToRect l="50000" t="50000" r="50000" b="50000"/>
                </a:path>
                <a:tileRect/>
              </a:gradFill>
              <a:ln w="9525" cap="flat" cmpd="sng" algn="ctr">
                <a:noFill/>
                <a:prstDash val="solid"/>
              </a:ln>
              <a:effectLst/>
            </p:spPr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 dirty="0" err="1">
                  <a:solidFill>
                    <a:sysClr val="window" lastClr="FFFFFF"/>
                  </a:solidFill>
                  <a:latin typeface="Calibri"/>
                  <a:ea typeface="ＭＳ Ｐゴシック" pitchFamily="-97" charset="-128"/>
                  <a:cs typeface="+mn-cs"/>
                </a:endParaRPr>
              </a:p>
            </p:txBody>
          </p:sp>
          <p:grpSp>
            <p:nvGrpSpPr>
              <p:cNvPr id="320" name="Gruppe 822"/>
              <p:cNvGrpSpPr>
                <a:grpSpLocks/>
              </p:cNvGrpSpPr>
              <p:nvPr/>
            </p:nvGrpSpPr>
            <p:grpSpPr bwMode="auto">
              <a:xfrm>
                <a:off x="-7886" y="3498389"/>
                <a:ext cx="1016427" cy="2361694"/>
                <a:chOff x="-7886" y="3498389"/>
                <a:chExt cx="1016427" cy="2361694"/>
              </a:xfrm>
            </p:grpSpPr>
            <p:grpSp>
              <p:nvGrpSpPr>
                <p:cNvPr id="321" name="Gruppe 604"/>
                <p:cNvGrpSpPr>
                  <a:grpSpLocks/>
                </p:cNvGrpSpPr>
                <p:nvPr/>
              </p:nvGrpSpPr>
              <p:grpSpPr bwMode="auto">
                <a:xfrm>
                  <a:off x="-7886" y="3498389"/>
                  <a:ext cx="971967" cy="2361694"/>
                  <a:chOff x="-7886" y="3498389"/>
                  <a:chExt cx="971967" cy="2361694"/>
                </a:xfrm>
              </p:grpSpPr>
              <p:sp>
                <p:nvSpPr>
                  <p:cNvPr id="327" name="Freeform 130"/>
                  <p:cNvSpPr>
                    <a:spLocks/>
                  </p:cNvSpPr>
                  <p:nvPr/>
                </p:nvSpPr>
                <p:spPr bwMode="auto">
                  <a:xfrm>
                    <a:off x="-4864" y="3493211"/>
                    <a:ext cx="975453" cy="2365419"/>
                  </a:xfrm>
                  <a:custGeom>
                    <a:avLst/>
                    <a:gdLst/>
                    <a:ahLst/>
                    <a:cxnLst>
                      <a:cxn ang="0">
                        <a:pos x="145" y="87"/>
                      </a:cxn>
                      <a:cxn ang="0">
                        <a:pos x="99" y="110"/>
                      </a:cxn>
                      <a:cxn ang="0">
                        <a:pos x="93" y="162"/>
                      </a:cxn>
                      <a:cxn ang="0">
                        <a:pos x="158" y="272"/>
                      </a:cxn>
                      <a:cxn ang="0">
                        <a:pos x="138" y="326"/>
                      </a:cxn>
                      <a:cxn ang="0">
                        <a:pos x="89" y="375"/>
                      </a:cxn>
                      <a:cxn ang="0">
                        <a:pos x="70" y="414"/>
                      </a:cxn>
                      <a:cxn ang="0">
                        <a:pos x="94" y="449"/>
                      </a:cxn>
                      <a:cxn ang="0">
                        <a:pos x="168" y="522"/>
                      </a:cxn>
                      <a:cxn ang="0">
                        <a:pos x="150" y="638"/>
                      </a:cxn>
                      <a:cxn ang="0">
                        <a:pos x="115" y="750"/>
                      </a:cxn>
                      <a:cxn ang="0">
                        <a:pos x="70" y="804"/>
                      </a:cxn>
                      <a:cxn ang="0">
                        <a:pos x="53" y="835"/>
                      </a:cxn>
                      <a:cxn ang="0">
                        <a:pos x="75" y="868"/>
                      </a:cxn>
                      <a:cxn ang="0">
                        <a:pos x="34" y="905"/>
                      </a:cxn>
                      <a:cxn ang="0">
                        <a:pos x="8" y="942"/>
                      </a:cxn>
                      <a:cxn ang="0">
                        <a:pos x="15" y="999"/>
                      </a:cxn>
                      <a:cxn ang="0">
                        <a:pos x="0" y="1121"/>
                      </a:cxn>
                      <a:cxn ang="0">
                        <a:pos x="69" y="1163"/>
                      </a:cxn>
                      <a:cxn ang="0">
                        <a:pos x="171" y="1189"/>
                      </a:cxn>
                      <a:cxn ang="0">
                        <a:pos x="285" y="1193"/>
                      </a:cxn>
                      <a:cxn ang="0">
                        <a:pos x="393" y="1175"/>
                      </a:cxn>
                      <a:cxn ang="0">
                        <a:pos x="474" y="1129"/>
                      </a:cxn>
                      <a:cxn ang="0">
                        <a:pos x="484" y="1032"/>
                      </a:cxn>
                      <a:cxn ang="0">
                        <a:pos x="489" y="965"/>
                      </a:cxn>
                      <a:cxn ang="0">
                        <a:pos x="470" y="921"/>
                      </a:cxn>
                      <a:cxn ang="0">
                        <a:pos x="441" y="870"/>
                      </a:cxn>
                      <a:cxn ang="0">
                        <a:pos x="449" y="832"/>
                      </a:cxn>
                      <a:cxn ang="0">
                        <a:pos x="425" y="805"/>
                      </a:cxn>
                      <a:cxn ang="0">
                        <a:pos x="373" y="713"/>
                      </a:cxn>
                      <a:cxn ang="0">
                        <a:pos x="349" y="609"/>
                      </a:cxn>
                      <a:cxn ang="0">
                        <a:pos x="344" y="485"/>
                      </a:cxn>
                      <a:cxn ang="0">
                        <a:pos x="417" y="446"/>
                      </a:cxn>
                      <a:cxn ang="0">
                        <a:pos x="436" y="411"/>
                      </a:cxn>
                      <a:cxn ang="0">
                        <a:pos x="414" y="374"/>
                      </a:cxn>
                      <a:cxn ang="0">
                        <a:pos x="379" y="343"/>
                      </a:cxn>
                      <a:cxn ang="0">
                        <a:pos x="393" y="306"/>
                      </a:cxn>
                      <a:cxn ang="0">
                        <a:pos x="376" y="273"/>
                      </a:cxn>
                      <a:cxn ang="0">
                        <a:pos x="409" y="192"/>
                      </a:cxn>
                      <a:cxn ang="0">
                        <a:pos x="432" y="139"/>
                      </a:cxn>
                      <a:cxn ang="0">
                        <a:pos x="416" y="110"/>
                      </a:cxn>
                      <a:cxn ang="0">
                        <a:pos x="349" y="77"/>
                      </a:cxn>
                      <a:cxn ang="0">
                        <a:pos x="322" y="42"/>
                      </a:cxn>
                      <a:cxn ang="0">
                        <a:pos x="309" y="16"/>
                      </a:cxn>
                      <a:cxn ang="0">
                        <a:pos x="281" y="2"/>
                      </a:cxn>
                      <a:cxn ang="0">
                        <a:pos x="243" y="3"/>
                      </a:cxn>
                      <a:cxn ang="0">
                        <a:pos x="215" y="27"/>
                      </a:cxn>
                    </a:cxnLst>
                    <a:rect l="0" t="0" r="r" b="b"/>
                    <a:pathLst>
                      <a:path w="493" h="1194">
                        <a:moveTo>
                          <a:pt x="208" y="62"/>
                        </a:moveTo>
                        <a:lnTo>
                          <a:pt x="167" y="83"/>
                        </a:lnTo>
                        <a:lnTo>
                          <a:pt x="145" y="87"/>
                        </a:lnTo>
                        <a:lnTo>
                          <a:pt x="125" y="93"/>
                        </a:lnTo>
                        <a:lnTo>
                          <a:pt x="110" y="100"/>
                        </a:lnTo>
                        <a:lnTo>
                          <a:pt x="99" y="110"/>
                        </a:lnTo>
                        <a:lnTo>
                          <a:pt x="92" y="124"/>
                        </a:lnTo>
                        <a:lnTo>
                          <a:pt x="90" y="141"/>
                        </a:lnTo>
                        <a:lnTo>
                          <a:pt x="93" y="162"/>
                        </a:lnTo>
                        <a:lnTo>
                          <a:pt x="104" y="187"/>
                        </a:lnTo>
                        <a:lnTo>
                          <a:pt x="158" y="242"/>
                        </a:lnTo>
                        <a:lnTo>
                          <a:pt x="158" y="272"/>
                        </a:lnTo>
                        <a:lnTo>
                          <a:pt x="140" y="282"/>
                        </a:lnTo>
                        <a:lnTo>
                          <a:pt x="135" y="302"/>
                        </a:lnTo>
                        <a:lnTo>
                          <a:pt x="138" y="326"/>
                        </a:lnTo>
                        <a:lnTo>
                          <a:pt x="147" y="346"/>
                        </a:lnTo>
                        <a:lnTo>
                          <a:pt x="104" y="360"/>
                        </a:lnTo>
                        <a:lnTo>
                          <a:pt x="89" y="375"/>
                        </a:lnTo>
                        <a:lnTo>
                          <a:pt x="77" y="389"/>
                        </a:lnTo>
                        <a:lnTo>
                          <a:pt x="71" y="402"/>
                        </a:lnTo>
                        <a:lnTo>
                          <a:pt x="70" y="414"/>
                        </a:lnTo>
                        <a:lnTo>
                          <a:pt x="74" y="426"/>
                        </a:lnTo>
                        <a:lnTo>
                          <a:pt x="82" y="437"/>
                        </a:lnTo>
                        <a:lnTo>
                          <a:pt x="94" y="449"/>
                        </a:lnTo>
                        <a:lnTo>
                          <a:pt x="113" y="459"/>
                        </a:lnTo>
                        <a:lnTo>
                          <a:pt x="173" y="480"/>
                        </a:lnTo>
                        <a:lnTo>
                          <a:pt x="168" y="522"/>
                        </a:lnTo>
                        <a:lnTo>
                          <a:pt x="162" y="562"/>
                        </a:lnTo>
                        <a:lnTo>
                          <a:pt x="156" y="601"/>
                        </a:lnTo>
                        <a:lnTo>
                          <a:pt x="150" y="638"/>
                        </a:lnTo>
                        <a:lnTo>
                          <a:pt x="140" y="676"/>
                        </a:lnTo>
                        <a:lnTo>
                          <a:pt x="129" y="713"/>
                        </a:lnTo>
                        <a:lnTo>
                          <a:pt x="115" y="750"/>
                        </a:lnTo>
                        <a:lnTo>
                          <a:pt x="98" y="789"/>
                        </a:lnTo>
                        <a:lnTo>
                          <a:pt x="83" y="796"/>
                        </a:lnTo>
                        <a:lnTo>
                          <a:pt x="70" y="804"/>
                        </a:lnTo>
                        <a:lnTo>
                          <a:pt x="61" y="814"/>
                        </a:lnTo>
                        <a:lnTo>
                          <a:pt x="55" y="823"/>
                        </a:lnTo>
                        <a:lnTo>
                          <a:pt x="53" y="835"/>
                        </a:lnTo>
                        <a:lnTo>
                          <a:pt x="55" y="845"/>
                        </a:lnTo>
                        <a:lnTo>
                          <a:pt x="62" y="857"/>
                        </a:lnTo>
                        <a:lnTo>
                          <a:pt x="75" y="868"/>
                        </a:lnTo>
                        <a:lnTo>
                          <a:pt x="78" y="889"/>
                        </a:lnTo>
                        <a:lnTo>
                          <a:pt x="53" y="896"/>
                        </a:lnTo>
                        <a:lnTo>
                          <a:pt x="34" y="905"/>
                        </a:lnTo>
                        <a:lnTo>
                          <a:pt x="21" y="916"/>
                        </a:lnTo>
                        <a:lnTo>
                          <a:pt x="13" y="928"/>
                        </a:lnTo>
                        <a:lnTo>
                          <a:pt x="8" y="942"/>
                        </a:lnTo>
                        <a:lnTo>
                          <a:pt x="8" y="959"/>
                        </a:lnTo>
                        <a:lnTo>
                          <a:pt x="10" y="978"/>
                        </a:lnTo>
                        <a:lnTo>
                          <a:pt x="15" y="999"/>
                        </a:lnTo>
                        <a:lnTo>
                          <a:pt x="19" y="1032"/>
                        </a:lnTo>
                        <a:lnTo>
                          <a:pt x="0" y="1057"/>
                        </a:lnTo>
                        <a:lnTo>
                          <a:pt x="0" y="1121"/>
                        </a:lnTo>
                        <a:lnTo>
                          <a:pt x="18" y="1137"/>
                        </a:lnTo>
                        <a:lnTo>
                          <a:pt x="41" y="1151"/>
                        </a:lnTo>
                        <a:lnTo>
                          <a:pt x="69" y="1163"/>
                        </a:lnTo>
                        <a:lnTo>
                          <a:pt x="101" y="1174"/>
                        </a:lnTo>
                        <a:lnTo>
                          <a:pt x="135" y="1182"/>
                        </a:lnTo>
                        <a:lnTo>
                          <a:pt x="171" y="1189"/>
                        </a:lnTo>
                        <a:lnTo>
                          <a:pt x="208" y="1192"/>
                        </a:lnTo>
                        <a:lnTo>
                          <a:pt x="246" y="1194"/>
                        </a:lnTo>
                        <a:lnTo>
                          <a:pt x="285" y="1193"/>
                        </a:lnTo>
                        <a:lnTo>
                          <a:pt x="322" y="1190"/>
                        </a:lnTo>
                        <a:lnTo>
                          <a:pt x="359" y="1184"/>
                        </a:lnTo>
                        <a:lnTo>
                          <a:pt x="393" y="1175"/>
                        </a:lnTo>
                        <a:lnTo>
                          <a:pt x="424" y="1162"/>
                        </a:lnTo>
                        <a:lnTo>
                          <a:pt x="451" y="1147"/>
                        </a:lnTo>
                        <a:lnTo>
                          <a:pt x="474" y="1129"/>
                        </a:lnTo>
                        <a:lnTo>
                          <a:pt x="493" y="1107"/>
                        </a:lnTo>
                        <a:lnTo>
                          <a:pt x="493" y="1069"/>
                        </a:lnTo>
                        <a:lnTo>
                          <a:pt x="484" y="1032"/>
                        </a:lnTo>
                        <a:lnTo>
                          <a:pt x="487" y="1005"/>
                        </a:lnTo>
                        <a:lnTo>
                          <a:pt x="489" y="984"/>
                        </a:lnTo>
                        <a:lnTo>
                          <a:pt x="489" y="965"/>
                        </a:lnTo>
                        <a:lnTo>
                          <a:pt x="486" y="950"/>
                        </a:lnTo>
                        <a:lnTo>
                          <a:pt x="480" y="936"/>
                        </a:lnTo>
                        <a:lnTo>
                          <a:pt x="470" y="921"/>
                        </a:lnTo>
                        <a:lnTo>
                          <a:pt x="454" y="906"/>
                        </a:lnTo>
                        <a:lnTo>
                          <a:pt x="433" y="888"/>
                        </a:lnTo>
                        <a:lnTo>
                          <a:pt x="441" y="870"/>
                        </a:lnTo>
                        <a:lnTo>
                          <a:pt x="446" y="855"/>
                        </a:lnTo>
                        <a:lnTo>
                          <a:pt x="449" y="842"/>
                        </a:lnTo>
                        <a:lnTo>
                          <a:pt x="449" y="832"/>
                        </a:lnTo>
                        <a:lnTo>
                          <a:pt x="444" y="823"/>
                        </a:lnTo>
                        <a:lnTo>
                          <a:pt x="438" y="814"/>
                        </a:lnTo>
                        <a:lnTo>
                          <a:pt x="425" y="805"/>
                        </a:lnTo>
                        <a:lnTo>
                          <a:pt x="409" y="793"/>
                        </a:lnTo>
                        <a:lnTo>
                          <a:pt x="389" y="751"/>
                        </a:lnTo>
                        <a:lnTo>
                          <a:pt x="373" y="713"/>
                        </a:lnTo>
                        <a:lnTo>
                          <a:pt x="362" y="677"/>
                        </a:lnTo>
                        <a:lnTo>
                          <a:pt x="355" y="644"/>
                        </a:lnTo>
                        <a:lnTo>
                          <a:pt x="349" y="609"/>
                        </a:lnTo>
                        <a:lnTo>
                          <a:pt x="345" y="572"/>
                        </a:lnTo>
                        <a:lnTo>
                          <a:pt x="344" y="531"/>
                        </a:lnTo>
                        <a:lnTo>
                          <a:pt x="344" y="485"/>
                        </a:lnTo>
                        <a:lnTo>
                          <a:pt x="379" y="471"/>
                        </a:lnTo>
                        <a:lnTo>
                          <a:pt x="404" y="455"/>
                        </a:lnTo>
                        <a:lnTo>
                          <a:pt x="417" y="446"/>
                        </a:lnTo>
                        <a:lnTo>
                          <a:pt x="426" y="435"/>
                        </a:lnTo>
                        <a:lnTo>
                          <a:pt x="433" y="423"/>
                        </a:lnTo>
                        <a:lnTo>
                          <a:pt x="436" y="411"/>
                        </a:lnTo>
                        <a:lnTo>
                          <a:pt x="434" y="398"/>
                        </a:lnTo>
                        <a:lnTo>
                          <a:pt x="427" y="386"/>
                        </a:lnTo>
                        <a:lnTo>
                          <a:pt x="414" y="374"/>
                        </a:lnTo>
                        <a:lnTo>
                          <a:pt x="394" y="364"/>
                        </a:lnTo>
                        <a:lnTo>
                          <a:pt x="368" y="356"/>
                        </a:lnTo>
                        <a:lnTo>
                          <a:pt x="379" y="343"/>
                        </a:lnTo>
                        <a:lnTo>
                          <a:pt x="386" y="330"/>
                        </a:lnTo>
                        <a:lnTo>
                          <a:pt x="390" y="318"/>
                        </a:lnTo>
                        <a:lnTo>
                          <a:pt x="393" y="306"/>
                        </a:lnTo>
                        <a:lnTo>
                          <a:pt x="390" y="295"/>
                        </a:lnTo>
                        <a:lnTo>
                          <a:pt x="386" y="283"/>
                        </a:lnTo>
                        <a:lnTo>
                          <a:pt x="376" y="273"/>
                        </a:lnTo>
                        <a:lnTo>
                          <a:pt x="364" y="261"/>
                        </a:lnTo>
                        <a:lnTo>
                          <a:pt x="389" y="227"/>
                        </a:lnTo>
                        <a:lnTo>
                          <a:pt x="409" y="192"/>
                        </a:lnTo>
                        <a:lnTo>
                          <a:pt x="420" y="170"/>
                        </a:lnTo>
                        <a:lnTo>
                          <a:pt x="428" y="153"/>
                        </a:lnTo>
                        <a:lnTo>
                          <a:pt x="432" y="139"/>
                        </a:lnTo>
                        <a:lnTo>
                          <a:pt x="432" y="128"/>
                        </a:lnTo>
                        <a:lnTo>
                          <a:pt x="426" y="118"/>
                        </a:lnTo>
                        <a:lnTo>
                          <a:pt x="416" y="110"/>
                        </a:lnTo>
                        <a:lnTo>
                          <a:pt x="400" y="102"/>
                        </a:lnTo>
                        <a:lnTo>
                          <a:pt x="378" y="92"/>
                        </a:lnTo>
                        <a:lnTo>
                          <a:pt x="349" y="77"/>
                        </a:lnTo>
                        <a:lnTo>
                          <a:pt x="320" y="68"/>
                        </a:lnTo>
                        <a:lnTo>
                          <a:pt x="322" y="54"/>
                        </a:lnTo>
                        <a:lnTo>
                          <a:pt x="322" y="42"/>
                        </a:lnTo>
                        <a:lnTo>
                          <a:pt x="320" y="32"/>
                        </a:lnTo>
                        <a:lnTo>
                          <a:pt x="315" y="23"/>
                        </a:lnTo>
                        <a:lnTo>
                          <a:pt x="309" y="16"/>
                        </a:lnTo>
                        <a:lnTo>
                          <a:pt x="300" y="10"/>
                        </a:lnTo>
                        <a:lnTo>
                          <a:pt x="291" y="5"/>
                        </a:lnTo>
                        <a:lnTo>
                          <a:pt x="281" y="2"/>
                        </a:lnTo>
                        <a:lnTo>
                          <a:pt x="268" y="0"/>
                        </a:lnTo>
                        <a:lnTo>
                          <a:pt x="256" y="1"/>
                        </a:lnTo>
                        <a:lnTo>
                          <a:pt x="243" y="3"/>
                        </a:lnTo>
                        <a:lnTo>
                          <a:pt x="233" y="8"/>
                        </a:lnTo>
                        <a:lnTo>
                          <a:pt x="222" y="16"/>
                        </a:lnTo>
                        <a:lnTo>
                          <a:pt x="215" y="27"/>
                        </a:lnTo>
                        <a:lnTo>
                          <a:pt x="211" y="42"/>
                        </a:lnTo>
                        <a:lnTo>
                          <a:pt x="208" y="62"/>
                        </a:lnTo>
                        <a:close/>
                      </a:path>
                    </a:pathLst>
                  </a:custGeom>
                  <a:gradFill flip="none" rotWithShape="1">
                    <a:gsLst>
                      <a:gs pos="100000">
                        <a:srgbClr val="E6E6E6"/>
                      </a:gs>
                      <a:gs pos="69000">
                        <a:srgbClr val="E6E6E6">
                          <a:lumMod val="90000"/>
                        </a:srgbClr>
                      </a:gs>
                      <a:gs pos="0">
                        <a:srgbClr val="E6E6E6">
                          <a:lumMod val="75000"/>
                        </a:srgbClr>
                      </a:gs>
                    </a:gsLst>
                    <a:lin ang="0" scaled="1"/>
                    <a:tileRect/>
                  </a:gradFill>
                  <a:ln w="9525" cap="flat" cmpd="sng" algn="ctr">
                    <a:noFill/>
                    <a:prstDash val="solid"/>
                  </a:ln>
                  <a:effectLst>
                    <a:outerShdw blurRad="40000" dist="23000" dir="5400000" rotWithShape="0">
                      <a:srgbClr val="000000">
                        <a:alpha val="35000"/>
                      </a:srgbClr>
                    </a:outerShdw>
                  </a:effectLst>
                </p:spPr>
                <p:txBody>
                  <a:bodyPr anchor="ctr"/>
                  <a:lstStyle/>
                  <a:p>
                    <a:pPr algn="ctr"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da-DK" kern="0">
                      <a:solidFill>
                        <a:sysClr val="window" lastClr="FFFFFF"/>
                      </a:solidFill>
                      <a:latin typeface="Calibri"/>
                      <a:cs typeface="+mn-cs"/>
                    </a:endParaRPr>
                  </a:p>
                </p:txBody>
              </p:sp>
              <p:sp>
                <p:nvSpPr>
                  <p:cNvPr id="328" name="Freeform 131"/>
                  <p:cNvSpPr>
                    <a:spLocks/>
                  </p:cNvSpPr>
                  <p:nvPr/>
                </p:nvSpPr>
                <p:spPr bwMode="auto">
                  <a:xfrm>
                    <a:off x="353468" y="3628925"/>
                    <a:ext cx="358332" cy="116332"/>
                  </a:xfrm>
                  <a:custGeom>
                    <a:avLst/>
                    <a:gdLst>
                      <a:gd name="T0" fmla="*/ 13 w 185"/>
                      <a:gd name="T1" fmla="*/ 8 h 58"/>
                      <a:gd name="T2" fmla="*/ 0 w 185"/>
                      <a:gd name="T3" fmla="*/ 22 h 58"/>
                      <a:gd name="T4" fmla="*/ 8 w 185"/>
                      <a:gd name="T5" fmla="*/ 43 h 58"/>
                      <a:gd name="T6" fmla="*/ 28 w 185"/>
                      <a:gd name="T7" fmla="*/ 49 h 58"/>
                      <a:gd name="T8" fmla="*/ 53 w 185"/>
                      <a:gd name="T9" fmla="*/ 54 h 58"/>
                      <a:gd name="T10" fmla="*/ 81 w 185"/>
                      <a:gd name="T11" fmla="*/ 58 h 58"/>
                      <a:gd name="T12" fmla="*/ 108 w 185"/>
                      <a:gd name="T13" fmla="*/ 56 h 58"/>
                      <a:gd name="T14" fmla="*/ 135 w 185"/>
                      <a:gd name="T15" fmla="*/ 53 h 58"/>
                      <a:gd name="T16" fmla="*/ 159 w 185"/>
                      <a:gd name="T17" fmla="*/ 46 h 58"/>
                      <a:gd name="T18" fmla="*/ 176 w 185"/>
                      <a:gd name="T19" fmla="*/ 33 h 58"/>
                      <a:gd name="T20" fmla="*/ 185 w 185"/>
                      <a:gd name="T21" fmla="*/ 16 h 58"/>
                      <a:gd name="T22" fmla="*/ 160 w 185"/>
                      <a:gd name="T23" fmla="*/ 6 h 58"/>
                      <a:gd name="T24" fmla="*/ 144 w 185"/>
                      <a:gd name="T25" fmla="*/ 0 h 58"/>
                      <a:gd name="T26" fmla="*/ 139 w 185"/>
                      <a:gd name="T27" fmla="*/ 15 h 58"/>
                      <a:gd name="T28" fmla="*/ 127 w 185"/>
                      <a:gd name="T29" fmla="*/ 24 h 58"/>
                      <a:gd name="T30" fmla="*/ 109 w 185"/>
                      <a:gd name="T31" fmla="*/ 29 h 58"/>
                      <a:gd name="T32" fmla="*/ 89 w 185"/>
                      <a:gd name="T33" fmla="*/ 29 h 58"/>
                      <a:gd name="T34" fmla="*/ 68 w 185"/>
                      <a:gd name="T35" fmla="*/ 25 h 58"/>
                      <a:gd name="T36" fmla="*/ 51 w 185"/>
                      <a:gd name="T37" fmla="*/ 20 h 58"/>
                      <a:gd name="T38" fmla="*/ 38 w 185"/>
                      <a:gd name="T39" fmla="*/ 11 h 58"/>
                      <a:gd name="T40" fmla="*/ 33 w 185"/>
                      <a:gd name="T41" fmla="*/ 1 h 58"/>
                      <a:gd name="T42" fmla="*/ 13 w 185"/>
                      <a:gd name="T43" fmla="*/ 8 h 58"/>
                      <a:gd name="T44" fmla="*/ 0 60000 65536"/>
                      <a:gd name="T45" fmla="*/ 0 60000 65536"/>
                      <a:gd name="T46" fmla="*/ 0 60000 65536"/>
                      <a:gd name="T47" fmla="*/ 0 60000 65536"/>
                      <a:gd name="T48" fmla="*/ 0 60000 65536"/>
                      <a:gd name="T49" fmla="*/ 0 60000 65536"/>
                      <a:gd name="T50" fmla="*/ 0 60000 65536"/>
                      <a:gd name="T51" fmla="*/ 0 60000 65536"/>
                      <a:gd name="T52" fmla="*/ 0 60000 65536"/>
                      <a:gd name="T53" fmla="*/ 0 60000 65536"/>
                      <a:gd name="T54" fmla="*/ 0 60000 65536"/>
                      <a:gd name="T55" fmla="*/ 0 60000 65536"/>
                      <a:gd name="T56" fmla="*/ 0 60000 65536"/>
                      <a:gd name="T57" fmla="*/ 0 60000 65536"/>
                      <a:gd name="T58" fmla="*/ 0 60000 65536"/>
                      <a:gd name="T59" fmla="*/ 0 60000 65536"/>
                      <a:gd name="T60" fmla="*/ 0 60000 65536"/>
                      <a:gd name="T61" fmla="*/ 0 60000 65536"/>
                      <a:gd name="T62" fmla="*/ 0 60000 65536"/>
                      <a:gd name="T63" fmla="*/ 0 60000 65536"/>
                      <a:gd name="T64" fmla="*/ 0 60000 65536"/>
                      <a:gd name="T65" fmla="*/ 0 60000 65536"/>
                      <a:gd name="T66" fmla="*/ 0 w 185"/>
                      <a:gd name="T67" fmla="*/ 0 h 58"/>
                      <a:gd name="T68" fmla="*/ 185 w 185"/>
                      <a:gd name="T69" fmla="*/ 58 h 58"/>
                    </a:gdLst>
                    <a:ahLst/>
                    <a:cxnLst>
                      <a:cxn ang="T44">
                        <a:pos x="T0" y="T1"/>
                      </a:cxn>
                      <a:cxn ang="T45">
                        <a:pos x="T2" y="T3"/>
                      </a:cxn>
                      <a:cxn ang="T46">
                        <a:pos x="T4" y="T5"/>
                      </a:cxn>
                      <a:cxn ang="T47">
                        <a:pos x="T6" y="T7"/>
                      </a:cxn>
                      <a:cxn ang="T48">
                        <a:pos x="T8" y="T9"/>
                      </a:cxn>
                      <a:cxn ang="T49">
                        <a:pos x="T10" y="T11"/>
                      </a:cxn>
                      <a:cxn ang="T50">
                        <a:pos x="T12" y="T13"/>
                      </a:cxn>
                      <a:cxn ang="T51">
                        <a:pos x="T14" y="T15"/>
                      </a:cxn>
                      <a:cxn ang="T52">
                        <a:pos x="T16" y="T17"/>
                      </a:cxn>
                      <a:cxn ang="T53">
                        <a:pos x="T18" y="T19"/>
                      </a:cxn>
                      <a:cxn ang="T54">
                        <a:pos x="T20" y="T21"/>
                      </a:cxn>
                      <a:cxn ang="T55">
                        <a:pos x="T22" y="T23"/>
                      </a:cxn>
                      <a:cxn ang="T56">
                        <a:pos x="T24" y="T25"/>
                      </a:cxn>
                      <a:cxn ang="T57">
                        <a:pos x="T26" y="T27"/>
                      </a:cxn>
                      <a:cxn ang="T58">
                        <a:pos x="T28" y="T29"/>
                      </a:cxn>
                      <a:cxn ang="T59">
                        <a:pos x="T30" y="T31"/>
                      </a:cxn>
                      <a:cxn ang="T60">
                        <a:pos x="T32" y="T33"/>
                      </a:cxn>
                      <a:cxn ang="T61">
                        <a:pos x="T34" y="T35"/>
                      </a:cxn>
                      <a:cxn ang="T62">
                        <a:pos x="T36" y="T37"/>
                      </a:cxn>
                      <a:cxn ang="T63">
                        <a:pos x="T38" y="T39"/>
                      </a:cxn>
                      <a:cxn ang="T64">
                        <a:pos x="T40" y="T41"/>
                      </a:cxn>
                      <a:cxn ang="T65">
                        <a:pos x="T42" y="T43"/>
                      </a:cxn>
                    </a:cxnLst>
                    <a:rect l="T66" t="T67" r="T68" b="T69"/>
                    <a:pathLst>
                      <a:path w="185" h="58">
                        <a:moveTo>
                          <a:pt x="13" y="8"/>
                        </a:moveTo>
                        <a:lnTo>
                          <a:pt x="0" y="22"/>
                        </a:lnTo>
                        <a:lnTo>
                          <a:pt x="8" y="43"/>
                        </a:lnTo>
                        <a:lnTo>
                          <a:pt x="28" y="49"/>
                        </a:lnTo>
                        <a:lnTo>
                          <a:pt x="53" y="54"/>
                        </a:lnTo>
                        <a:lnTo>
                          <a:pt x="81" y="58"/>
                        </a:lnTo>
                        <a:lnTo>
                          <a:pt x="108" y="56"/>
                        </a:lnTo>
                        <a:lnTo>
                          <a:pt x="135" y="53"/>
                        </a:lnTo>
                        <a:lnTo>
                          <a:pt x="159" y="46"/>
                        </a:lnTo>
                        <a:lnTo>
                          <a:pt x="176" y="33"/>
                        </a:lnTo>
                        <a:lnTo>
                          <a:pt x="185" y="16"/>
                        </a:lnTo>
                        <a:lnTo>
                          <a:pt x="160" y="6"/>
                        </a:lnTo>
                        <a:lnTo>
                          <a:pt x="144" y="0"/>
                        </a:lnTo>
                        <a:lnTo>
                          <a:pt x="139" y="15"/>
                        </a:lnTo>
                        <a:lnTo>
                          <a:pt x="127" y="24"/>
                        </a:lnTo>
                        <a:lnTo>
                          <a:pt x="109" y="29"/>
                        </a:lnTo>
                        <a:lnTo>
                          <a:pt x="89" y="29"/>
                        </a:lnTo>
                        <a:lnTo>
                          <a:pt x="68" y="25"/>
                        </a:lnTo>
                        <a:lnTo>
                          <a:pt x="51" y="20"/>
                        </a:lnTo>
                        <a:lnTo>
                          <a:pt x="38" y="11"/>
                        </a:lnTo>
                        <a:lnTo>
                          <a:pt x="33" y="1"/>
                        </a:lnTo>
                        <a:lnTo>
                          <a:pt x="13" y="8"/>
                        </a:lnTo>
                        <a:close/>
                      </a:path>
                    </a:pathLst>
                  </a:custGeom>
                  <a:solidFill>
                    <a:srgbClr val="E6E6E6">
                      <a:alpha val="56078"/>
                    </a:srgbClr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da-DK" kern="0">
                      <a:solidFill>
                        <a:sysClr val="windowText" lastClr="000000"/>
                      </a:solidFill>
                      <a:latin typeface="+mn-lt"/>
                      <a:cs typeface="+mn-cs"/>
                    </a:endParaRPr>
                  </a:p>
                </p:txBody>
              </p:sp>
              <p:sp>
                <p:nvSpPr>
                  <p:cNvPr id="329" name="Freeform 132"/>
                  <p:cNvSpPr>
                    <a:spLocks/>
                  </p:cNvSpPr>
                  <p:nvPr/>
                </p:nvSpPr>
                <p:spPr bwMode="auto">
                  <a:xfrm>
                    <a:off x="174296" y="3687097"/>
                    <a:ext cx="637035" cy="213269"/>
                  </a:xfrm>
                  <a:custGeom>
                    <a:avLst/>
                    <a:gdLst>
                      <a:gd name="T0" fmla="*/ 32 w 329"/>
                      <a:gd name="T1" fmla="*/ 10 h 102"/>
                      <a:gd name="T2" fmla="*/ 1 w 329"/>
                      <a:gd name="T3" fmla="*/ 26 h 102"/>
                      <a:gd name="T4" fmla="*/ 0 w 329"/>
                      <a:gd name="T5" fmla="*/ 43 h 102"/>
                      <a:gd name="T6" fmla="*/ 3 w 329"/>
                      <a:gd name="T7" fmla="*/ 60 h 102"/>
                      <a:gd name="T8" fmla="*/ 14 w 329"/>
                      <a:gd name="T9" fmla="*/ 71 h 102"/>
                      <a:gd name="T10" fmla="*/ 27 w 329"/>
                      <a:gd name="T11" fmla="*/ 81 h 102"/>
                      <a:gd name="T12" fmla="*/ 46 w 329"/>
                      <a:gd name="T13" fmla="*/ 90 h 102"/>
                      <a:gd name="T14" fmla="*/ 67 w 329"/>
                      <a:gd name="T15" fmla="*/ 95 h 102"/>
                      <a:gd name="T16" fmla="*/ 91 w 329"/>
                      <a:gd name="T17" fmla="*/ 100 h 102"/>
                      <a:gd name="T18" fmla="*/ 117 w 329"/>
                      <a:gd name="T19" fmla="*/ 102 h 102"/>
                      <a:gd name="T20" fmla="*/ 144 w 329"/>
                      <a:gd name="T21" fmla="*/ 102 h 102"/>
                      <a:gd name="T22" fmla="*/ 171 w 329"/>
                      <a:gd name="T23" fmla="*/ 102 h 102"/>
                      <a:gd name="T24" fmla="*/ 199 w 329"/>
                      <a:gd name="T25" fmla="*/ 100 h 102"/>
                      <a:gd name="T26" fmla="*/ 225 w 329"/>
                      <a:gd name="T27" fmla="*/ 98 h 102"/>
                      <a:gd name="T28" fmla="*/ 251 w 329"/>
                      <a:gd name="T29" fmla="*/ 94 h 102"/>
                      <a:gd name="T30" fmla="*/ 273 w 329"/>
                      <a:gd name="T31" fmla="*/ 90 h 102"/>
                      <a:gd name="T32" fmla="*/ 292 w 329"/>
                      <a:gd name="T33" fmla="*/ 85 h 102"/>
                      <a:gd name="T34" fmla="*/ 308 w 329"/>
                      <a:gd name="T35" fmla="*/ 79 h 102"/>
                      <a:gd name="T36" fmla="*/ 319 w 329"/>
                      <a:gd name="T37" fmla="*/ 71 h 102"/>
                      <a:gd name="T38" fmla="*/ 326 w 329"/>
                      <a:gd name="T39" fmla="*/ 61 h 102"/>
                      <a:gd name="T40" fmla="*/ 329 w 329"/>
                      <a:gd name="T41" fmla="*/ 50 h 102"/>
                      <a:gd name="T42" fmla="*/ 329 w 329"/>
                      <a:gd name="T43" fmla="*/ 39 h 102"/>
                      <a:gd name="T44" fmla="*/ 325 w 329"/>
                      <a:gd name="T45" fmla="*/ 28 h 102"/>
                      <a:gd name="T46" fmla="*/ 316 w 329"/>
                      <a:gd name="T47" fmla="*/ 18 h 102"/>
                      <a:gd name="T48" fmla="*/ 303 w 329"/>
                      <a:gd name="T49" fmla="*/ 8 h 102"/>
                      <a:gd name="T50" fmla="*/ 285 w 329"/>
                      <a:gd name="T51" fmla="*/ 0 h 102"/>
                      <a:gd name="T52" fmla="*/ 269 w 329"/>
                      <a:gd name="T53" fmla="*/ 18 h 102"/>
                      <a:gd name="T54" fmla="*/ 252 w 329"/>
                      <a:gd name="T55" fmla="*/ 31 h 102"/>
                      <a:gd name="T56" fmla="*/ 234 w 329"/>
                      <a:gd name="T57" fmla="*/ 39 h 102"/>
                      <a:gd name="T58" fmla="*/ 215 w 329"/>
                      <a:gd name="T59" fmla="*/ 43 h 102"/>
                      <a:gd name="T60" fmla="*/ 194 w 329"/>
                      <a:gd name="T61" fmla="*/ 45 h 102"/>
                      <a:gd name="T62" fmla="*/ 173 w 329"/>
                      <a:gd name="T63" fmla="*/ 43 h 102"/>
                      <a:gd name="T64" fmla="*/ 148 w 329"/>
                      <a:gd name="T65" fmla="*/ 41 h 102"/>
                      <a:gd name="T66" fmla="*/ 122 w 329"/>
                      <a:gd name="T67" fmla="*/ 40 h 102"/>
                      <a:gd name="T68" fmla="*/ 67 w 329"/>
                      <a:gd name="T69" fmla="*/ 30 h 102"/>
                      <a:gd name="T70" fmla="*/ 49 w 329"/>
                      <a:gd name="T71" fmla="*/ 3 h 102"/>
                      <a:gd name="T72" fmla="*/ 32 w 329"/>
                      <a:gd name="T73" fmla="*/ 10 h 102"/>
                      <a:gd name="T74" fmla="*/ 0 60000 65536"/>
                      <a:gd name="T75" fmla="*/ 0 60000 65536"/>
                      <a:gd name="T76" fmla="*/ 0 60000 65536"/>
                      <a:gd name="T77" fmla="*/ 0 60000 65536"/>
                      <a:gd name="T78" fmla="*/ 0 60000 65536"/>
                      <a:gd name="T79" fmla="*/ 0 60000 65536"/>
                      <a:gd name="T80" fmla="*/ 0 60000 65536"/>
                      <a:gd name="T81" fmla="*/ 0 60000 65536"/>
                      <a:gd name="T82" fmla="*/ 0 60000 65536"/>
                      <a:gd name="T83" fmla="*/ 0 60000 65536"/>
                      <a:gd name="T84" fmla="*/ 0 60000 65536"/>
                      <a:gd name="T85" fmla="*/ 0 60000 655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w 329"/>
                      <a:gd name="T112" fmla="*/ 0 h 102"/>
                      <a:gd name="T113" fmla="*/ 329 w 329"/>
                      <a:gd name="T114" fmla="*/ 102 h 102"/>
                    </a:gdLst>
                    <a:ahLst/>
                    <a:cxnLst>
                      <a:cxn ang="T74">
                        <a:pos x="T0" y="T1"/>
                      </a:cxn>
                      <a:cxn ang="T75">
                        <a:pos x="T2" y="T3"/>
                      </a:cxn>
                      <a:cxn ang="T76">
                        <a:pos x="T4" y="T5"/>
                      </a:cxn>
                      <a:cxn ang="T77">
                        <a:pos x="T6" y="T7"/>
                      </a:cxn>
                      <a:cxn ang="T78">
                        <a:pos x="T8" y="T9"/>
                      </a:cxn>
                      <a:cxn ang="T79">
                        <a:pos x="T10" y="T11"/>
                      </a:cxn>
                      <a:cxn ang="T80">
                        <a:pos x="T12" y="T13"/>
                      </a:cxn>
                      <a:cxn ang="T81">
                        <a:pos x="T14" y="T15"/>
                      </a:cxn>
                      <a:cxn ang="T82">
                        <a:pos x="T16" y="T17"/>
                      </a:cxn>
                      <a:cxn ang="T83">
                        <a:pos x="T18" y="T19"/>
                      </a:cxn>
                      <a:cxn ang="T84">
                        <a:pos x="T20" y="T21"/>
                      </a:cxn>
                      <a:cxn ang="T85">
                        <a:pos x="T22" y="T23"/>
                      </a:cxn>
                      <a:cxn ang="T86">
                        <a:pos x="T24" y="T25"/>
                      </a:cxn>
                      <a:cxn ang="T87">
                        <a:pos x="T26" y="T27"/>
                      </a:cxn>
                      <a:cxn ang="T88">
                        <a:pos x="T28" y="T29"/>
                      </a:cxn>
                      <a:cxn ang="T89">
                        <a:pos x="T30" y="T31"/>
                      </a:cxn>
                      <a:cxn ang="T90">
                        <a:pos x="T32" y="T33"/>
                      </a:cxn>
                      <a:cxn ang="T91">
                        <a:pos x="T34" y="T35"/>
                      </a:cxn>
                      <a:cxn ang="T92">
                        <a:pos x="T36" y="T37"/>
                      </a:cxn>
                      <a:cxn ang="T93">
                        <a:pos x="T38" y="T39"/>
                      </a:cxn>
                      <a:cxn ang="T94">
                        <a:pos x="T40" y="T41"/>
                      </a:cxn>
                      <a:cxn ang="T95">
                        <a:pos x="T42" y="T43"/>
                      </a:cxn>
                      <a:cxn ang="T96">
                        <a:pos x="T44" y="T45"/>
                      </a:cxn>
                      <a:cxn ang="T97">
                        <a:pos x="T46" y="T47"/>
                      </a:cxn>
                      <a:cxn ang="T98">
                        <a:pos x="T48" y="T49"/>
                      </a:cxn>
                      <a:cxn ang="T99">
                        <a:pos x="T50" y="T51"/>
                      </a:cxn>
                      <a:cxn ang="T100">
                        <a:pos x="T52" y="T53"/>
                      </a:cxn>
                      <a:cxn ang="T101">
                        <a:pos x="T54" y="T55"/>
                      </a:cxn>
                      <a:cxn ang="T102">
                        <a:pos x="T56" y="T57"/>
                      </a:cxn>
                      <a:cxn ang="T103">
                        <a:pos x="T58" y="T59"/>
                      </a:cxn>
                      <a:cxn ang="T104">
                        <a:pos x="T60" y="T61"/>
                      </a:cxn>
                      <a:cxn ang="T105">
                        <a:pos x="T62" y="T63"/>
                      </a:cxn>
                      <a:cxn ang="T106">
                        <a:pos x="T64" y="T65"/>
                      </a:cxn>
                      <a:cxn ang="T107">
                        <a:pos x="T66" y="T67"/>
                      </a:cxn>
                      <a:cxn ang="T108">
                        <a:pos x="T68" y="T69"/>
                      </a:cxn>
                      <a:cxn ang="T109">
                        <a:pos x="T70" y="T71"/>
                      </a:cxn>
                      <a:cxn ang="T110">
                        <a:pos x="T72" y="T73"/>
                      </a:cxn>
                    </a:cxnLst>
                    <a:rect l="T111" t="T112" r="T113" b="T114"/>
                    <a:pathLst>
                      <a:path w="329" h="102">
                        <a:moveTo>
                          <a:pt x="32" y="10"/>
                        </a:moveTo>
                        <a:lnTo>
                          <a:pt x="1" y="26"/>
                        </a:lnTo>
                        <a:lnTo>
                          <a:pt x="0" y="43"/>
                        </a:lnTo>
                        <a:lnTo>
                          <a:pt x="3" y="60"/>
                        </a:lnTo>
                        <a:lnTo>
                          <a:pt x="14" y="71"/>
                        </a:lnTo>
                        <a:lnTo>
                          <a:pt x="27" y="81"/>
                        </a:lnTo>
                        <a:lnTo>
                          <a:pt x="46" y="90"/>
                        </a:lnTo>
                        <a:lnTo>
                          <a:pt x="67" y="95"/>
                        </a:lnTo>
                        <a:lnTo>
                          <a:pt x="91" y="100"/>
                        </a:lnTo>
                        <a:lnTo>
                          <a:pt x="117" y="102"/>
                        </a:lnTo>
                        <a:lnTo>
                          <a:pt x="144" y="102"/>
                        </a:lnTo>
                        <a:lnTo>
                          <a:pt x="171" y="102"/>
                        </a:lnTo>
                        <a:lnTo>
                          <a:pt x="199" y="100"/>
                        </a:lnTo>
                        <a:lnTo>
                          <a:pt x="225" y="98"/>
                        </a:lnTo>
                        <a:lnTo>
                          <a:pt x="251" y="94"/>
                        </a:lnTo>
                        <a:lnTo>
                          <a:pt x="273" y="90"/>
                        </a:lnTo>
                        <a:lnTo>
                          <a:pt x="292" y="85"/>
                        </a:lnTo>
                        <a:lnTo>
                          <a:pt x="308" y="79"/>
                        </a:lnTo>
                        <a:lnTo>
                          <a:pt x="319" y="71"/>
                        </a:lnTo>
                        <a:lnTo>
                          <a:pt x="326" y="61"/>
                        </a:lnTo>
                        <a:lnTo>
                          <a:pt x="329" y="50"/>
                        </a:lnTo>
                        <a:lnTo>
                          <a:pt x="329" y="39"/>
                        </a:lnTo>
                        <a:lnTo>
                          <a:pt x="325" y="28"/>
                        </a:lnTo>
                        <a:lnTo>
                          <a:pt x="316" y="18"/>
                        </a:lnTo>
                        <a:lnTo>
                          <a:pt x="303" y="8"/>
                        </a:lnTo>
                        <a:lnTo>
                          <a:pt x="285" y="0"/>
                        </a:lnTo>
                        <a:lnTo>
                          <a:pt x="269" y="18"/>
                        </a:lnTo>
                        <a:lnTo>
                          <a:pt x="252" y="31"/>
                        </a:lnTo>
                        <a:lnTo>
                          <a:pt x="234" y="39"/>
                        </a:lnTo>
                        <a:lnTo>
                          <a:pt x="215" y="43"/>
                        </a:lnTo>
                        <a:lnTo>
                          <a:pt x="194" y="45"/>
                        </a:lnTo>
                        <a:lnTo>
                          <a:pt x="173" y="43"/>
                        </a:lnTo>
                        <a:lnTo>
                          <a:pt x="148" y="41"/>
                        </a:lnTo>
                        <a:lnTo>
                          <a:pt x="122" y="40"/>
                        </a:lnTo>
                        <a:lnTo>
                          <a:pt x="67" y="30"/>
                        </a:lnTo>
                        <a:lnTo>
                          <a:pt x="49" y="3"/>
                        </a:lnTo>
                        <a:lnTo>
                          <a:pt x="32" y="10"/>
                        </a:lnTo>
                        <a:close/>
                      </a:path>
                    </a:pathLst>
                  </a:custGeom>
                  <a:solidFill>
                    <a:srgbClr val="E6E6E6">
                      <a:alpha val="56078"/>
                    </a:srgbClr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da-DK" kern="0">
                      <a:solidFill>
                        <a:sysClr val="windowText" lastClr="000000"/>
                      </a:solidFill>
                      <a:latin typeface="+mn-lt"/>
                      <a:cs typeface="+mn-cs"/>
                    </a:endParaRPr>
                  </a:p>
                </p:txBody>
              </p:sp>
              <p:sp>
                <p:nvSpPr>
                  <p:cNvPr id="330" name="Freeform 133"/>
                  <p:cNvSpPr>
                    <a:spLocks/>
                  </p:cNvSpPr>
                  <p:nvPr/>
                </p:nvSpPr>
                <p:spPr bwMode="auto">
                  <a:xfrm>
                    <a:off x="293740" y="4113648"/>
                    <a:ext cx="418060" cy="77555"/>
                  </a:xfrm>
                  <a:custGeom>
                    <a:avLst/>
                    <a:gdLst>
                      <a:gd name="T0" fmla="*/ 12 w 204"/>
                      <a:gd name="T1" fmla="*/ 0 h 37"/>
                      <a:gd name="T2" fmla="*/ 24 w 204"/>
                      <a:gd name="T3" fmla="*/ 6 h 37"/>
                      <a:gd name="T4" fmla="*/ 35 w 204"/>
                      <a:gd name="T5" fmla="*/ 12 h 37"/>
                      <a:gd name="T6" fmla="*/ 47 w 204"/>
                      <a:gd name="T7" fmla="*/ 15 h 37"/>
                      <a:gd name="T8" fmla="*/ 58 w 204"/>
                      <a:gd name="T9" fmla="*/ 17 h 37"/>
                      <a:gd name="T10" fmla="*/ 70 w 204"/>
                      <a:gd name="T11" fmla="*/ 20 h 37"/>
                      <a:gd name="T12" fmla="*/ 82 w 204"/>
                      <a:gd name="T13" fmla="*/ 21 h 37"/>
                      <a:gd name="T14" fmla="*/ 94 w 204"/>
                      <a:gd name="T15" fmla="*/ 22 h 37"/>
                      <a:gd name="T16" fmla="*/ 106 w 204"/>
                      <a:gd name="T17" fmla="*/ 21 h 37"/>
                      <a:gd name="T18" fmla="*/ 119 w 204"/>
                      <a:gd name="T19" fmla="*/ 20 h 37"/>
                      <a:gd name="T20" fmla="*/ 131 w 204"/>
                      <a:gd name="T21" fmla="*/ 19 h 37"/>
                      <a:gd name="T22" fmla="*/ 143 w 204"/>
                      <a:gd name="T23" fmla="*/ 16 h 37"/>
                      <a:gd name="T24" fmla="*/ 156 w 204"/>
                      <a:gd name="T25" fmla="*/ 14 h 37"/>
                      <a:gd name="T26" fmla="*/ 167 w 204"/>
                      <a:gd name="T27" fmla="*/ 12 h 37"/>
                      <a:gd name="T28" fmla="*/ 180 w 204"/>
                      <a:gd name="T29" fmla="*/ 8 h 37"/>
                      <a:gd name="T30" fmla="*/ 192 w 204"/>
                      <a:gd name="T31" fmla="*/ 6 h 37"/>
                      <a:gd name="T32" fmla="*/ 204 w 204"/>
                      <a:gd name="T33" fmla="*/ 2 h 37"/>
                      <a:gd name="T34" fmla="*/ 204 w 204"/>
                      <a:gd name="T35" fmla="*/ 14 h 37"/>
                      <a:gd name="T36" fmla="*/ 196 w 204"/>
                      <a:gd name="T37" fmla="*/ 17 h 37"/>
                      <a:gd name="T38" fmla="*/ 188 w 204"/>
                      <a:gd name="T39" fmla="*/ 21 h 37"/>
                      <a:gd name="T40" fmla="*/ 178 w 204"/>
                      <a:gd name="T41" fmla="*/ 24 h 37"/>
                      <a:gd name="T42" fmla="*/ 167 w 204"/>
                      <a:gd name="T43" fmla="*/ 27 h 37"/>
                      <a:gd name="T44" fmla="*/ 155 w 204"/>
                      <a:gd name="T45" fmla="*/ 30 h 37"/>
                      <a:gd name="T46" fmla="*/ 143 w 204"/>
                      <a:gd name="T47" fmla="*/ 32 h 37"/>
                      <a:gd name="T48" fmla="*/ 129 w 204"/>
                      <a:gd name="T49" fmla="*/ 35 h 37"/>
                      <a:gd name="T50" fmla="*/ 117 w 204"/>
                      <a:gd name="T51" fmla="*/ 37 h 37"/>
                      <a:gd name="T52" fmla="*/ 102 w 204"/>
                      <a:gd name="T53" fmla="*/ 37 h 37"/>
                      <a:gd name="T54" fmla="*/ 88 w 204"/>
                      <a:gd name="T55" fmla="*/ 37 h 37"/>
                      <a:gd name="T56" fmla="*/ 73 w 204"/>
                      <a:gd name="T57" fmla="*/ 36 h 37"/>
                      <a:gd name="T58" fmla="*/ 58 w 204"/>
                      <a:gd name="T59" fmla="*/ 34 h 37"/>
                      <a:gd name="T60" fmla="*/ 44 w 204"/>
                      <a:gd name="T61" fmla="*/ 29 h 37"/>
                      <a:gd name="T62" fmla="*/ 29 w 204"/>
                      <a:gd name="T63" fmla="*/ 24 h 37"/>
                      <a:gd name="T64" fmla="*/ 14 w 204"/>
                      <a:gd name="T65" fmla="*/ 17 h 37"/>
                      <a:gd name="T66" fmla="*/ 0 w 204"/>
                      <a:gd name="T67" fmla="*/ 8 h 37"/>
                      <a:gd name="T68" fmla="*/ 12 w 204"/>
                      <a:gd name="T69" fmla="*/ 0 h 37"/>
                      <a:gd name="T70" fmla="*/ 0 60000 65536"/>
                      <a:gd name="T71" fmla="*/ 0 60000 65536"/>
                      <a:gd name="T72" fmla="*/ 0 60000 65536"/>
                      <a:gd name="T73" fmla="*/ 0 60000 65536"/>
                      <a:gd name="T74" fmla="*/ 0 60000 65536"/>
                      <a:gd name="T75" fmla="*/ 0 60000 65536"/>
                      <a:gd name="T76" fmla="*/ 0 60000 65536"/>
                      <a:gd name="T77" fmla="*/ 0 60000 65536"/>
                      <a:gd name="T78" fmla="*/ 0 60000 65536"/>
                      <a:gd name="T79" fmla="*/ 0 60000 65536"/>
                      <a:gd name="T80" fmla="*/ 0 60000 65536"/>
                      <a:gd name="T81" fmla="*/ 0 60000 65536"/>
                      <a:gd name="T82" fmla="*/ 0 60000 65536"/>
                      <a:gd name="T83" fmla="*/ 0 60000 65536"/>
                      <a:gd name="T84" fmla="*/ 0 60000 65536"/>
                      <a:gd name="T85" fmla="*/ 0 60000 655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w 204"/>
                      <a:gd name="T106" fmla="*/ 0 h 37"/>
                      <a:gd name="T107" fmla="*/ 204 w 204"/>
                      <a:gd name="T108" fmla="*/ 37 h 37"/>
                    </a:gdLst>
                    <a:ahLst/>
                    <a:cxnLst>
                      <a:cxn ang="T70">
                        <a:pos x="T0" y="T1"/>
                      </a:cxn>
                      <a:cxn ang="T71">
                        <a:pos x="T2" y="T3"/>
                      </a:cxn>
                      <a:cxn ang="T72">
                        <a:pos x="T4" y="T5"/>
                      </a:cxn>
                      <a:cxn ang="T73">
                        <a:pos x="T6" y="T7"/>
                      </a:cxn>
                      <a:cxn ang="T74">
                        <a:pos x="T8" y="T9"/>
                      </a:cxn>
                      <a:cxn ang="T75">
                        <a:pos x="T10" y="T11"/>
                      </a:cxn>
                      <a:cxn ang="T76">
                        <a:pos x="T12" y="T13"/>
                      </a:cxn>
                      <a:cxn ang="T77">
                        <a:pos x="T14" y="T15"/>
                      </a:cxn>
                      <a:cxn ang="T78">
                        <a:pos x="T16" y="T17"/>
                      </a:cxn>
                      <a:cxn ang="T79">
                        <a:pos x="T18" y="T19"/>
                      </a:cxn>
                      <a:cxn ang="T80">
                        <a:pos x="T20" y="T21"/>
                      </a:cxn>
                      <a:cxn ang="T81">
                        <a:pos x="T22" y="T23"/>
                      </a:cxn>
                      <a:cxn ang="T82">
                        <a:pos x="T24" y="T25"/>
                      </a:cxn>
                      <a:cxn ang="T83">
                        <a:pos x="T26" y="T27"/>
                      </a:cxn>
                      <a:cxn ang="T84">
                        <a:pos x="T28" y="T29"/>
                      </a:cxn>
                      <a:cxn ang="T85">
                        <a:pos x="T30" y="T31"/>
                      </a:cxn>
                      <a:cxn ang="T86">
                        <a:pos x="T32" y="T33"/>
                      </a:cxn>
                      <a:cxn ang="T87">
                        <a:pos x="T34" y="T35"/>
                      </a:cxn>
                      <a:cxn ang="T88">
                        <a:pos x="T36" y="T37"/>
                      </a:cxn>
                      <a:cxn ang="T89">
                        <a:pos x="T38" y="T39"/>
                      </a:cxn>
                      <a:cxn ang="T90">
                        <a:pos x="T40" y="T41"/>
                      </a:cxn>
                      <a:cxn ang="T91">
                        <a:pos x="T42" y="T43"/>
                      </a:cxn>
                      <a:cxn ang="T92">
                        <a:pos x="T44" y="T45"/>
                      </a:cxn>
                      <a:cxn ang="T93">
                        <a:pos x="T46" y="T47"/>
                      </a:cxn>
                      <a:cxn ang="T94">
                        <a:pos x="T48" y="T49"/>
                      </a:cxn>
                      <a:cxn ang="T95">
                        <a:pos x="T50" y="T51"/>
                      </a:cxn>
                      <a:cxn ang="T96">
                        <a:pos x="T52" y="T53"/>
                      </a:cxn>
                      <a:cxn ang="T97">
                        <a:pos x="T54" y="T55"/>
                      </a:cxn>
                      <a:cxn ang="T98">
                        <a:pos x="T56" y="T57"/>
                      </a:cxn>
                      <a:cxn ang="T99">
                        <a:pos x="T58" y="T59"/>
                      </a:cxn>
                      <a:cxn ang="T100">
                        <a:pos x="T60" y="T61"/>
                      </a:cxn>
                      <a:cxn ang="T101">
                        <a:pos x="T62" y="T63"/>
                      </a:cxn>
                      <a:cxn ang="T102">
                        <a:pos x="T64" y="T65"/>
                      </a:cxn>
                      <a:cxn ang="T103">
                        <a:pos x="T66" y="T67"/>
                      </a:cxn>
                      <a:cxn ang="T104">
                        <a:pos x="T68" y="T69"/>
                      </a:cxn>
                    </a:cxnLst>
                    <a:rect l="T105" t="T106" r="T107" b="T108"/>
                    <a:pathLst>
                      <a:path w="204" h="37">
                        <a:moveTo>
                          <a:pt x="12" y="0"/>
                        </a:moveTo>
                        <a:lnTo>
                          <a:pt x="24" y="6"/>
                        </a:lnTo>
                        <a:lnTo>
                          <a:pt x="35" y="12"/>
                        </a:lnTo>
                        <a:lnTo>
                          <a:pt x="47" y="15"/>
                        </a:lnTo>
                        <a:lnTo>
                          <a:pt x="58" y="17"/>
                        </a:lnTo>
                        <a:lnTo>
                          <a:pt x="70" y="20"/>
                        </a:lnTo>
                        <a:lnTo>
                          <a:pt x="82" y="21"/>
                        </a:lnTo>
                        <a:lnTo>
                          <a:pt x="94" y="22"/>
                        </a:lnTo>
                        <a:lnTo>
                          <a:pt x="106" y="21"/>
                        </a:lnTo>
                        <a:lnTo>
                          <a:pt x="119" y="20"/>
                        </a:lnTo>
                        <a:lnTo>
                          <a:pt x="131" y="19"/>
                        </a:lnTo>
                        <a:lnTo>
                          <a:pt x="143" y="16"/>
                        </a:lnTo>
                        <a:lnTo>
                          <a:pt x="156" y="14"/>
                        </a:lnTo>
                        <a:lnTo>
                          <a:pt x="167" y="12"/>
                        </a:lnTo>
                        <a:lnTo>
                          <a:pt x="180" y="8"/>
                        </a:lnTo>
                        <a:lnTo>
                          <a:pt x="192" y="6"/>
                        </a:lnTo>
                        <a:lnTo>
                          <a:pt x="204" y="2"/>
                        </a:lnTo>
                        <a:lnTo>
                          <a:pt x="204" y="14"/>
                        </a:lnTo>
                        <a:lnTo>
                          <a:pt x="196" y="17"/>
                        </a:lnTo>
                        <a:lnTo>
                          <a:pt x="188" y="21"/>
                        </a:lnTo>
                        <a:lnTo>
                          <a:pt x="178" y="24"/>
                        </a:lnTo>
                        <a:lnTo>
                          <a:pt x="167" y="27"/>
                        </a:lnTo>
                        <a:lnTo>
                          <a:pt x="155" y="30"/>
                        </a:lnTo>
                        <a:lnTo>
                          <a:pt x="143" y="32"/>
                        </a:lnTo>
                        <a:lnTo>
                          <a:pt x="129" y="35"/>
                        </a:lnTo>
                        <a:lnTo>
                          <a:pt x="117" y="37"/>
                        </a:lnTo>
                        <a:lnTo>
                          <a:pt x="102" y="37"/>
                        </a:lnTo>
                        <a:lnTo>
                          <a:pt x="88" y="37"/>
                        </a:lnTo>
                        <a:lnTo>
                          <a:pt x="73" y="36"/>
                        </a:lnTo>
                        <a:lnTo>
                          <a:pt x="58" y="34"/>
                        </a:lnTo>
                        <a:lnTo>
                          <a:pt x="44" y="29"/>
                        </a:lnTo>
                        <a:lnTo>
                          <a:pt x="29" y="24"/>
                        </a:lnTo>
                        <a:lnTo>
                          <a:pt x="14" y="17"/>
                        </a:lnTo>
                        <a:lnTo>
                          <a:pt x="0" y="8"/>
                        </a:lnTo>
                        <a:lnTo>
                          <a:pt x="12" y="0"/>
                        </a:lnTo>
                        <a:close/>
                      </a:path>
                    </a:pathLst>
                  </a:custGeom>
                  <a:solidFill>
                    <a:srgbClr val="E6E6E6">
                      <a:alpha val="56078"/>
                    </a:srgbClr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da-DK" kern="0">
                      <a:solidFill>
                        <a:sysClr val="windowText" lastClr="000000"/>
                      </a:solidFill>
                      <a:latin typeface="+mn-lt"/>
                      <a:cs typeface="+mn-cs"/>
                    </a:endParaRPr>
                  </a:p>
                </p:txBody>
              </p:sp>
              <p:sp>
                <p:nvSpPr>
                  <p:cNvPr id="331" name="Freeform 135"/>
                  <p:cNvSpPr>
                    <a:spLocks/>
                  </p:cNvSpPr>
                  <p:nvPr/>
                </p:nvSpPr>
                <p:spPr bwMode="auto">
                  <a:xfrm>
                    <a:off x="154395" y="4229980"/>
                    <a:ext cx="676849" cy="193887"/>
                  </a:xfrm>
                  <a:custGeom>
                    <a:avLst/>
                    <a:gdLst>
                      <a:gd name="T0" fmla="*/ 40 w 351"/>
                      <a:gd name="T1" fmla="*/ 0 h 100"/>
                      <a:gd name="T2" fmla="*/ 19 w 351"/>
                      <a:gd name="T3" fmla="*/ 9 h 100"/>
                      <a:gd name="T4" fmla="*/ 6 w 351"/>
                      <a:gd name="T5" fmla="*/ 20 h 100"/>
                      <a:gd name="T6" fmla="*/ 0 w 351"/>
                      <a:gd name="T7" fmla="*/ 30 h 100"/>
                      <a:gd name="T8" fmla="*/ 0 w 351"/>
                      <a:gd name="T9" fmla="*/ 42 h 100"/>
                      <a:gd name="T10" fmla="*/ 7 w 351"/>
                      <a:gd name="T11" fmla="*/ 53 h 100"/>
                      <a:gd name="T12" fmla="*/ 17 w 351"/>
                      <a:gd name="T13" fmla="*/ 65 h 100"/>
                      <a:gd name="T14" fmla="*/ 32 w 351"/>
                      <a:gd name="T15" fmla="*/ 75 h 100"/>
                      <a:gd name="T16" fmla="*/ 50 w 351"/>
                      <a:gd name="T17" fmla="*/ 85 h 100"/>
                      <a:gd name="T18" fmla="*/ 66 w 351"/>
                      <a:gd name="T19" fmla="*/ 89 h 100"/>
                      <a:gd name="T20" fmla="*/ 82 w 351"/>
                      <a:gd name="T21" fmla="*/ 92 h 100"/>
                      <a:gd name="T22" fmla="*/ 97 w 351"/>
                      <a:gd name="T23" fmla="*/ 95 h 100"/>
                      <a:gd name="T24" fmla="*/ 113 w 351"/>
                      <a:gd name="T25" fmla="*/ 96 h 100"/>
                      <a:gd name="T26" fmla="*/ 128 w 351"/>
                      <a:gd name="T27" fmla="*/ 98 h 100"/>
                      <a:gd name="T28" fmla="*/ 144 w 351"/>
                      <a:gd name="T29" fmla="*/ 99 h 100"/>
                      <a:gd name="T30" fmla="*/ 159 w 351"/>
                      <a:gd name="T31" fmla="*/ 99 h 100"/>
                      <a:gd name="T32" fmla="*/ 174 w 351"/>
                      <a:gd name="T33" fmla="*/ 100 h 100"/>
                      <a:gd name="T34" fmla="*/ 189 w 351"/>
                      <a:gd name="T35" fmla="*/ 100 h 100"/>
                      <a:gd name="T36" fmla="*/ 205 w 351"/>
                      <a:gd name="T37" fmla="*/ 100 h 100"/>
                      <a:gd name="T38" fmla="*/ 220 w 351"/>
                      <a:gd name="T39" fmla="*/ 99 h 100"/>
                      <a:gd name="T40" fmla="*/ 236 w 351"/>
                      <a:gd name="T41" fmla="*/ 99 h 100"/>
                      <a:gd name="T42" fmla="*/ 251 w 351"/>
                      <a:gd name="T43" fmla="*/ 98 h 100"/>
                      <a:gd name="T44" fmla="*/ 267 w 351"/>
                      <a:gd name="T45" fmla="*/ 97 h 100"/>
                      <a:gd name="T46" fmla="*/ 284 w 351"/>
                      <a:gd name="T47" fmla="*/ 95 h 100"/>
                      <a:gd name="T48" fmla="*/ 300 w 351"/>
                      <a:gd name="T49" fmla="*/ 94 h 100"/>
                      <a:gd name="T50" fmla="*/ 323 w 351"/>
                      <a:gd name="T51" fmla="*/ 81 h 100"/>
                      <a:gd name="T52" fmla="*/ 339 w 351"/>
                      <a:gd name="T53" fmla="*/ 68 h 100"/>
                      <a:gd name="T54" fmla="*/ 349 w 351"/>
                      <a:gd name="T55" fmla="*/ 56 h 100"/>
                      <a:gd name="T56" fmla="*/ 351 w 351"/>
                      <a:gd name="T57" fmla="*/ 43 h 100"/>
                      <a:gd name="T58" fmla="*/ 348 w 351"/>
                      <a:gd name="T59" fmla="*/ 31 h 100"/>
                      <a:gd name="T60" fmla="*/ 338 w 351"/>
                      <a:gd name="T61" fmla="*/ 21 h 100"/>
                      <a:gd name="T62" fmla="*/ 320 w 351"/>
                      <a:gd name="T63" fmla="*/ 12 h 100"/>
                      <a:gd name="T64" fmla="*/ 296 w 351"/>
                      <a:gd name="T65" fmla="*/ 5 h 100"/>
                      <a:gd name="T66" fmla="*/ 298 w 351"/>
                      <a:gd name="T67" fmla="*/ 15 h 100"/>
                      <a:gd name="T68" fmla="*/ 294 w 351"/>
                      <a:gd name="T69" fmla="*/ 23 h 100"/>
                      <a:gd name="T70" fmla="*/ 284 w 351"/>
                      <a:gd name="T71" fmla="*/ 30 h 100"/>
                      <a:gd name="T72" fmla="*/ 272 w 351"/>
                      <a:gd name="T73" fmla="*/ 37 h 100"/>
                      <a:gd name="T74" fmla="*/ 258 w 351"/>
                      <a:gd name="T75" fmla="*/ 38 h 100"/>
                      <a:gd name="T76" fmla="*/ 245 w 351"/>
                      <a:gd name="T77" fmla="*/ 39 h 100"/>
                      <a:gd name="T78" fmla="*/ 234 w 351"/>
                      <a:gd name="T79" fmla="*/ 41 h 100"/>
                      <a:gd name="T80" fmla="*/ 222 w 351"/>
                      <a:gd name="T81" fmla="*/ 42 h 100"/>
                      <a:gd name="T82" fmla="*/ 211 w 351"/>
                      <a:gd name="T83" fmla="*/ 43 h 100"/>
                      <a:gd name="T84" fmla="*/ 199 w 351"/>
                      <a:gd name="T85" fmla="*/ 43 h 100"/>
                      <a:gd name="T86" fmla="*/ 188 w 351"/>
                      <a:gd name="T87" fmla="*/ 44 h 100"/>
                      <a:gd name="T88" fmla="*/ 178 w 351"/>
                      <a:gd name="T89" fmla="*/ 44 h 100"/>
                      <a:gd name="T90" fmla="*/ 166 w 351"/>
                      <a:gd name="T91" fmla="*/ 44 h 100"/>
                      <a:gd name="T92" fmla="*/ 155 w 351"/>
                      <a:gd name="T93" fmla="*/ 44 h 100"/>
                      <a:gd name="T94" fmla="*/ 143 w 351"/>
                      <a:gd name="T95" fmla="*/ 44 h 100"/>
                      <a:gd name="T96" fmla="*/ 133 w 351"/>
                      <a:gd name="T97" fmla="*/ 43 h 100"/>
                      <a:gd name="T98" fmla="*/ 120 w 351"/>
                      <a:gd name="T99" fmla="*/ 42 h 100"/>
                      <a:gd name="T100" fmla="*/ 108 w 351"/>
                      <a:gd name="T101" fmla="*/ 41 h 100"/>
                      <a:gd name="T102" fmla="*/ 96 w 351"/>
                      <a:gd name="T103" fmla="*/ 39 h 100"/>
                      <a:gd name="T104" fmla="*/ 82 w 351"/>
                      <a:gd name="T105" fmla="*/ 37 h 100"/>
                      <a:gd name="T106" fmla="*/ 73 w 351"/>
                      <a:gd name="T107" fmla="*/ 32 h 100"/>
                      <a:gd name="T108" fmla="*/ 65 w 351"/>
                      <a:gd name="T109" fmla="*/ 28 h 100"/>
                      <a:gd name="T110" fmla="*/ 58 w 351"/>
                      <a:gd name="T111" fmla="*/ 23 h 100"/>
                      <a:gd name="T112" fmla="*/ 52 w 351"/>
                      <a:gd name="T113" fmla="*/ 19 h 100"/>
                      <a:gd name="T114" fmla="*/ 47 w 351"/>
                      <a:gd name="T115" fmla="*/ 14 h 100"/>
                      <a:gd name="T116" fmla="*/ 44 w 351"/>
                      <a:gd name="T117" fmla="*/ 11 h 100"/>
                      <a:gd name="T118" fmla="*/ 42 w 351"/>
                      <a:gd name="T119" fmla="*/ 5 h 100"/>
                      <a:gd name="T120" fmla="*/ 40 w 351"/>
                      <a:gd name="T121" fmla="*/ 0 h 100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60000 65536"/>
                      <a:gd name="T151" fmla="*/ 0 60000 65536"/>
                      <a:gd name="T152" fmla="*/ 0 60000 65536"/>
                      <a:gd name="T153" fmla="*/ 0 60000 65536"/>
                      <a:gd name="T154" fmla="*/ 0 60000 65536"/>
                      <a:gd name="T155" fmla="*/ 0 60000 65536"/>
                      <a:gd name="T156" fmla="*/ 0 60000 65536"/>
                      <a:gd name="T157" fmla="*/ 0 60000 65536"/>
                      <a:gd name="T158" fmla="*/ 0 60000 65536"/>
                      <a:gd name="T159" fmla="*/ 0 60000 65536"/>
                      <a:gd name="T160" fmla="*/ 0 60000 65536"/>
                      <a:gd name="T161" fmla="*/ 0 60000 65536"/>
                      <a:gd name="T162" fmla="*/ 0 60000 65536"/>
                      <a:gd name="T163" fmla="*/ 0 60000 65536"/>
                      <a:gd name="T164" fmla="*/ 0 60000 65536"/>
                      <a:gd name="T165" fmla="*/ 0 60000 65536"/>
                      <a:gd name="T166" fmla="*/ 0 60000 65536"/>
                      <a:gd name="T167" fmla="*/ 0 60000 65536"/>
                      <a:gd name="T168" fmla="*/ 0 60000 65536"/>
                      <a:gd name="T169" fmla="*/ 0 60000 65536"/>
                      <a:gd name="T170" fmla="*/ 0 60000 65536"/>
                      <a:gd name="T171" fmla="*/ 0 60000 65536"/>
                      <a:gd name="T172" fmla="*/ 0 60000 65536"/>
                      <a:gd name="T173" fmla="*/ 0 60000 65536"/>
                      <a:gd name="T174" fmla="*/ 0 60000 65536"/>
                      <a:gd name="T175" fmla="*/ 0 60000 65536"/>
                      <a:gd name="T176" fmla="*/ 0 60000 65536"/>
                      <a:gd name="T177" fmla="*/ 0 60000 65536"/>
                      <a:gd name="T178" fmla="*/ 0 60000 65536"/>
                      <a:gd name="T179" fmla="*/ 0 60000 65536"/>
                      <a:gd name="T180" fmla="*/ 0 60000 65536"/>
                      <a:gd name="T181" fmla="*/ 0 60000 65536"/>
                      <a:gd name="T182" fmla="*/ 0 60000 65536"/>
                      <a:gd name="T183" fmla="*/ 0 w 351"/>
                      <a:gd name="T184" fmla="*/ 0 h 100"/>
                      <a:gd name="T185" fmla="*/ 351 w 351"/>
                      <a:gd name="T186" fmla="*/ 100 h 100"/>
                    </a:gdLst>
                    <a:ahLst/>
                    <a:cxnLst>
                      <a:cxn ang="T122">
                        <a:pos x="T0" y="T1"/>
                      </a:cxn>
                      <a:cxn ang="T123">
                        <a:pos x="T2" y="T3"/>
                      </a:cxn>
                      <a:cxn ang="T124">
                        <a:pos x="T4" y="T5"/>
                      </a:cxn>
                      <a:cxn ang="T125">
                        <a:pos x="T6" y="T7"/>
                      </a:cxn>
                      <a:cxn ang="T126">
                        <a:pos x="T8" y="T9"/>
                      </a:cxn>
                      <a:cxn ang="T127">
                        <a:pos x="T10" y="T11"/>
                      </a:cxn>
                      <a:cxn ang="T128">
                        <a:pos x="T12" y="T13"/>
                      </a:cxn>
                      <a:cxn ang="T129">
                        <a:pos x="T14" y="T15"/>
                      </a:cxn>
                      <a:cxn ang="T130">
                        <a:pos x="T16" y="T17"/>
                      </a:cxn>
                      <a:cxn ang="T131">
                        <a:pos x="T18" y="T19"/>
                      </a:cxn>
                      <a:cxn ang="T132">
                        <a:pos x="T20" y="T21"/>
                      </a:cxn>
                      <a:cxn ang="T133">
                        <a:pos x="T22" y="T23"/>
                      </a:cxn>
                      <a:cxn ang="T134">
                        <a:pos x="T24" y="T25"/>
                      </a:cxn>
                      <a:cxn ang="T135">
                        <a:pos x="T26" y="T27"/>
                      </a:cxn>
                      <a:cxn ang="T136">
                        <a:pos x="T28" y="T29"/>
                      </a:cxn>
                      <a:cxn ang="T137">
                        <a:pos x="T30" y="T31"/>
                      </a:cxn>
                      <a:cxn ang="T138">
                        <a:pos x="T32" y="T33"/>
                      </a:cxn>
                      <a:cxn ang="T139">
                        <a:pos x="T34" y="T35"/>
                      </a:cxn>
                      <a:cxn ang="T140">
                        <a:pos x="T36" y="T37"/>
                      </a:cxn>
                      <a:cxn ang="T141">
                        <a:pos x="T38" y="T39"/>
                      </a:cxn>
                      <a:cxn ang="T142">
                        <a:pos x="T40" y="T41"/>
                      </a:cxn>
                      <a:cxn ang="T143">
                        <a:pos x="T42" y="T43"/>
                      </a:cxn>
                      <a:cxn ang="T144">
                        <a:pos x="T44" y="T45"/>
                      </a:cxn>
                      <a:cxn ang="T145">
                        <a:pos x="T46" y="T47"/>
                      </a:cxn>
                      <a:cxn ang="T146">
                        <a:pos x="T48" y="T49"/>
                      </a:cxn>
                      <a:cxn ang="T147">
                        <a:pos x="T50" y="T51"/>
                      </a:cxn>
                      <a:cxn ang="T148">
                        <a:pos x="T52" y="T53"/>
                      </a:cxn>
                      <a:cxn ang="T149">
                        <a:pos x="T54" y="T55"/>
                      </a:cxn>
                      <a:cxn ang="T150">
                        <a:pos x="T56" y="T57"/>
                      </a:cxn>
                      <a:cxn ang="T151">
                        <a:pos x="T58" y="T59"/>
                      </a:cxn>
                      <a:cxn ang="T152">
                        <a:pos x="T60" y="T61"/>
                      </a:cxn>
                      <a:cxn ang="T153">
                        <a:pos x="T62" y="T63"/>
                      </a:cxn>
                      <a:cxn ang="T154">
                        <a:pos x="T64" y="T65"/>
                      </a:cxn>
                      <a:cxn ang="T155">
                        <a:pos x="T66" y="T67"/>
                      </a:cxn>
                      <a:cxn ang="T156">
                        <a:pos x="T68" y="T69"/>
                      </a:cxn>
                      <a:cxn ang="T157">
                        <a:pos x="T70" y="T71"/>
                      </a:cxn>
                      <a:cxn ang="T158">
                        <a:pos x="T72" y="T73"/>
                      </a:cxn>
                      <a:cxn ang="T159">
                        <a:pos x="T74" y="T75"/>
                      </a:cxn>
                      <a:cxn ang="T160">
                        <a:pos x="T76" y="T77"/>
                      </a:cxn>
                      <a:cxn ang="T161">
                        <a:pos x="T78" y="T79"/>
                      </a:cxn>
                      <a:cxn ang="T162">
                        <a:pos x="T80" y="T81"/>
                      </a:cxn>
                      <a:cxn ang="T163">
                        <a:pos x="T82" y="T83"/>
                      </a:cxn>
                      <a:cxn ang="T164">
                        <a:pos x="T84" y="T85"/>
                      </a:cxn>
                      <a:cxn ang="T165">
                        <a:pos x="T86" y="T87"/>
                      </a:cxn>
                      <a:cxn ang="T166">
                        <a:pos x="T88" y="T89"/>
                      </a:cxn>
                      <a:cxn ang="T167">
                        <a:pos x="T90" y="T91"/>
                      </a:cxn>
                      <a:cxn ang="T168">
                        <a:pos x="T92" y="T93"/>
                      </a:cxn>
                      <a:cxn ang="T169">
                        <a:pos x="T94" y="T95"/>
                      </a:cxn>
                      <a:cxn ang="T170">
                        <a:pos x="T96" y="T97"/>
                      </a:cxn>
                      <a:cxn ang="T171">
                        <a:pos x="T98" y="T99"/>
                      </a:cxn>
                      <a:cxn ang="T172">
                        <a:pos x="T100" y="T101"/>
                      </a:cxn>
                      <a:cxn ang="T173">
                        <a:pos x="T102" y="T103"/>
                      </a:cxn>
                      <a:cxn ang="T174">
                        <a:pos x="T104" y="T105"/>
                      </a:cxn>
                      <a:cxn ang="T175">
                        <a:pos x="T106" y="T107"/>
                      </a:cxn>
                      <a:cxn ang="T176">
                        <a:pos x="T108" y="T109"/>
                      </a:cxn>
                      <a:cxn ang="T177">
                        <a:pos x="T110" y="T111"/>
                      </a:cxn>
                      <a:cxn ang="T178">
                        <a:pos x="T112" y="T113"/>
                      </a:cxn>
                      <a:cxn ang="T179">
                        <a:pos x="T114" y="T115"/>
                      </a:cxn>
                      <a:cxn ang="T180">
                        <a:pos x="T116" y="T117"/>
                      </a:cxn>
                      <a:cxn ang="T181">
                        <a:pos x="T118" y="T119"/>
                      </a:cxn>
                      <a:cxn ang="T182">
                        <a:pos x="T120" y="T121"/>
                      </a:cxn>
                    </a:cxnLst>
                    <a:rect l="T183" t="T184" r="T185" b="T186"/>
                    <a:pathLst>
                      <a:path w="351" h="100">
                        <a:moveTo>
                          <a:pt x="40" y="0"/>
                        </a:moveTo>
                        <a:lnTo>
                          <a:pt x="19" y="9"/>
                        </a:lnTo>
                        <a:lnTo>
                          <a:pt x="6" y="20"/>
                        </a:lnTo>
                        <a:lnTo>
                          <a:pt x="0" y="30"/>
                        </a:lnTo>
                        <a:lnTo>
                          <a:pt x="0" y="42"/>
                        </a:lnTo>
                        <a:lnTo>
                          <a:pt x="7" y="53"/>
                        </a:lnTo>
                        <a:lnTo>
                          <a:pt x="17" y="65"/>
                        </a:lnTo>
                        <a:lnTo>
                          <a:pt x="32" y="75"/>
                        </a:lnTo>
                        <a:lnTo>
                          <a:pt x="50" y="85"/>
                        </a:lnTo>
                        <a:lnTo>
                          <a:pt x="66" y="89"/>
                        </a:lnTo>
                        <a:lnTo>
                          <a:pt x="82" y="92"/>
                        </a:lnTo>
                        <a:lnTo>
                          <a:pt x="97" y="95"/>
                        </a:lnTo>
                        <a:lnTo>
                          <a:pt x="113" y="96"/>
                        </a:lnTo>
                        <a:lnTo>
                          <a:pt x="128" y="98"/>
                        </a:lnTo>
                        <a:lnTo>
                          <a:pt x="144" y="99"/>
                        </a:lnTo>
                        <a:lnTo>
                          <a:pt x="159" y="99"/>
                        </a:lnTo>
                        <a:lnTo>
                          <a:pt x="174" y="100"/>
                        </a:lnTo>
                        <a:lnTo>
                          <a:pt x="189" y="100"/>
                        </a:lnTo>
                        <a:lnTo>
                          <a:pt x="205" y="100"/>
                        </a:lnTo>
                        <a:lnTo>
                          <a:pt x="220" y="99"/>
                        </a:lnTo>
                        <a:lnTo>
                          <a:pt x="236" y="99"/>
                        </a:lnTo>
                        <a:lnTo>
                          <a:pt x="251" y="98"/>
                        </a:lnTo>
                        <a:lnTo>
                          <a:pt x="267" y="97"/>
                        </a:lnTo>
                        <a:lnTo>
                          <a:pt x="284" y="95"/>
                        </a:lnTo>
                        <a:lnTo>
                          <a:pt x="300" y="94"/>
                        </a:lnTo>
                        <a:lnTo>
                          <a:pt x="323" y="81"/>
                        </a:lnTo>
                        <a:lnTo>
                          <a:pt x="339" y="68"/>
                        </a:lnTo>
                        <a:lnTo>
                          <a:pt x="349" y="56"/>
                        </a:lnTo>
                        <a:lnTo>
                          <a:pt x="351" y="43"/>
                        </a:lnTo>
                        <a:lnTo>
                          <a:pt x="348" y="31"/>
                        </a:lnTo>
                        <a:lnTo>
                          <a:pt x="338" y="21"/>
                        </a:lnTo>
                        <a:lnTo>
                          <a:pt x="320" y="12"/>
                        </a:lnTo>
                        <a:lnTo>
                          <a:pt x="296" y="5"/>
                        </a:lnTo>
                        <a:lnTo>
                          <a:pt x="298" y="15"/>
                        </a:lnTo>
                        <a:lnTo>
                          <a:pt x="294" y="23"/>
                        </a:lnTo>
                        <a:lnTo>
                          <a:pt x="284" y="30"/>
                        </a:lnTo>
                        <a:lnTo>
                          <a:pt x="272" y="37"/>
                        </a:lnTo>
                        <a:lnTo>
                          <a:pt x="258" y="38"/>
                        </a:lnTo>
                        <a:lnTo>
                          <a:pt x="245" y="39"/>
                        </a:lnTo>
                        <a:lnTo>
                          <a:pt x="234" y="41"/>
                        </a:lnTo>
                        <a:lnTo>
                          <a:pt x="222" y="42"/>
                        </a:lnTo>
                        <a:lnTo>
                          <a:pt x="211" y="43"/>
                        </a:lnTo>
                        <a:lnTo>
                          <a:pt x="199" y="43"/>
                        </a:lnTo>
                        <a:lnTo>
                          <a:pt x="188" y="44"/>
                        </a:lnTo>
                        <a:lnTo>
                          <a:pt x="178" y="44"/>
                        </a:lnTo>
                        <a:lnTo>
                          <a:pt x="166" y="44"/>
                        </a:lnTo>
                        <a:lnTo>
                          <a:pt x="155" y="44"/>
                        </a:lnTo>
                        <a:lnTo>
                          <a:pt x="143" y="44"/>
                        </a:lnTo>
                        <a:lnTo>
                          <a:pt x="133" y="43"/>
                        </a:lnTo>
                        <a:lnTo>
                          <a:pt x="120" y="42"/>
                        </a:lnTo>
                        <a:lnTo>
                          <a:pt x="108" y="41"/>
                        </a:lnTo>
                        <a:lnTo>
                          <a:pt x="96" y="39"/>
                        </a:lnTo>
                        <a:lnTo>
                          <a:pt x="82" y="37"/>
                        </a:lnTo>
                        <a:lnTo>
                          <a:pt x="73" y="32"/>
                        </a:lnTo>
                        <a:lnTo>
                          <a:pt x="65" y="28"/>
                        </a:lnTo>
                        <a:lnTo>
                          <a:pt x="58" y="23"/>
                        </a:lnTo>
                        <a:lnTo>
                          <a:pt x="52" y="19"/>
                        </a:lnTo>
                        <a:lnTo>
                          <a:pt x="47" y="14"/>
                        </a:lnTo>
                        <a:lnTo>
                          <a:pt x="44" y="11"/>
                        </a:lnTo>
                        <a:lnTo>
                          <a:pt x="42" y="5"/>
                        </a:lnTo>
                        <a:lnTo>
                          <a:pt x="40" y="0"/>
                        </a:lnTo>
                        <a:close/>
                      </a:path>
                    </a:pathLst>
                  </a:custGeom>
                  <a:solidFill>
                    <a:srgbClr val="E6E6E6">
                      <a:alpha val="56078"/>
                    </a:srgbClr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da-DK" kern="0">
                      <a:solidFill>
                        <a:sysClr val="windowText" lastClr="000000"/>
                      </a:solidFill>
                      <a:latin typeface="+mn-lt"/>
                      <a:cs typeface="+mn-cs"/>
                    </a:endParaRPr>
                  </a:p>
                </p:txBody>
              </p:sp>
              <p:sp>
                <p:nvSpPr>
                  <p:cNvPr id="332" name="Freeform 147"/>
                  <p:cNvSpPr>
                    <a:spLocks/>
                  </p:cNvSpPr>
                  <p:nvPr/>
                </p:nvSpPr>
                <p:spPr bwMode="auto">
                  <a:xfrm>
                    <a:off x="114580" y="5083082"/>
                    <a:ext cx="756479" cy="193887"/>
                  </a:xfrm>
                  <a:custGeom>
                    <a:avLst/>
                    <a:gdLst>
                      <a:gd name="T0" fmla="*/ 24 w 382"/>
                      <a:gd name="T1" fmla="*/ 4 h 96"/>
                      <a:gd name="T2" fmla="*/ 68 w 382"/>
                      <a:gd name="T3" fmla="*/ 40 h 96"/>
                      <a:gd name="T4" fmla="*/ 89 w 382"/>
                      <a:gd name="T5" fmla="*/ 44 h 96"/>
                      <a:gd name="T6" fmla="*/ 108 w 382"/>
                      <a:gd name="T7" fmla="*/ 48 h 96"/>
                      <a:gd name="T8" fmla="*/ 127 w 382"/>
                      <a:gd name="T9" fmla="*/ 53 h 96"/>
                      <a:gd name="T10" fmla="*/ 144 w 382"/>
                      <a:gd name="T11" fmla="*/ 55 h 96"/>
                      <a:gd name="T12" fmla="*/ 160 w 382"/>
                      <a:gd name="T13" fmla="*/ 57 h 96"/>
                      <a:gd name="T14" fmla="*/ 176 w 382"/>
                      <a:gd name="T15" fmla="*/ 59 h 96"/>
                      <a:gd name="T16" fmla="*/ 192 w 382"/>
                      <a:gd name="T17" fmla="*/ 59 h 96"/>
                      <a:gd name="T18" fmla="*/ 207 w 382"/>
                      <a:gd name="T19" fmla="*/ 59 h 96"/>
                      <a:gd name="T20" fmla="*/ 222 w 382"/>
                      <a:gd name="T21" fmla="*/ 58 h 96"/>
                      <a:gd name="T22" fmla="*/ 237 w 382"/>
                      <a:gd name="T23" fmla="*/ 57 h 96"/>
                      <a:gd name="T24" fmla="*/ 253 w 382"/>
                      <a:gd name="T25" fmla="*/ 54 h 96"/>
                      <a:gd name="T26" fmla="*/ 270 w 382"/>
                      <a:gd name="T27" fmla="*/ 50 h 96"/>
                      <a:gd name="T28" fmla="*/ 286 w 382"/>
                      <a:gd name="T29" fmla="*/ 46 h 96"/>
                      <a:gd name="T30" fmla="*/ 304 w 382"/>
                      <a:gd name="T31" fmla="*/ 39 h 96"/>
                      <a:gd name="T32" fmla="*/ 323 w 382"/>
                      <a:gd name="T33" fmla="*/ 32 h 96"/>
                      <a:gd name="T34" fmla="*/ 342 w 382"/>
                      <a:gd name="T35" fmla="*/ 23 h 96"/>
                      <a:gd name="T36" fmla="*/ 348 w 382"/>
                      <a:gd name="T37" fmla="*/ 10 h 96"/>
                      <a:gd name="T38" fmla="*/ 352 w 382"/>
                      <a:gd name="T39" fmla="*/ 3 h 96"/>
                      <a:gd name="T40" fmla="*/ 356 w 382"/>
                      <a:gd name="T41" fmla="*/ 0 h 96"/>
                      <a:gd name="T42" fmla="*/ 359 w 382"/>
                      <a:gd name="T43" fmla="*/ 1 h 96"/>
                      <a:gd name="T44" fmla="*/ 363 w 382"/>
                      <a:gd name="T45" fmla="*/ 4 h 96"/>
                      <a:gd name="T46" fmla="*/ 367 w 382"/>
                      <a:gd name="T47" fmla="*/ 11 h 96"/>
                      <a:gd name="T48" fmla="*/ 374 w 382"/>
                      <a:gd name="T49" fmla="*/ 20 h 96"/>
                      <a:gd name="T50" fmla="*/ 382 w 382"/>
                      <a:gd name="T51" fmla="*/ 32 h 96"/>
                      <a:gd name="T52" fmla="*/ 366 w 382"/>
                      <a:gd name="T53" fmla="*/ 55 h 96"/>
                      <a:gd name="T54" fmla="*/ 349 w 382"/>
                      <a:gd name="T55" fmla="*/ 65 h 96"/>
                      <a:gd name="T56" fmla="*/ 329 w 382"/>
                      <a:gd name="T57" fmla="*/ 73 h 96"/>
                      <a:gd name="T58" fmla="*/ 310 w 382"/>
                      <a:gd name="T59" fmla="*/ 80 h 96"/>
                      <a:gd name="T60" fmla="*/ 288 w 382"/>
                      <a:gd name="T61" fmla="*/ 86 h 96"/>
                      <a:gd name="T62" fmla="*/ 266 w 382"/>
                      <a:gd name="T63" fmla="*/ 91 h 96"/>
                      <a:gd name="T64" fmla="*/ 243 w 382"/>
                      <a:gd name="T65" fmla="*/ 94 h 96"/>
                      <a:gd name="T66" fmla="*/ 219 w 382"/>
                      <a:gd name="T67" fmla="*/ 96 h 96"/>
                      <a:gd name="T68" fmla="*/ 196 w 382"/>
                      <a:gd name="T69" fmla="*/ 96 h 96"/>
                      <a:gd name="T70" fmla="*/ 172 w 382"/>
                      <a:gd name="T71" fmla="*/ 96 h 96"/>
                      <a:gd name="T72" fmla="*/ 147 w 382"/>
                      <a:gd name="T73" fmla="*/ 95 h 96"/>
                      <a:gd name="T74" fmla="*/ 124 w 382"/>
                      <a:gd name="T75" fmla="*/ 92 h 96"/>
                      <a:gd name="T76" fmla="*/ 101 w 382"/>
                      <a:gd name="T77" fmla="*/ 88 h 96"/>
                      <a:gd name="T78" fmla="*/ 78 w 382"/>
                      <a:gd name="T79" fmla="*/ 84 h 96"/>
                      <a:gd name="T80" fmla="*/ 58 w 382"/>
                      <a:gd name="T81" fmla="*/ 79 h 96"/>
                      <a:gd name="T82" fmla="*/ 37 w 382"/>
                      <a:gd name="T83" fmla="*/ 72 h 96"/>
                      <a:gd name="T84" fmla="*/ 18 w 382"/>
                      <a:gd name="T85" fmla="*/ 65 h 96"/>
                      <a:gd name="T86" fmla="*/ 12 w 382"/>
                      <a:gd name="T87" fmla="*/ 56 h 96"/>
                      <a:gd name="T88" fmla="*/ 6 w 382"/>
                      <a:gd name="T89" fmla="*/ 47 h 96"/>
                      <a:gd name="T90" fmla="*/ 2 w 382"/>
                      <a:gd name="T91" fmla="*/ 38 h 96"/>
                      <a:gd name="T92" fmla="*/ 0 w 382"/>
                      <a:gd name="T93" fmla="*/ 28 h 96"/>
                      <a:gd name="T94" fmla="*/ 0 w 382"/>
                      <a:gd name="T95" fmla="*/ 20 h 96"/>
                      <a:gd name="T96" fmla="*/ 5 w 382"/>
                      <a:gd name="T97" fmla="*/ 13 h 96"/>
                      <a:gd name="T98" fmla="*/ 12 w 382"/>
                      <a:gd name="T99" fmla="*/ 8 h 96"/>
                      <a:gd name="T100" fmla="*/ 24 w 382"/>
                      <a:gd name="T101" fmla="*/ 4 h 9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60000 65536"/>
                      <a:gd name="T151" fmla="*/ 0 60000 65536"/>
                      <a:gd name="T152" fmla="*/ 0 60000 65536"/>
                      <a:gd name="T153" fmla="*/ 0 w 382"/>
                      <a:gd name="T154" fmla="*/ 0 h 96"/>
                      <a:gd name="T155" fmla="*/ 382 w 382"/>
                      <a:gd name="T156" fmla="*/ 96 h 96"/>
                    </a:gdLst>
                    <a:ahLst/>
                    <a:cxnLst>
                      <a:cxn ang="T102">
                        <a:pos x="T0" y="T1"/>
                      </a:cxn>
                      <a:cxn ang="T103">
                        <a:pos x="T2" y="T3"/>
                      </a:cxn>
                      <a:cxn ang="T104">
                        <a:pos x="T4" y="T5"/>
                      </a:cxn>
                      <a:cxn ang="T105">
                        <a:pos x="T6" y="T7"/>
                      </a:cxn>
                      <a:cxn ang="T106">
                        <a:pos x="T8" y="T9"/>
                      </a:cxn>
                      <a:cxn ang="T107">
                        <a:pos x="T10" y="T11"/>
                      </a:cxn>
                      <a:cxn ang="T108">
                        <a:pos x="T12" y="T13"/>
                      </a:cxn>
                      <a:cxn ang="T109">
                        <a:pos x="T14" y="T15"/>
                      </a:cxn>
                      <a:cxn ang="T110">
                        <a:pos x="T16" y="T17"/>
                      </a:cxn>
                      <a:cxn ang="T111">
                        <a:pos x="T18" y="T19"/>
                      </a:cxn>
                      <a:cxn ang="T112">
                        <a:pos x="T20" y="T21"/>
                      </a:cxn>
                      <a:cxn ang="T113">
                        <a:pos x="T22" y="T23"/>
                      </a:cxn>
                      <a:cxn ang="T114">
                        <a:pos x="T24" y="T25"/>
                      </a:cxn>
                      <a:cxn ang="T115">
                        <a:pos x="T26" y="T27"/>
                      </a:cxn>
                      <a:cxn ang="T116">
                        <a:pos x="T28" y="T29"/>
                      </a:cxn>
                      <a:cxn ang="T117">
                        <a:pos x="T30" y="T31"/>
                      </a:cxn>
                      <a:cxn ang="T118">
                        <a:pos x="T32" y="T33"/>
                      </a:cxn>
                      <a:cxn ang="T119">
                        <a:pos x="T34" y="T35"/>
                      </a:cxn>
                      <a:cxn ang="T120">
                        <a:pos x="T36" y="T37"/>
                      </a:cxn>
                      <a:cxn ang="T121">
                        <a:pos x="T38" y="T39"/>
                      </a:cxn>
                      <a:cxn ang="T122">
                        <a:pos x="T40" y="T41"/>
                      </a:cxn>
                      <a:cxn ang="T123">
                        <a:pos x="T42" y="T43"/>
                      </a:cxn>
                      <a:cxn ang="T124">
                        <a:pos x="T44" y="T45"/>
                      </a:cxn>
                      <a:cxn ang="T125">
                        <a:pos x="T46" y="T47"/>
                      </a:cxn>
                      <a:cxn ang="T126">
                        <a:pos x="T48" y="T49"/>
                      </a:cxn>
                      <a:cxn ang="T127">
                        <a:pos x="T50" y="T51"/>
                      </a:cxn>
                      <a:cxn ang="T128">
                        <a:pos x="T52" y="T53"/>
                      </a:cxn>
                      <a:cxn ang="T129">
                        <a:pos x="T54" y="T55"/>
                      </a:cxn>
                      <a:cxn ang="T130">
                        <a:pos x="T56" y="T57"/>
                      </a:cxn>
                      <a:cxn ang="T131">
                        <a:pos x="T58" y="T59"/>
                      </a:cxn>
                      <a:cxn ang="T132">
                        <a:pos x="T60" y="T61"/>
                      </a:cxn>
                      <a:cxn ang="T133">
                        <a:pos x="T62" y="T63"/>
                      </a:cxn>
                      <a:cxn ang="T134">
                        <a:pos x="T64" y="T65"/>
                      </a:cxn>
                      <a:cxn ang="T135">
                        <a:pos x="T66" y="T67"/>
                      </a:cxn>
                      <a:cxn ang="T136">
                        <a:pos x="T68" y="T69"/>
                      </a:cxn>
                      <a:cxn ang="T137">
                        <a:pos x="T70" y="T71"/>
                      </a:cxn>
                      <a:cxn ang="T138">
                        <a:pos x="T72" y="T73"/>
                      </a:cxn>
                      <a:cxn ang="T139">
                        <a:pos x="T74" y="T75"/>
                      </a:cxn>
                      <a:cxn ang="T140">
                        <a:pos x="T76" y="T77"/>
                      </a:cxn>
                      <a:cxn ang="T141">
                        <a:pos x="T78" y="T79"/>
                      </a:cxn>
                      <a:cxn ang="T142">
                        <a:pos x="T80" y="T81"/>
                      </a:cxn>
                      <a:cxn ang="T143">
                        <a:pos x="T82" y="T83"/>
                      </a:cxn>
                      <a:cxn ang="T144">
                        <a:pos x="T84" y="T85"/>
                      </a:cxn>
                      <a:cxn ang="T145">
                        <a:pos x="T86" y="T87"/>
                      </a:cxn>
                      <a:cxn ang="T146">
                        <a:pos x="T88" y="T89"/>
                      </a:cxn>
                      <a:cxn ang="T147">
                        <a:pos x="T90" y="T91"/>
                      </a:cxn>
                      <a:cxn ang="T148">
                        <a:pos x="T92" y="T93"/>
                      </a:cxn>
                      <a:cxn ang="T149">
                        <a:pos x="T94" y="T95"/>
                      </a:cxn>
                      <a:cxn ang="T150">
                        <a:pos x="T96" y="T97"/>
                      </a:cxn>
                      <a:cxn ang="T151">
                        <a:pos x="T98" y="T99"/>
                      </a:cxn>
                      <a:cxn ang="T152">
                        <a:pos x="T100" y="T101"/>
                      </a:cxn>
                    </a:cxnLst>
                    <a:rect l="T153" t="T154" r="T155" b="T156"/>
                    <a:pathLst>
                      <a:path w="382" h="96">
                        <a:moveTo>
                          <a:pt x="24" y="4"/>
                        </a:moveTo>
                        <a:lnTo>
                          <a:pt x="68" y="40"/>
                        </a:lnTo>
                        <a:lnTo>
                          <a:pt x="89" y="44"/>
                        </a:lnTo>
                        <a:lnTo>
                          <a:pt x="108" y="48"/>
                        </a:lnTo>
                        <a:lnTo>
                          <a:pt x="127" y="53"/>
                        </a:lnTo>
                        <a:lnTo>
                          <a:pt x="144" y="55"/>
                        </a:lnTo>
                        <a:lnTo>
                          <a:pt x="160" y="57"/>
                        </a:lnTo>
                        <a:lnTo>
                          <a:pt x="176" y="59"/>
                        </a:lnTo>
                        <a:lnTo>
                          <a:pt x="192" y="59"/>
                        </a:lnTo>
                        <a:lnTo>
                          <a:pt x="207" y="59"/>
                        </a:lnTo>
                        <a:lnTo>
                          <a:pt x="222" y="58"/>
                        </a:lnTo>
                        <a:lnTo>
                          <a:pt x="237" y="57"/>
                        </a:lnTo>
                        <a:lnTo>
                          <a:pt x="253" y="54"/>
                        </a:lnTo>
                        <a:lnTo>
                          <a:pt x="270" y="50"/>
                        </a:lnTo>
                        <a:lnTo>
                          <a:pt x="286" y="46"/>
                        </a:lnTo>
                        <a:lnTo>
                          <a:pt x="304" y="39"/>
                        </a:lnTo>
                        <a:lnTo>
                          <a:pt x="323" y="32"/>
                        </a:lnTo>
                        <a:lnTo>
                          <a:pt x="342" y="23"/>
                        </a:lnTo>
                        <a:lnTo>
                          <a:pt x="348" y="10"/>
                        </a:lnTo>
                        <a:lnTo>
                          <a:pt x="352" y="3"/>
                        </a:lnTo>
                        <a:lnTo>
                          <a:pt x="356" y="0"/>
                        </a:lnTo>
                        <a:lnTo>
                          <a:pt x="359" y="1"/>
                        </a:lnTo>
                        <a:lnTo>
                          <a:pt x="363" y="4"/>
                        </a:lnTo>
                        <a:lnTo>
                          <a:pt x="367" y="11"/>
                        </a:lnTo>
                        <a:lnTo>
                          <a:pt x="374" y="20"/>
                        </a:lnTo>
                        <a:lnTo>
                          <a:pt x="382" y="32"/>
                        </a:lnTo>
                        <a:lnTo>
                          <a:pt x="366" y="55"/>
                        </a:lnTo>
                        <a:lnTo>
                          <a:pt x="349" y="65"/>
                        </a:lnTo>
                        <a:lnTo>
                          <a:pt x="329" y="73"/>
                        </a:lnTo>
                        <a:lnTo>
                          <a:pt x="310" y="80"/>
                        </a:lnTo>
                        <a:lnTo>
                          <a:pt x="288" y="86"/>
                        </a:lnTo>
                        <a:lnTo>
                          <a:pt x="266" y="91"/>
                        </a:lnTo>
                        <a:lnTo>
                          <a:pt x="243" y="94"/>
                        </a:lnTo>
                        <a:lnTo>
                          <a:pt x="219" y="96"/>
                        </a:lnTo>
                        <a:lnTo>
                          <a:pt x="196" y="96"/>
                        </a:lnTo>
                        <a:lnTo>
                          <a:pt x="172" y="96"/>
                        </a:lnTo>
                        <a:lnTo>
                          <a:pt x="147" y="95"/>
                        </a:lnTo>
                        <a:lnTo>
                          <a:pt x="124" y="92"/>
                        </a:lnTo>
                        <a:lnTo>
                          <a:pt x="101" y="88"/>
                        </a:lnTo>
                        <a:lnTo>
                          <a:pt x="78" y="84"/>
                        </a:lnTo>
                        <a:lnTo>
                          <a:pt x="58" y="79"/>
                        </a:lnTo>
                        <a:lnTo>
                          <a:pt x="37" y="72"/>
                        </a:lnTo>
                        <a:lnTo>
                          <a:pt x="18" y="65"/>
                        </a:lnTo>
                        <a:lnTo>
                          <a:pt x="12" y="56"/>
                        </a:lnTo>
                        <a:lnTo>
                          <a:pt x="6" y="47"/>
                        </a:lnTo>
                        <a:lnTo>
                          <a:pt x="2" y="38"/>
                        </a:lnTo>
                        <a:lnTo>
                          <a:pt x="0" y="28"/>
                        </a:lnTo>
                        <a:lnTo>
                          <a:pt x="0" y="20"/>
                        </a:lnTo>
                        <a:lnTo>
                          <a:pt x="5" y="13"/>
                        </a:lnTo>
                        <a:lnTo>
                          <a:pt x="12" y="8"/>
                        </a:lnTo>
                        <a:lnTo>
                          <a:pt x="24" y="4"/>
                        </a:lnTo>
                        <a:close/>
                      </a:path>
                    </a:pathLst>
                  </a:custGeom>
                  <a:solidFill>
                    <a:srgbClr val="E6E6E6">
                      <a:alpha val="56078"/>
                    </a:srgbClr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da-DK" kern="0">
                      <a:solidFill>
                        <a:sysClr val="windowText" lastClr="000000"/>
                      </a:solidFill>
                      <a:latin typeface="+mn-lt"/>
                      <a:cs typeface="+mn-cs"/>
                    </a:endParaRPr>
                  </a:p>
                </p:txBody>
              </p:sp>
              <p:sp>
                <p:nvSpPr>
                  <p:cNvPr id="333" name="Freeform 148"/>
                  <p:cNvSpPr>
                    <a:spLocks/>
                  </p:cNvSpPr>
                  <p:nvPr/>
                </p:nvSpPr>
                <p:spPr bwMode="auto">
                  <a:xfrm>
                    <a:off x="15037" y="5257574"/>
                    <a:ext cx="935651" cy="368391"/>
                  </a:xfrm>
                  <a:custGeom>
                    <a:avLst/>
                    <a:gdLst>
                      <a:gd name="T0" fmla="*/ 7 w 483"/>
                      <a:gd name="T1" fmla="*/ 102 h 184"/>
                      <a:gd name="T2" fmla="*/ 18 w 483"/>
                      <a:gd name="T3" fmla="*/ 116 h 184"/>
                      <a:gd name="T4" fmla="*/ 34 w 483"/>
                      <a:gd name="T5" fmla="*/ 130 h 184"/>
                      <a:gd name="T6" fmla="*/ 55 w 483"/>
                      <a:gd name="T7" fmla="*/ 143 h 184"/>
                      <a:gd name="T8" fmla="*/ 80 w 483"/>
                      <a:gd name="T9" fmla="*/ 155 h 184"/>
                      <a:gd name="T10" fmla="*/ 109 w 483"/>
                      <a:gd name="T11" fmla="*/ 165 h 184"/>
                      <a:gd name="T12" fmla="*/ 141 w 483"/>
                      <a:gd name="T13" fmla="*/ 173 h 184"/>
                      <a:gd name="T14" fmla="*/ 176 w 483"/>
                      <a:gd name="T15" fmla="*/ 179 h 184"/>
                      <a:gd name="T16" fmla="*/ 211 w 483"/>
                      <a:gd name="T17" fmla="*/ 182 h 184"/>
                      <a:gd name="T18" fmla="*/ 248 w 483"/>
                      <a:gd name="T19" fmla="*/ 184 h 184"/>
                      <a:gd name="T20" fmla="*/ 285 w 483"/>
                      <a:gd name="T21" fmla="*/ 183 h 184"/>
                      <a:gd name="T22" fmla="*/ 323 w 483"/>
                      <a:gd name="T23" fmla="*/ 180 h 184"/>
                      <a:gd name="T24" fmla="*/ 359 w 483"/>
                      <a:gd name="T25" fmla="*/ 173 h 184"/>
                      <a:gd name="T26" fmla="*/ 393 w 483"/>
                      <a:gd name="T27" fmla="*/ 164 h 184"/>
                      <a:gd name="T28" fmla="*/ 427 w 483"/>
                      <a:gd name="T29" fmla="*/ 151 h 184"/>
                      <a:gd name="T30" fmla="*/ 455 w 483"/>
                      <a:gd name="T31" fmla="*/ 135 h 184"/>
                      <a:gd name="T32" fmla="*/ 482 w 483"/>
                      <a:gd name="T33" fmla="*/ 115 h 184"/>
                      <a:gd name="T34" fmla="*/ 483 w 483"/>
                      <a:gd name="T35" fmla="*/ 93 h 184"/>
                      <a:gd name="T36" fmla="*/ 483 w 483"/>
                      <a:gd name="T37" fmla="*/ 77 h 184"/>
                      <a:gd name="T38" fmla="*/ 482 w 483"/>
                      <a:gd name="T39" fmla="*/ 65 h 184"/>
                      <a:gd name="T40" fmla="*/ 478 w 483"/>
                      <a:gd name="T41" fmla="*/ 54 h 184"/>
                      <a:gd name="T42" fmla="*/ 473 w 483"/>
                      <a:gd name="T43" fmla="*/ 44 h 184"/>
                      <a:gd name="T44" fmla="*/ 463 w 483"/>
                      <a:gd name="T45" fmla="*/ 34 h 184"/>
                      <a:gd name="T46" fmla="*/ 451 w 483"/>
                      <a:gd name="T47" fmla="*/ 22 h 184"/>
                      <a:gd name="T48" fmla="*/ 435 w 483"/>
                      <a:gd name="T49" fmla="*/ 7 h 184"/>
                      <a:gd name="T50" fmla="*/ 416 w 483"/>
                      <a:gd name="T51" fmla="*/ 23 h 184"/>
                      <a:gd name="T52" fmla="*/ 396 w 483"/>
                      <a:gd name="T53" fmla="*/ 37 h 184"/>
                      <a:gd name="T54" fmla="*/ 375 w 483"/>
                      <a:gd name="T55" fmla="*/ 50 h 184"/>
                      <a:gd name="T56" fmla="*/ 353 w 483"/>
                      <a:gd name="T57" fmla="*/ 59 h 184"/>
                      <a:gd name="T58" fmla="*/ 330 w 483"/>
                      <a:gd name="T59" fmla="*/ 67 h 184"/>
                      <a:gd name="T60" fmla="*/ 307 w 483"/>
                      <a:gd name="T61" fmla="*/ 73 h 184"/>
                      <a:gd name="T62" fmla="*/ 284 w 483"/>
                      <a:gd name="T63" fmla="*/ 76 h 184"/>
                      <a:gd name="T64" fmla="*/ 260 w 483"/>
                      <a:gd name="T65" fmla="*/ 78 h 184"/>
                      <a:gd name="T66" fmla="*/ 235 w 483"/>
                      <a:gd name="T67" fmla="*/ 78 h 184"/>
                      <a:gd name="T68" fmla="*/ 211 w 483"/>
                      <a:gd name="T69" fmla="*/ 76 h 184"/>
                      <a:gd name="T70" fmla="*/ 187 w 483"/>
                      <a:gd name="T71" fmla="*/ 73 h 184"/>
                      <a:gd name="T72" fmla="*/ 163 w 483"/>
                      <a:gd name="T73" fmla="*/ 68 h 184"/>
                      <a:gd name="T74" fmla="*/ 140 w 483"/>
                      <a:gd name="T75" fmla="*/ 61 h 184"/>
                      <a:gd name="T76" fmla="*/ 116 w 483"/>
                      <a:gd name="T77" fmla="*/ 53 h 184"/>
                      <a:gd name="T78" fmla="*/ 94 w 483"/>
                      <a:gd name="T79" fmla="*/ 44 h 184"/>
                      <a:gd name="T80" fmla="*/ 72 w 483"/>
                      <a:gd name="T81" fmla="*/ 32 h 184"/>
                      <a:gd name="T82" fmla="*/ 66 w 483"/>
                      <a:gd name="T83" fmla="*/ 0 h 184"/>
                      <a:gd name="T84" fmla="*/ 56 w 483"/>
                      <a:gd name="T85" fmla="*/ 5 h 184"/>
                      <a:gd name="T86" fmla="*/ 42 w 483"/>
                      <a:gd name="T87" fmla="*/ 12 h 184"/>
                      <a:gd name="T88" fmla="*/ 29 w 483"/>
                      <a:gd name="T89" fmla="*/ 20 h 184"/>
                      <a:gd name="T90" fmla="*/ 17 w 483"/>
                      <a:gd name="T91" fmla="*/ 30 h 184"/>
                      <a:gd name="T92" fmla="*/ 7 w 483"/>
                      <a:gd name="T93" fmla="*/ 43 h 184"/>
                      <a:gd name="T94" fmla="*/ 2 w 483"/>
                      <a:gd name="T95" fmla="*/ 59 h 184"/>
                      <a:gd name="T96" fmla="*/ 0 w 483"/>
                      <a:gd name="T97" fmla="*/ 78 h 184"/>
                      <a:gd name="T98" fmla="*/ 7 w 483"/>
                      <a:gd name="T99" fmla="*/ 102 h 184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w 483"/>
                      <a:gd name="T151" fmla="*/ 0 h 184"/>
                      <a:gd name="T152" fmla="*/ 483 w 483"/>
                      <a:gd name="T153" fmla="*/ 184 h 184"/>
                    </a:gdLst>
                    <a:ahLst/>
                    <a:cxnLst>
                      <a:cxn ang="T100">
                        <a:pos x="T0" y="T1"/>
                      </a:cxn>
                      <a:cxn ang="T101">
                        <a:pos x="T2" y="T3"/>
                      </a:cxn>
                      <a:cxn ang="T102">
                        <a:pos x="T4" y="T5"/>
                      </a:cxn>
                      <a:cxn ang="T103">
                        <a:pos x="T6" y="T7"/>
                      </a:cxn>
                      <a:cxn ang="T104">
                        <a:pos x="T8" y="T9"/>
                      </a:cxn>
                      <a:cxn ang="T105">
                        <a:pos x="T10" y="T11"/>
                      </a:cxn>
                      <a:cxn ang="T106">
                        <a:pos x="T12" y="T13"/>
                      </a:cxn>
                      <a:cxn ang="T107">
                        <a:pos x="T14" y="T15"/>
                      </a:cxn>
                      <a:cxn ang="T108">
                        <a:pos x="T16" y="T17"/>
                      </a:cxn>
                      <a:cxn ang="T109">
                        <a:pos x="T18" y="T19"/>
                      </a:cxn>
                      <a:cxn ang="T110">
                        <a:pos x="T20" y="T21"/>
                      </a:cxn>
                      <a:cxn ang="T111">
                        <a:pos x="T22" y="T23"/>
                      </a:cxn>
                      <a:cxn ang="T112">
                        <a:pos x="T24" y="T25"/>
                      </a:cxn>
                      <a:cxn ang="T113">
                        <a:pos x="T26" y="T27"/>
                      </a:cxn>
                      <a:cxn ang="T114">
                        <a:pos x="T28" y="T29"/>
                      </a:cxn>
                      <a:cxn ang="T115">
                        <a:pos x="T30" y="T31"/>
                      </a:cxn>
                      <a:cxn ang="T116">
                        <a:pos x="T32" y="T33"/>
                      </a:cxn>
                      <a:cxn ang="T117">
                        <a:pos x="T34" y="T35"/>
                      </a:cxn>
                      <a:cxn ang="T118">
                        <a:pos x="T36" y="T37"/>
                      </a:cxn>
                      <a:cxn ang="T119">
                        <a:pos x="T38" y="T39"/>
                      </a:cxn>
                      <a:cxn ang="T120">
                        <a:pos x="T40" y="T41"/>
                      </a:cxn>
                      <a:cxn ang="T121">
                        <a:pos x="T42" y="T43"/>
                      </a:cxn>
                      <a:cxn ang="T122">
                        <a:pos x="T44" y="T45"/>
                      </a:cxn>
                      <a:cxn ang="T123">
                        <a:pos x="T46" y="T47"/>
                      </a:cxn>
                      <a:cxn ang="T124">
                        <a:pos x="T48" y="T49"/>
                      </a:cxn>
                      <a:cxn ang="T125">
                        <a:pos x="T50" y="T51"/>
                      </a:cxn>
                      <a:cxn ang="T126">
                        <a:pos x="T52" y="T53"/>
                      </a:cxn>
                      <a:cxn ang="T127">
                        <a:pos x="T54" y="T55"/>
                      </a:cxn>
                      <a:cxn ang="T128">
                        <a:pos x="T56" y="T57"/>
                      </a:cxn>
                      <a:cxn ang="T129">
                        <a:pos x="T58" y="T59"/>
                      </a:cxn>
                      <a:cxn ang="T130">
                        <a:pos x="T60" y="T61"/>
                      </a:cxn>
                      <a:cxn ang="T131">
                        <a:pos x="T62" y="T63"/>
                      </a:cxn>
                      <a:cxn ang="T132">
                        <a:pos x="T64" y="T65"/>
                      </a:cxn>
                      <a:cxn ang="T133">
                        <a:pos x="T66" y="T67"/>
                      </a:cxn>
                      <a:cxn ang="T134">
                        <a:pos x="T68" y="T69"/>
                      </a:cxn>
                      <a:cxn ang="T135">
                        <a:pos x="T70" y="T71"/>
                      </a:cxn>
                      <a:cxn ang="T136">
                        <a:pos x="T72" y="T73"/>
                      </a:cxn>
                      <a:cxn ang="T137">
                        <a:pos x="T74" y="T75"/>
                      </a:cxn>
                      <a:cxn ang="T138">
                        <a:pos x="T76" y="T77"/>
                      </a:cxn>
                      <a:cxn ang="T139">
                        <a:pos x="T78" y="T79"/>
                      </a:cxn>
                      <a:cxn ang="T140">
                        <a:pos x="T80" y="T81"/>
                      </a:cxn>
                      <a:cxn ang="T141">
                        <a:pos x="T82" y="T83"/>
                      </a:cxn>
                      <a:cxn ang="T142">
                        <a:pos x="T84" y="T85"/>
                      </a:cxn>
                      <a:cxn ang="T143">
                        <a:pos x="T86" y="T87"/>
                      </a:cxn>
                      <a:cxn ang="T144">
                        <a:pos x="T88" y="T89"/>
                      </a:cxn>
                      <a:cxn ang="T145">
                        <a:pos x="T90" y="T91"/>
                      </a:cxn>
                      <a:cxn ang="T146">
                        <a:pos x="T92" y="T93"/>
                      </a:cxn>
                      <a:cxn ang="T147">
                        <a:pos x="T94" y="T95"/>
                      </a:cxn>
                      <a:cxn ang="T148">
                        <a:pos x="T96" y="T97"/>
                      </a:cxn>
                      <a:cxn ang="T149">
                        <a:pos x="T98" y="T99"/>
                      </a:cxn>
                    </a:cxnLst>
                    <a:rect l="T150" t="T151" r="T152" b="T153"/>
                    <a:pathLst>
                      <a:path w="483" h="184">
                        <a:moveTo>
                          <a:pt x="7" y="102"/>
                        </a:moveTo>
                        <a:lnTo>
                          <a:pt x="18" y="116"/>
                        </a:lnTo>
                        <a:lnTo>
                          <a:pt x="34" y="130"/>
                        </a:lnTo>
                        <a:lnTo>
                          <a:pt x="55" y="143"/>
                        </a:lnTo>
                        <a:lnTo>
                          <a:pt x="80" y="155"/>
                        </a:lnTo>
                        <a:lnTo>
                          <a:pt x="109" y="165"/>
                        </a:lnTo>
                        <a:lnTo>
                          <a:pt x="141" y="173"/>
                        </a:lnTo>
                        <a:lnTo>
                          <a:pt x="176" y="179"/>
                        </a:lnTo>
                        <a:lnTo>
                          <a:pt x="211" y="182"/>
                        </a:lnTo>
                        <a:lnTo>
                          <a:pt x="248" y="184"/>
                        </a:lnTo>
                        <a:lnTo>
                          <a:pt x="285" y="183"/>
                        </a:lnTo>
                        <a:lnTo>
                          <a:pt x="323" y="180"/>
                        </a:lnTo>
                        <a:lnTo>
                          <a:pt x="359" y="173"/>
                        </a:lnTo>
                        <a:lnTo>
                          <a:pt x="393" y="164"/>
                        </a:lnTo>
                        <a:lnTo>
                          <a:pt x="427" y="151"/>
                        </a:lnTo>
                        <a:lnTo>
                          <a:pt x="455" y="135"/>
                        </a:lnTo>
                        <a:lnTo>
                          <a:pt x="482" y="115"/>
                        </a:lnTo>
                        <a:lnTo>
                          <a:pt x="483" y="93"/>
                        </a:lnTo>
                        <a:lnTo>
                          <a:pt x="483" y="77"/>
                        </a:lnTo>
                        <a:lnTo>
                          <a:pt x="482" y="65"/>
                        </a:lnTo>
                        <a:lnTo>
                          <a:pt x="478" y="54"/>
                        </a:lnTo>
                        <a:lnTo>
                          <a:pt x="473" y="44"/>
                        </a:lnTo>
                        <a:lnTo>
                          <a:pt x="463" y="34"/>
                        </a:lnTo>
                        <a:lnTo>
                          <a:pt x="451" y="22"/>
                        </a:lnTo>
                        <a:lnTo>
                          <a:pt x="435" y="7"/>
                        </a:lnTo>
                        <a:lnTo>
                          <a:pt x="416" y="23"/>
                        </a:lnTo>
                        <a:lnTo>
                          <a:pt x="396" y="37"/>
                        </a:lnTo>
                        <a:lnTo>
                          <a:pt x="375" y="50"/>
                        </a:lnTo>
                        <a:lnTo>
                          <a:pt x="353" y="59"/>
                        </a:lnTo>
                        <a:lnTo>
                          <a:pt x="330" y="67"/>
                        </a:lnTo>
                        <a:lnTo>
                          <a:pt x="307" y="73"/>
                        </a:lnTo>
                        <a:lnTo>
                          <a:pt x="284" y="76"/>
                        </a:lnTo>
                        <a:lnTo>
                          <a:pt x="260" y="78"/>
                        </a:lnTo>
                        <a:lnTo>
                          <a:pt x="235" y="78"/>
                        </a:lnTo>
                        <a:lnTo>
                          <a:pt x="211" y="76"/>
                        </a:lnTo>
                        <a:lnTo>
                          <a:pt x="187" y="73"/>
                        </a:lnTo>
                        <a:lnTo>
                          <a:pt x="163" y="68"/>
                        </a:lnTo>
                        <a:lnTo>
                          <a:pt x="140" y="61"/>
                        </a:lnTo>
                        <a:lnTo>
                          <a:pt x="116" y="53"/>
                        </a:lnTo>
                        <a:lnTo>
                          <a:pt x="94" y="44"/>
                        </a:lnTo>
                        <a:lnTo>
                          <a:pt x="72" y="32"/>
                        </a:lnTo>
                        <a:lnTo>
                          <a:pt x="66" y="0"/>
                        </a:lnTo>
                        <a:lnTo>
                          <a:pt x="56" y="5"/>
                        </a:lnTo>
                        <a:lnTo>
                          <a:pt x="42" y="12"/>
                        </a:lnTo>
                        <a:lnTo>
                          <a:pt x="29" y="20"/>
                        </a:lnTo>
                        <a:lnTo>
                          <a:pt x="17" y="30"/>
                        </a:lnTo>
                        <a:lnTo>
                          <a:pt x="7" y="43"/>
                        </a:lnTo>
                        <a:lnTo>
                          <a:pt x="2" y="59"/>
                        </a:lnTo>
                        <a:lnTo>
                          <a:pt x="0" y="78"/>
                        </a:lnTo>
                        <a:lnTo>
                          <a:pt x="7" y="102"/>
                        </a:lnTo>
                        <a:close/>
                      </a:path>
                    </a:pathLst>
                  </a:custGeom>
                  <a:solidFill>
                    <a:srgbClr val="E6E6E6">
                      <a:alpha val="56078"/>
                    </a:srgbClr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da-DK" kern="0">
                      <a:solidFill>
                        <a:sysClr val="windowText" lastClr="000000"/>
                      </a:solidFill>
                      <a:latin typeface="+mn-lt"/>
                      <a:cs typeface="+mn-cs"/>
                    </a:endParaRPr>
                  </a:p>
                </p:txBody>
              </p:sp>
              <p:sp>
                <p:nvSpPr>
                  <p:cNvPr id="334" name="Freeform 184"/>
                  <p:cNvSpPr>
                    <a:spLocks/>
                  </p:cNvSpPr>
                  <p:nvPr/>
                </p:nvSpPr>
                <p:spPr bwMode="auto">
                  <a:xfrm>
                    <a:off x="413184" y="3493211"/>
                    <a:ext cx="199073" cy="135715"/>
                  </a:xfrm>
                  <a:custGeom>
                    <a:avLst/>
                    <a:gdLst>
                      <a:gd name="T0" fmla="*/ 48 w 95"/>
                      <a:gd name="T1" fmla="*/ 0 h 72"/>
                      <a:gd name="T2" fmla="*/ 57 w 95"/>
                      <a:gd name="T3" fmla="*/ 2 h 72"/>
                      <a:gd name="T4" fmla="*/ 66 w 95"/>
                      <a:gd name="T5" fmla="*/ 3 h 72"/>
                      <a:gd name="T6" fmla="*/ 74 w 95"/>
                      <a:gd name="T7" fmla="*/ 6 h 72"/>
                      <a:gd name="T8" fmla="*/ 81 w 95"/>
                      <a:gd name="T9" fmla="*/ 11 h 72"/>
                      <a:gd name="T10" fmla="*/ 87 w 95"/>
                      <a:gd name="T11" fmla="*/ 16 h 72"/>
                      <a:gd name="T12" fmla="*/ 91 w 95"/>
                      <a:gd name="T13" fmla="*/ 22 h 72"/>
                      <a:gd name="T14" fmla="*/ 94 w 95"/>
                      <a:gd name="T15" fmla="*/ 29 h 72"/>
                      <a:gd name="T16" fmla="*/ 95 w 95"/>
                      <a:gd name="T17" fmla="*/ 36 h 72"/>
                      <a:gd name="T18" fmla="*/ 94 w 95"/>
                      <a:gd name="T19" fmla="*/ 43 h 72"/>
                      <a:gd name="T20" fmla="*/ 91 w 95"/>
                      <a:gd name="T21" fmla="*/ 50 h 72"/>
                      <a:gd name="T22" fmla="*/ 87 w 95"/>
                      <a:gd name="T23" fmla="*/ 56 h 72"/>
                      <a:gd name="T24" fmla="*/ 81 w 95"/>
                      <a:gd name="T25" fmla="*/ 61 h 72"/>
                      <a:gd name="T26" fmla="*/ 74 w 95"/>
                      <a:gd name="T27" fmla="*/ 66 h 72"/>
                      <a:gd name="T28" fmla="*/ 66 w 95"/>
                      <a:gd name="T29" fmla="*/ 69 h 72"/>
                      <a:gd name="T30" fmla="*/ 57 w 95"/>
                      <a:gd name="T31" fmla="*/ 71 h 72"/>
                      <a:gd name="T32" fmla="*/ 48 w 95"/>
                      <a:gd name="T33" fmla="*/ 72 h 72"/>
                      <a:gd name="T34" fmla="*/ 38 w 95"/>
                      <a:gd name="T35" fmla="*/ 71 h 72"/>
                      <a:gd name="T36" fmla="*/ 29 w 95"/>
                      <a:gd name="T37" fmla="*/ 69 h 72"/>
                      <a:gd name="T38" fmla="*/ 21 w 95"/>
                      <a:gd name="T39" fmla="*/ 66 h 72"/>
                      <a:gd name="T40" fmla="*/ 14 w 95"/>
                      <a:gd name="T41" fmla="*/ 61 h 72"/>
                      <a:gd name="T42" fmla="*/ 8 w 95"/>
                      <a:gd name="T43" fmla="*/ 56 h 72"/>
                      <a:gd name="T44" fmla="*/ 4 w 95"/>
                      <a:gd name="T45" fmla="*/ 50 h 72"/>
                      <a:gd name="T46" fmla="*/ 2 w 95"/>
                      <a:gd name="T47" fmla="*/ 43 h 72"/>
                      <a:gd name="T48" fmla="*/ 0 w 95"/>
                      <a:gd name="T49" fmla="*/ 36 h 72"/>
                      <a:gd name="T50" fmla="*/ 2 w 95"/>
                      <a:gd name="T51" fmla="*/ 29 h 72"/>
                      <a:gd name="T52" fmla="*/ 4 w 95"/>
                      <a:gd name="T53" fmla="*/ 22 h 72"/>
                      <a:gd name="T54" fmla="*/ 8 w 95"/>
                      <a:gd name="T55" fmla="*/ 16 h 72"/>
                      <a:gd name="T56" fmla="*/ 14 w 95"/>
                      <a:gd name="T57" fmla="*/ 11 h 72"/>
                      <a:gd name="T58" fmla="*/ 21 w 95"/>
                      <a:gd name="T59" fmla="*/ 6 h 72"/>
                      <a:gd name="T60" fmla="*/ 29 w 95"/>
                      <a:gd name="T61" fmla="*/ 3 h 72"/>
                      <a:gd name="T62" fmla="*/ 38 w 95"/>
                      <a:gd name="T63" fmla="*/ 2 h 72"/>
                      <a:gd name="T64" fmla="*/ 48 w 95"/>
                      <a:gd name="T65" fmla="*/ 0 h 72"/>
                      <a:gd name="T66" fmla="*/ 0 60000 65536"/>
                      <a:gd name="T67" fmla="*/ 0 60000 65536"/>
                      <a:gd name="T68" fmla="*/ 0 60000 65536"/>
                      <a:gd name="T69" fmla="*/ 0 60000 65536"/>
                      <a:gd name="T70" fmla="*/ 0 60000 65536"/>
                      <a:gd name="T71" fmla="*/ 0 60000 65536"/>
                      <a:gd name="T72" fmla="*/ 0 60000 65536"/>
                      <a:gd name="T73" fmla="*/ 0 60000 65536"/>
                      <a:gd name="T74" fmla="*/ 0 60000 65536"/>
                      <a:gd name="T75" fmla="*/ 0 60000 65536"/>
                      <a:gd name="T76" fmla="*/ 0 60000 65536"/>
                      <a:gd name="T77" fmla="*/ 0 60000 65536"/>
                      <a:gd name="T78" fmla="*/ 0 60000 65536"/>
                      <a:gd name="T79" fmla="*/ 0 60000 65536"/>
                      <a:gd name="T80" fmla="*/ 0 60000 65536"/>
                      <a:gd name="T81" fmla="*/ 0 60000 65536"/>
                      <a:gd name="T82" fmla="*/ 0 60000 65536"/>
                      <a:gd name="T83" fmla="*/ 0 60000 65536"/>
                      <a:gd name="T84" fmla="*/ 0 60000 65536"/>
                      <a:gd name="T85" fmla="*/ 0 60000 655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w 95"/>
                      <a:gd name="T100" fmla="*/ 0 h 72"/>
                      <a:gd name="T101" fmla="*/ 95 w 95"/>
                      <a:gd name="T102" fmla="*/ 72 h 72"/>
                    </a:gdLst>
                    <a:ahLst/>
                    <a:cxnLst>
                      <a:cxn ang="T66">
                        <a:pos x="T0" y="T1"/>
                      </a:cxn>
                      <a:cxn ang="T67">
                        <a:pos x="T2" y="T3"/>
                      </a:cxn>
                      <a:cxn ang="T68">
                        <a:pos x="T4" y="T5"/>
                      </a:cxn>
                      <a:cxn ang="T69">
                        <a:pos x="T6" y="T7"/>
                      </a:cxn>
                      <a:cxn ang="T70">
                        <a:pos x="T8" y="T9"/>
                      </a:cxn>
                      <a:cxn ang="T71">
                        <a:pos x="T10" y="T11"/>
                      </a:cxn>
                      <a:cxn ang="T72">
                        <a:pos x="T12" y="T13"/>
                      </a:cxn>
                      <a:cxn ang="T73">
                        <a:pos x="T14" y="T15"/>
                      </a:cxn>
                      <a:cxn ang="T74">
                        <a:pos x="T16" y="T17"/>
                      </a:cxn>
                      <a:cxn ang="T75">
                        <a:pos x="T18" y="T19"/>
                      </a:cxn>
                      <a:cxn ang="T76">
                        <a:pos x="T20" y="T21"/>
                      </a:cxn>
                      <a:cxn ang="T77">
                        <a:pos x="T22" y="T23"/>
                      </a:cxn>
                      <a:cxn ang="T78">
                        <a:pos x="T24" y="T25"/>
                      </a:cxn>
                      <a:cxn ang="T79">
                        <a:pos x="T26" y="T27"/>
                      </a:cxn>
                      <a:cxn ang="T80">
                        <a:pos x="T28" y="T29"/>
                      </a:cxn>
                      <a:cxn ang="T81">
                        <a:pos x="T30" y="T31"/>
                      </a:cxn>
                      <a:cxn ang="T82">
                        <a:pos x="T32" y="T33"/>
                      </a:cxn>
                      <a:cxn ang="T83">
                        <a:pos x="T34" y="T35"/>
                      </a:cxn>
                      <a:cxn ang="T84">
                        <a:pos x="T36" y="T37"/>
                      </a:cxn>
                      <a:cxn ang="T85">
                        <a:pos x="T38" y="T39"/>
                      </a:cxn>
                      <a:cxn ang="T86">
                        <a:pos x="T40" y="T41"/>
                      </a:cxn>
                      <a:cxn ang="T87">
                        <a:pos x="T42" y="T43"/>
                      </a:cxn>
                      <a:cxn ang="T88">
                        <a:pos x="T44" y="T45"/>
                      </a:cxn>
                      <a:cxn ang="T89">
                        <a:pos x="T46" y="T47"/>
                      </a:cxn>
                      <a:cxn ang="T90">
                        <a:pos x="T48" y="T49"/>
                      </a:cxn>
                      <a:cxn ang="T91">
                        <a:pos x="T50" y="T51"/>
                      </a:cxn>
                      <a:cxn ang="T92">
                        <a:pos x="T52" y="T53"/>
                      </a:cxn>
                      <a:cxn ang="T93">
                        <a:pos x="T54" y="T55"/>
                      </a:cxn>
                      <a:cxn ang="T94">
                        <a:pos x="T56" y="T57"/>
                      </a:cxn>
                      <a:cxn ang="T95">
                        <a:pos x="T58" y="T59"/>
                      </a:cxn>
                      <a:cxn ang="T96">
                        <a:pos x="T60" y="T61"/>
                      </a:cxn>
                      <a:cxn ang="T97">
                        <a:pos x="T62" y="T63"/>
                      </a:cxn>
                      <a:cxn ang="T98">
                        <a:pos x="T64" y="T65"/>
                      </a:cxn>
                    </a:cxnLst>
                    <a:rect l="T99" t="T100" r="T101" b="T102"/>
                    <a:pathLst>
                      <a:path w="95" h="72">
                        <a:moveTo>
                          <a:pt x="48" y="0"/>
                        </a:moveTo>
                        <a:lnTo>
                          <a:pt x="57" y="2"/>
                        </a:lnTo>
                        <a:lnTo>
                          <a:pt x="66" y="3"/>
                        </a:lnTo>
                        <a:lnTo>
                          <a:pt x="74" y="6"/>
                        </a:lnTo>
                        <a:lnTo>
                          <a:pt x="81" y="11"/>
                        </a:lnTo>
                        <a:lnTo>
                          <a:pt x="87" y="16"/>
                        </a:lnTo>
                        <a:lnTo>
                          <a:pt x="91" y="22"/>
                        </a:lnTo>
                        <a:lnTo>
                          <a:pt x="94" y="29"/>
                        </a:lnTo>
                        <a:lnTo>
                          <a:pt x="95" y="36"/>
                        </a:lnTo>
                        <a:lnTo>
                          <a:pt x="94" y="43"/>
                        </a:lnTo>
                        <a:lnTo>
                          <a:pt x="91" y="50"/>
                        </a:lnTo>
                        <a:lnTo>
                          <a:pt x="87" y="56"/>
                        </a:lnTo>
                        <a:lnTo>
                          <a:pt x="81" y="61"/>
                        </a:lnTo>
                        <a:lnTo>
                          <a:pt x="74" y="66"/>
                        </a:lnTo>
                        <a:lnTo>
                          <a:pt x="66" y="69"/>
                        </a:lnTo>
                        <a:lnTo>
                          <a:pt x="57" y="71"/>
                        </a:lnTo>
                        <a:lnTo>
                          <a:pt x="48" y="72"/>
                        </a:lnTo>
                        <a:lnTo>
                          <a:pt x="38" y="71"/>
                        </a:lnTo>
                        <a:lnTo>
                          <a:pt x="29" y="69"/>
                        </a:lnTo>
                        <a:lnTo>
                          <a:pt x="21" y="66"/>
                        </a:lnTo>
                        <a:lnTo>
                          <a:pt x="14" y="61"/>
                        </a:lnTo>
                        <a:lnTo>
                          <a:pt x="8" y="56"/>
                        </a:lnTo>
                        <a:lnTo>
                          <a:pt x="4" y="50"/>
                        </a:lnTo>
                        <a:lnTo>
                          <a:pt x="2" y="43"/>
                        </a:lnTo>
                        <a:lnTo>
                          <a:pt x="0" y="36"/>
                        </a:lnTo>
                        <a:lnTo>
                          <a:pt x="2" y="29"/>
                        </a:lnTo>
                        <a:lnTo>
                          <a:pt x="4" y="22"/>
                        </a:lnTo>
                        <a:lnTo>
                          <a:pt x="8" y="16"/>
                        </a:lnTo>
                        <a:lnTo>
                          <a:pt x="14" y="11"/>
                        </a:lnTo>
                        <a:lnTo>
                          <a:pt x="21" y="6"/>
                        </a:lnTo>
                        <a:lnTo>
                          <a:pt x="29" y="3"/>
                        </a:lnTo>
                        <a:lnTo>
                          <a:pt x="38" y="2"/>
                        </a:lnTo>
                        <a:lnTo>
                          <a:pt x="48" y="0"/>
                        </a:lnTo>
                        <a:close/>
                      </a:path>
                    </a:pathLst>
                  </a:custGeom>
                  <a:solidFill>
                    <a:srgbClr val="E6E6E6">
                      <a:alpha val="56078"/>
                    </a:srgbClr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da-DK" kern="0">
                      <a:solidFill>
                        <a:sysClr val="windowText" lastClr="000000"/>
                      </a:solidFill>
                      <a:latin typeface="+mn-lt"/>
                      <a:cs typeface="+mn-cs"/>
                    </a:endParaRPr>
                  </a:p>
                </p:txBody>
              </p:sp>
            </p:grpSp>
            <p:grpSp>
              <p:nvGrpSpPr>
                <p:cNvPr id="322" name="Gruppe 814"/>
                <p:cNvGrpSpPr/>
                <p:nvPr/>
              </p:nvGrpSpPr>
              <p:grpSpPr>
                <a:xfrm>
                  <a:off x="265107" y="3978662"/>
                  <a:ext cx="743434" cy="1774457"/>
                  <a:chOff x="3656013" y="3713163"/>
                  <a:chExt cx="684213" cy="1633098"/>
                </a:xfrm>
                <a:solidFill>
                  <a:srgbClr val="FFFFFF">
                    <a:alpha val="9000"/>
                  </a:srgbClr>
                </a:solidFill>
              </p:grpSpPr>
              <p:sp>
                <p:nvSpPr>
                  <p:cNvPr id="323" name="Freeform 330"/>
                  <p:cNvSpPr>
                    <a:spLocks/>
                  </p:cNvSpPr>
                  <p:nvPr/>
                </p:nvSpPr>
                <p:spPr bwMode="auto">
                  <a:xfrm>
                    <a:off x="3656013" y="4872038"/>
                    <a:ext cx="684213" cy="173038"/>
                  </a:xfrm>
                  <a:custGeom>
                    <a:avLst/>
                    <a:gdLst/>
                    <a:ahLst/>
                    <a:cxnLst>
                      <a:cxn ang="0">
                        <a:pos x="27" y="5"/>
                      </a:cxn>
                      <a:cxn ang="0">
                        <a:pos x="77" y="45"/>
                      </a:cxn>
                      <a:cxn ang="0">
                        <a:pos x="100" y="51"/>
                      </a:cxn>
                      <a:cxn ang="0">
                        <a:pos x="122" y="54"/>
                      </a:cxn>
                      <a:cxn ang="0">
                        <a:pos x="143" y="60"/>
                      </a:cxn>
                      <a:cxn ang="0">
                        <a:pos x="162" y="62"/>
                      </a:cxn>
                      <a:cxn ang="0">
                        <a:pos x="180" y="65"/>
                      </a:cxn>
                      <a:cxn ang="0">
                        <a:pos x="199" y="67"/>
                      </a:cxn>
                      <a:cxn ang="0">
                        <a:pos x="217" y="67"/>
                      </a:cxn>
                      <a:cxn ang="0">
                        <a:pos x="234" y="67"/>
                      </a:cxn>
                      <a:cxn ang="0">
                        <a:pos x="251" y="66"/>
                      </a:cxn>
                      <a:cxn ang="0">
                        <a:pos x="267" y="65"/>
                      </a:cxn>
                      <a:cxn ang="0">
                        <a:pos x="286" y="61"/>
                      </a:cxn>
                      <a:cxn ang="0">
                        <a:pos x="304" y="57"/>
                      </a:cxn>
                      <a:cxn ang="0">
                        <a:pos x="322" y="52"/>
                      </a:cxn>
                      <a:cxn ang="0">
                        <a:pos x="343" y="44"/>
                      </a:cxn>
                      <a:cxn ang="0">
                        <a:pos x="363" y="36"/>
                      </a:cxn>
                      <a:cxn ang="0">
                        <a:pos x="386" y="26"/>
                      </a:cxn>
                      <a:cxn ang="0">
                        <a:pos x="392" y="12"/>
                      </a:cxn>
                      <a:cxn ang="0">
                        <a:pos x="397" y="4"/>
                      </a:cxn>
                      <a:cxn ang="0">
                        <a:pos x="401" y="0"/>
                      </a:cxn>
                      <a:cxn ang="0">
                        <a:pos x="405" y="1"/>
                      </a:cxn>
                      <a:cxn ang="0">
                        <a:pos x="409" y="5"/>
                      </a:cxn>
                      <a:cxn ang="0">
                        <a:pos x="414" y="13"/>
                      </a:cxn>
                      <a:cxn ang="0">
                        <a:pos x="422" y="23"/>
                      </a:cxn>
                      <a:cxn ang="0">
                        <a:pos x="431" y="36"/>
                      </a:cxn>
                      <a:cxn ang="0">
                        <a:pos x="413" y="62"/>
                      </a:cxn>
                      <a:cxn ang="0">
                        <a:pos x="393" y="74"/>
                      </a:cxn>
                      <a:cxn ang="0">
                        <a:pos x="371" y="83"/>
                      </a:cxn>
                      <a:cxn ang="0">
                        <a:pos x="349" y="91"/>
                      </a:cxn>
                      <a:cxn ang="0">
                        <a:pos x="325" y="97"/>
                      </a:cxn>
                      <a:cxn ang="0">
                        <a:pos x="300" y="103"/>
                      </a:cxn>
                      <a:cxn ang="0">
                        <a:pos x="274" y="106"/>
                      </a:cxn>
                      <a:cxn ang="0">
                        <a:pos x="247" y="109"/>
                      </a:cxn>
                      <a:cxn ang="0">
                        <a:pos x="221" y="109"/>
                      </a:cxn>
                      <a:cxn ang="0">
                        <a:pos x="193" y="109"/>
                      </a:cxn>
                      <a:cxn ang="0">
                        <a:pos x="166" y="108"/>
                      </a:cxn>
                      <a:cxn ang="0">
                        <a:pos x="140" y="104"/>
                      </a:cxn>
                      <a:cxn ang="0">
                        <a:pos x="114" y="100"/>
                      </a:cxn>
                      <a:cxn ang="0">
                        <a:pos x="88" y="95"/>
                      </a:cxn>
                      <a:cxn ang="0">
                        <a:pos x="65" y="90"/>
                      </a:cxn>
                      <a:cxn ang="0">
                        <a:pos x="42" y="82"/>
                      </a:cxn>
                      <a:cxn ang="0">
                        <a:pos x="21" y="74"/>
                      </a:cxn>
                      <a:cxn ang="0">
                        <a:pos x="13" y="64"/>
                      </a:cxn>
                      <a:cxn ang="0">
                        <a:pos x="7" y="53"/>
                      </a:cxn>
                      <a:cxn ang="0">
                        <a:pos x="3" y="43"/>
                      </a:cxn>
                      <a:cxn ang="0">
                        <a:pos x="0" y="32"/>
                      </a:cxn>
                      <a:cxn ang="0">
                        <a:pos x="0" y="23"/>
                      </a:cxn>
                      <a:cxn ang="0">
                        <a:pos x="5" y="16"/>
                      </a:cxn>
                      <a:cxn ang="0">
                        <a:pos x="13" y="9"/>
                      </a:cxn>
                      <a:cxn ang="0">
                        <a:pos x="27" y="5"/>
                      </a:cxn>
                    </a:cxnLst>
                    <a:rect l="0" t="0" r="r" b="b"/>
                    <a:pathLst>
                      <a:path w="431" h="109">
                        <a:moveTo>
                          <a:pt x="27" y="5"/>
                        </a:moveTo>
                        <a:lnTo>
                          <a:pt x="77" y="45"/>
                        </a:lnTo>
                        <a:lnTo>
                          <a:pt x="100" y="51"/>
                        </a:lnTo>
                        <a:lnTo>
                          <a:pt x="122" y="54"/>
                        </a:lnTo>
                        <a:lnTo>
                          <a:pt x="143" y="60"/>
                        </a:lnTo>
                        <a:lnTo>
                          <a:pt x="162" y="62"/>
                        </a:lnTo>
                        <a:lnTo>
                          <a:pt x="180" y="65"/>
                        </a:lnTo>
                        <a:lnTo>
                          <a:pt x="199" y="67"/>
                        </a:lnTo>
                        <a:lnTo>
                          <a:pt x="217" y="67"/>
                        </a:lnTo>
                        <a:lnTo>
                          <a:pt x="234" y="67"/>
                        </a:lnTo>
                        <a:lnTo>
                          <a:pt x="251" y="66"/>
                        </a:lnTo>
                        <a:lnTo>
                          <a:pt x="267" y="65"/>
                        </a:lnTo>
                        <a:lnTo>
                          <a:pt x="286" y="61"/>
                        </a:lnTo>
                        <a:lnTo>
                          <a:pt x="304" y="57"/>
                        </a:lnTo>
                        <a:lnTo>
                          <a:pt x="322" y="52"/>
                        </a:lnTo>
                        <a:lnTo>
                          <a:pt x="343" y="44"/>
                        </a:lnTo>
                        <a:lnTo>
                          <a:pt x="363" y="36"/>
                        </a:lnTo>
                        <a:lnTo>
                          <a:pt x="386" y="26"/>
                        </a:lnTo>
                        <a:lnTo>
                          <a:pt x="392" y="12"/>
                        </a:lnTo>
                        <a:lnTo>
                          <a:pt x="397" y="4"/>
                        </a:lnTo>
                        <a:lnTo>
                          <a:pt x="401" y="0"/>
                        </a:lnTo>
                        <a:lnTo>
                          <a:pt x="405" y="1"/>
                        </a:lnTo>
                        <a:lnTo>
                          <a:pt x="409" y="5"/>
                        </a:lnTo>
                        <a:lnTo>
                          <a:pt x="414" y="13"/>
                        </a:lnTo>
                        <a:lnTo>
                          <a:pt x="422" y="23"/>
                        </a:lnTo>
                        <a:lnTo>
                          <a:pt x="431" y="36"/>
                        </a:lnTo>
                        <a:lnTo>
                          <a:pt x="413" y="62"/>
                        </a:lnTo>
                        <a:lnTo>
                          <a:pt x="393" y="74"/>
                        </a:lnTo>
                        <a:lnTo>
                          <a:pt x="371" y="83"/>
                        </a:lnTo>
                        <a:lnTo>
                          <a:pt x="349" y="91"/>
                        </a:lnTo>
                        <a:lnTo>
                          <a:pt x="325" y="97"/>
                        </a:lnTo>
                        <a:lnTo>
                          <a:pt x="300" y="103"/>
                        </a:lnTo>
                        <a:lnTo>
                          <a:pt x="274" y="106"/>
                        </a:lnTo>
                        <a:lnTo>
                          <a:pt x="247" y="109"/>
                        </a:lnTo>
                        <a:lnTo>
                          <a:pt x="221" y="109"/>
                        </a:lnTo>
                        <a:lnTo>
                          <a:pt x="193" y="109"/>
                        </a:lnTo>
                        <a:lnTo>
                          <a:pt x="166" y="108"/>
                        </a:lnTo>
                        <a:lnTo>
                          <a:pt x="140" y="104"/>
                        </a:lnTo>
                        <a:lnTo>
                          <a:pt x="114" y="100"/>
                        </a:lnTo>
                        <a:lnTo>
                          <a:pt x="88" y="95"/>
                        </a:lnTo>
                        <a:lnTo>
                          <a:pt x="65" y="90"/>
                        </a:lnTo>
                        <a:lnTo>
                          <a:pt x="42" y="82"/>
                        </a:lnTo>
                        <a:lnTo>
                          <a:pt x="21" y="74"/>
                        </a:lnTo>
                        <a:lnTo>
                          <a:pt x="13" y="64"/>
                        </a:lnTo>
                        <a:lnTo>
                          <a:pt x="7" y="53"/>
                        </a:lnTo>
                        <a:lnTo>
                          <a:pt x="3" y="43"/>
                        </a:lnTo>
                        <a:lnTo>
                          <a:pt x="0" y="32"/>
                        </a:lnTo>
                        <a:lnTo>
                          <a:pt x="0" y="23"/>
                        </a:lnTo>
                        <a:lnTo>
                          <a:pt x="5" y="16"/>
                        </a:lnTo>
                        <a:lnTo>
                          <a:pt x="13" y="9"/>
                        </a:lnTo>
                        <a:lnTo>
                          <a:pt x="27" y="5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da-DK" kern="0">
                      <a:solidFill>
                        <a:sysClr val="windowText" lastClr="000000"/>
                      </a:solidFill>
                      <a:latin typeface="+mn-lt"/>
                      <a:ea typeface="ＭＳ Ｐゴシック" pitchFamily="-97" charset="-128"/>
                      <a:cs typeface="+mn-cs"/>
                    </a:endParaRPr>
                  </a:p>
                </p:txBody>
              </p:sp>
              <p:sp>
                <p:nvSpPr>
                  <p:cNvPr id="324" name="Freeform 336"/>
                  <p:cNvSpPr>
                    <a:spLocks/>
                  </p:cNvSpPr>
                  <p:nvPr/>
                </p:nvSpPr>
                <p:spPr bwMode="auto">
                  <a:xfrm>
                    <a:off x="3781425" y="5231961"/>
                    <a:ext cx="490538" cy="114300"/>
                  </a:xfrm>
                  <a:custGeom>
                    <a:avLst/>
                    <a:gdLst/>
                    <a:ahLst/>
                    <a:cxnLst>
                      <a:cxn ang="0">
                        <a:pos x="0" y="29"/>
                      </a:cxn>
                      <a:cxn ang="0">
                        <a:pos x="3" y="37"/>
                      </a:cxn>
                      <a:cxn ang="0">
                        <a:pos x="7" y="45"/>
                      </a:cxn>
                      <a:cxn ang="0">
                        <a:pos x="11" y="53"/>
                      </a:cxn>
                      <a:cxn ang="0">
                        <a:pos x="15" y="61"/>
                      </a:cxn>
                      <a:cxn ang="0">
                        <a:pos x="22" y="62"/>
                      </a:cxn>
                      <a:cxn ang="0">
                        <a:pos x="29" y="63"/>
                      </a:cxn>
                      <a:cxn ang="0">
                        <a:pos x="37" y="65"/>
                      </a:cxn>
                      <a:cxn ang="0">
                        <a:pos x="44" y="66"/>
                      </a:cxn>
                      <a:cxn ang="0">
                        <a:pos x="51" y="67"/>
                      </a:cxn>
                      <a:cxn ang="0">
                        <a:pos x="59" y="68"/>
                      </a:cxn>
                      <a:cxn ang="0">
                        <a:pos x="65" y="71"/>
                      </a:cxn>
                      <a:cxn ang="0">
                        <a:pos x="73" y="72"/>
                      </a:cxn>
                      <a:cxn ang="0">
                        <a:pos x="91" y="72"/>
                      </a:cxn>
                      <a:cxn ang="0">
                        <a:pos x="109" y="71"/>
                      </a:cxn>
                      <a:cxn ang="0">
                        <a:pos x="127" y="71"/>
                      </a:cxn>
                      <a:cxn ang="0">
                        <a:pos x="146" y="70"/>
                      </a:cxn>
                      <a:cxn ang="0">
                        <a:pos x="164" y="70"/>
                      </a:cxn>
                      <a:cxn ang="0">
                        <a:pos x="183" y="68"/>
                      </a:cxn>
                      <a:cxn ang="0">
                        <a:pos x="201" y="68"/>
                      </a:cxn>
                      <a:cxn ang="0">
                        <a:pos x="220" y="67"/>
                      </a:cxn>
                      <a:cxn ang="0">
                        <a:pos x="231" y="65"/>
                      </a:cxn>
                      <a:cxn ang="0">
                        <a:pos x="242" y="61"/>
                      </a:cxn>
                      <a:cxn ang="0">
                        <a:pos x="253" y="58"/>
                      </a:cxn>
                      <a:cxn ang="0">
                        <a:pos x="265" y="54"/>
                      </a:cxn>
                      <a:cxn ang="0">
                        <a:pos x="275" y="52"/>
                      </a:cxn>
                      <a:cxn ang="0">
                        <a:pos x="287" y="48"/>
                      </a:cxn>
                      <a:cxn ang="0">
                        <a:pos x="297" y="45"/>
                      </a:cxn>
                      <a:cxn ang="0">
                        <a:pos x="309" y="41"/>
                      </a:cxn>
                      <a:cxn ang="0">
                        <a:pos x="309" y="26"/>
                      </a:cxn>
                      <a:cxn ang="0">
                        <a:pos x="307" y="13"/>
                      </a:cxn>
                      <a:cxn ang="0">
                        <a:pos x="303" y="5"/>
                      </a:cxn>
                      <a:cxn ang="0">
                        <a:pos x="297" y="1"/>
                      </a:cxn>
                      <a:cxn ang="0">
                        <a:pos x="290" y="0"/>
                      </a:cxn>
                      <a:cxn ang="0">
                        <a:pos x="279" y="0"/>
                      </a:cxn>
                      <a:cxn ang="0">
                        <a:pos x="268" y="4"/>
                      </a:cxn>
                      <a:cxn ang="0">
                        <a:pos x="252" y="9"/>
                      </a:cxn>
                      <a:cxn ang="0">
                        <a:pos x="242" y="9"/>
                      </a:cxn>
                      <a:cxn ang="0">
                        <a:pos x="231" y="10"/>
                      </a:cxn>
                      <a:cxn ang="0">
                        <a:pos x="221" y="10"/>
                      </a:cxn>
                      <a:cxn ang="0">
                        <a:pos x="211" y="10"/>
                      </a:cxn>
                      <a:cxn ang="0">
                        <a:pos x="200" y="10"/>
                      </a:cxn>
                      <a:cxn ang="0">
                        <a:pos x="188" y="10"/>
                      </a:cxn>
                      <a:cxn ang="0">
                        <a:pos x="178" y="11"/>
                      </a:cxn>
                      <a:cxn ang="0">
                        <a:pos x="168" y="11"/>
                      </a:cxn>
                      <a:cxn ang="0">
                        <a:pos x="140" y="10"/>
                      </a:cxn>
                      <a:cxn ang="0">
                        <a:pos x="116" y="9"/>
                      </a:cxn>
                      <a:cxn ang="0">
                        <a:pos x="96" y="6"/>
                      </a:cxn>
                      <a:cxn ang="0">
                        <a:pos x="77" y="5"/>
                      </a:cxn>
                      <a:cxn ang="0">
                        <a:pos x="60" y="6"/>
                      </a:cxn>
                      <a:cxn ang="0">
                        <a:pos x="42" y="9"/>
                      </a:cxn>
                      <a:cxn ang="0">
                        <a:pos x="22" y="16"/>
                      </a:cxn>
                      <a:cxn ang="0">
                        <a:pos x="0" y="29"/>
                      </a:cxn>
                    </a:cxnLst>
                    <a:rect l="0" t="0" r="r" b="b"/>
                    <a:pathLst>
                      <a:path w="309" h="72">
                        <a:moveTo>
                          <a:pt x="0" y="29"/>
                        </a:moveTo>
                        <a:lnTo>
                          <a:pt x="3" y="37"/>
                        </a:lnTo>
                        <a:lnTo>
                          <a:pt x="7" y="45"/>
                        </a:lnTo>
                        <a:lnTo>
                          <a:pt x="11" y="53"/>
                        </a:lnTo>
                        <a:lnTo>
                          <a:pt x="15" y="61"/>
                        </a:lnTo>
                        <a:lnTo>
                          <a:pt x="22" y="62"/>
                        </a:lnTo>
                        <a:lnTo>
                          <a:pt x="29" y="63"/>
                        </a:lnTo>
                        <a:lnTo>
                          <a:pt x="37" y="65"/>
                        </a:lnTo>
                        <a:lnTo>
                          <a:pt x="44" y="66"/>
                        </a:lnTo>
                        <a:lnTo>
                          <a:pt x="51" y="67"/>
                        </a:lnTo>
                        <a:lnTo>
                          <a:pt x="59" y="68"/>
                        </a:lnTo>
                        <a:lnTo>
                          <a:pt x="65" y="71"/>
                        </a:lnTo>
                        <a:lnTo>
                          <a:pt x="73" y="72"/>
                        </a:lnTo>
                        <a:lnTo>
                          <a:pt x="91" y="72"/>
                        </a:lnTo>
                        <a:lnTo>
                          <a:pt x="109" y="71"/>
                        </a:lnTo>
                        <a:lnTo>
                          <a:pt x="127" y="71"/>
                        </a:lnTo>
                        <a:lnTo>
                          <a:pt x="146" y="70"/>
                        </a:lnTo>
                        <a:lnTo>
                          <a:pt x="164" y="70"/>
                        </a:lnTo>
                        <a:lnTo>
                          <a:pt x="183" y="68"/>
                        </a:lnTo>
                        <a:lnTo>
                          <a:pt x="201" y="68"/>
                        </a:lnTo>
                        <a:lnTo>
                          <a:pt x="220" y="67"/>
                        </a:lnTo>
                        <a:lnTo>
                          <a:pt x="231" y="65"/>
                        </a:lnTo>
                        <a:lnTo>
                          <a:pt x="242" y="61"/>
                        </a:lnTo>
                        <a:lnTo>
                          <a:pt x="253" y="58"/>
                        </a:lnTo>
                        <a:lnTo>
                          <a:pt x="265" y="54"/>
                        </a:lnTo>
                        <a:lnTo>
                          <a:pt x="275" y="52"/>
                        </a:lnTo>
                        <a:lnTo>
                          <a:pt x="287" y="48"/>
                        </a:lnTo>
                        <a:lnTo>
                          <a:pt x="297" y="45"/>
                        </a:lnTo>
                        <a:lnTo>
                          <a:pt x="309" y="41"/>
                        </a:lnTo>
                        <a:lnTo>
                          <a:pt x="309" y="26"/>
                        </a:lnTo>
                        <a:lnTo>
                          <a:pt x="307" y="13"/>
                        </a:lnTo>
                        <a:lnTo>
                          <a:pt x="303" y="5"/>
                        </a:lnTo>
                        <a:lnTo>
                          <a:pt x="297" y="1"/>
                        </a:lnTo>
                        <a:lnTo>
                          <a:pt x="290" y="0"/>
                        </a:lnTo>
                        <a:lnTo>
                          <a:pt x="279" y="0"/>
                        </a:lnTo>
                        <a:lnTo>
                          <a:pt x="268" y="4"/>
                        </a:lnTo>
                        <a:lnTo>
                          <a:pt x="252" y="9"/>
                        </a:lnTo>
                        <a:lnTo>
                          <a:pt x="242" y="9"/>
                        </a:lnTo>
                        <a:lnTo>
                          <a:pt x="231" y="10"/>
                        </a:lnTo>
                        <a:lnTo>
                          <a:pt x="221" y="10"/>
                        </a:lnTo>
                        <a:lnTo>
                          <a:pt x="211" y="10"/>
                        </a:lnTo>
                        <a:lnTo>
                          <a:pt x="200" y="10"/>
                        </a:lnTo>
                        <a:lnTo>
                          <a:pt x="188" y="10"/>
                        </a:lnTo>
                        <a:lnTo>
                          <a:pt x="178" y="11"/>
                        </a:lnTo>
                        <a:lnTo>
                          <a:pt x="168" y="11"/>
                        </a:lnTo>
                        <a:lnTo>
                          <a:pt x="140" y="10"/>
                        </a:lnTo>
                        <a:lnTo>
                          <a:pt x="116" y="9"/>
                        </a:lnTo>
                        <a:lnTo>
                          <a:pt x="96" y="6"/>
                        </a:lnTo>
                        <a:lnTo>
                          <a:pt x="77" y="5"/>
                        </a:lnTo>
                        <a:lnTo>
                          <a:pt x="60" y="6"/>
                        </a:lnTo>
                        <a:lnTo>
                          <a:pt x="42" y="9"/>
                        </a:lnTo>
                        <a:lnTo>
                          <a:pt x="22" y="16"/>
                        </a:lnTo>
                        <a:lnTo>
                          <a:pt x="0" y="29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da-DK" kern="0">
                      <a:solidFill>
                        <a:sysClr val="windowText" lastClr="000000"/>
                      </a:solidFill>
                      <a:latin typeface="+mn-lt"/>
                      <a:ea typeface="ＭＳ Ｐゴシック" pitchFamily="-97" charset="-128"/>
                      <a:cs typeface="+mn-cs"/>
                    </a:endParaRPr>
                  </a:p>
                </p:txBody>
              </p:sp>
              <p:sp>
                <p:nvSpPr>
                  <p:cNvPr id="325" name="Freeform 353"/>
                  <p:cNvSpPr>
                    <a:spLocks/>
                  </p:cNvSpPr>
                  <p:nvPr/>
                </p:nvSpPr>
                <p:spPr bwMode="auto">
                  <a:xfrm>
                    <a:off x="3932238" y="4217988"/>
                    <a:ext cx="177800" cy="39688"/>
                  </a:xfrm>
                  <a:custGeom>
                    <a:avLst/>
                    <a:gdLst/>
                    <a:ahLst/>
                    <a:cxnLst>
                      <a:cxn ang="0">
                        <a:pos x="0" y="11"/>
                      </a:cxn>
                      <a:cxn ang="0">
                        <a:pos x="5" y="17"/>
                      </a:cxn>
                      <a:cxn ang="0">
                        <a:pos x="26" y="25"/>
                      </a:cxn>
                      <a:cxn ang="0">
                        <a:pos x="80" y="20"/>
                      </a:cxn>
                      <a:cxn ang="0">
                        <a:pos x="112" y="13"/>
                      </a:cxn>
                      <a:cxn ang="0">
                        <a:pos x="110" y="4"/>
                      </a:cxn>
                      <a:cxn ang="0">
                        <a:pos x="108" y="0"/>
                      </a:cxn>
                      <a:cxn ang="0">
                        <a:pos x="103" y="2"/>
                      </a:cxn>
                      <a:cxn ang="0">
                        <a:pos x="92" y="4"/>
                      </a:cxn>
                      <a:cxn ang="0">
                        <a:pos x="61" y="6"/>
                      </a:cxn>
                      <a:cxn ang="0">
                        <a:pos x="51" y="6"/>
                      </a:cxn>
                      <a:cxn ang="0">
                        <a:pos x="43" y="4"/>
                      </a:cxn>
                      <a:cxn ang="0">
                        <a:pos x="35" y="4"/>
                      </a:cxn>
                      <a:cxn ang="0">
                        <a:pos x="29" y="3"/>
                      </a:cxn>
                      <a:cxn ang="0">
                        <a:pos x="22" y="3"/>
                      </a:cxn>
                      <a:cxn ang="0">
                        <a:pos x="14" y="4"/>
                      </a:cxn>
                      <a:cxn ang="0">
                        <a:pos x="8" y="7"/>
                      </a:cxn>
                      <a:cxn ang="0">
                        <a:pos x="0" y="11"/>
                      </a:cxn>
                    </a:cxnLst>
                    <a:rect l="0" t="0" r="r" b="b"/>
                    <a:pathLst>
                      <a:path w="112" h="25">
                        <a:moveTo>
                          <a:pt x="0" y="11"/>
                        </a:moveTo>
                        <a:lnTo>
                          <a:pt x="5" y="17"/>
                        </a:lnTo>
                        <a:lnTo>
                          <a:pt x="26" y="25"/>
                        </a:lnTo>
                        <a:lnTo>
                          <a:pt x="80" y="20"/>
                        </a:lnTo>
                        <a:lnTo>
                          <a:pt x="112" y="13"/>
                        </a:lnTo>
                        <a:lnTo>
                          <a:pt x="110" y="4"/>
                        </a:lnTo>
                        <a:lnTo>
                          <a:pt x="108" y="0"/>
                        </a:lnTo>
                        <a:lnTo>
                          <a:pt x="103" y="2"/>
                        </a:lnTo>
                        <a:lnTo>
                          <a:pt x="92" y="4"/>
                        </a:lnTo>
                        <a:lnTo>
                          <a:pt x="61" y="6"/>
                        </a:lnTo>
                        <a:lnTo>
                          <a:pt x="51" y="6"/>
                        </a:lnTo>
                        <a:lnTo>
                          <a:pt x="43" y="4"/>
                        </a:lnTo>
                        <a:lnTo>
                          <a:pt x="35" y="4"/>
                        </a:lnTo>
                        <a:lnTo>
                          <a:pt x="29" y="3"/>
                        </a:lnTo>
                        <a:lnTo>
                          <a:pt x="22" y="3"/>
                        </a:lnTo>
                        <a:lnTo>
                          <a:pt x="14" y="4"/>
                        </a:lnTo>
                        <a:lnTo>
                          <a:pt x="8" y="7"/>
                        </a:lnTo>
                        <a:lnTo>
                          <a:pt x="0" y="11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da-DK" kern="0">
                      <a:solidFill>
                        <a:sysClr val="windowText" lastClr="000000"/>
                      </a:solidFill>
                      <a:latin typeface="+mn-lt"/>
                      <a:ea typeface="ＭＳ Ｐゴシック" pitchFamily="-97" charset="-128"/>
                      <a:cs typeface="+mn-cs"/>
                    </a:endParaRPr>
                  </a:p>
                </p:txBody>
              </p:sp>
              <p:sp>
                <p:nvSpPr>
                  <p:cNvPr id="326" name="Freeform 363"/>
                  <p:cNvSpPr>
                    <a:spLocks/>
                  </p:cNvSpPr>
                  <p:nvPr/>
                </p:nvSpPr>
                <p:spPr bwMode="auto">
                  <a:xfrm>
                    <a:off x="3944938" y="3713163"/>
                    <a:ext cx="193675" cy="42863"/>
                  </a:xfrm>
                  <a:custGeom>
                    <a:avLst/>
                    <a:gdLst/>
                    <a:ahLst/>
                    <a:cxnLst>
                      <a:cxn ang="0">
                        <a:pos x="0" y="12"/>
                      </a:cxn>
                      <a:cxn ang="0">
                        <a:pos x="1" y="14"/>
                      </a:cxn>
                      <a:cxn ang="0">
                        <a:pos x="2" y="16"/>
                      </a:cxn>
                      <a:cxn ang="0">
                        <a:pos x="4" y="18"/>
                      </a:cxn>
                      <a:cxn ang="0">
                        <a:pos x="5" y="21"/>
                      </a:cxn>
                      <a:cxn ang="0">
                        <a:pos x="11" y="22"/>
                      </a:cxn>
                      <a:cxn ang="0">
                        <a:pos x="17" y="24"/>
                      </a:cxn>
                      <a:cxn ang="0">
                        <a:pos x="23" y="26"/>
                      </a:cxn>
                      <a:cxn ang="0">
                        <a:pos x="28" y="27"/>
                      </a:cxn>
                      <a:cxn ang="0">
                        <a:pos x="36" y="27"/>
                      </a:cxn>
                      <a:cxn ang="0">
                        <a:pos x="43" y="26"/>
                      </a:cxn>
                      <a:cxn ang="0">
                        <a:pos x="50" y="26"/>
                      </a:cxn>
                      <a:cxn ang="0">
                        <a:pos x="58" y="25"/>
                      </a:cxn>
                      <a:cxn ang="0">
                        <a:pos x="65" y="25"/>
                      </a:cxn>
                      <a:cxn ang="0">
                        <a:pos x="72" y="25"/>
                      </a:cxn>
                      <a:cxn ang="0">
                        <a:pos x="79" y="24"/>
                      </a:cxn>
                      <a:cxn ang="0">
                        <a:pos x="87" y="24"/>
                      </a:cxn>
                      <a:cxn ang="0">
                        <a:pos x="96" y="21"/>
                      </a:cxn>
                      <a:cxn ang="0">
                        <a:pos x="105" y="20"/>
                      </a:cxn>
                      <a:cxn ang="0">
                        <a:pos x="113" y="17"/>
                      </a:cxn>
                      <a:cxn ang="0">
                        <a:pos x="122" y="16"/>
                      </a:cxn>
                      <a:cxn ang="0">
                        <a:pos x="120" y="5"/>
                      </a:cxn>
                      <a:cxn ang="0">
                        <a:pos x="118" y="0"/>
                      </a:cxn>
                      <a:cxn ang="0">
                        <a:pos x="111" y="2"/>
                      </a:cxn>
                      <a:cxn ang="0">
                        <a:pos x="100" y="4"/>
                      </a:cxn>
                      <a:cxn ang="0">
                        <a:pos x="92" y="5"/>
                      </a:cxn>
                      <a:cxn ang="0">
                        <a:pos x="83" y="5"/>
                      </a:cxn>
                      <a:cxn ang="0">
                        <a:pos x="75" y="5"/>
                      </a:cxn>
                      <a:cxn ang="0">
                        <a:pos x="66" y="5"/>
                      </a:cxn>
                      <a:cxn ang="0">
                        <a:pos x="56" y="5"/>
                      </a:cxn>
                      <a:cxn ang="0">
                        <a:pos x="47" y="4"/>
                      </a:cxn>
                      <a:cxn ang="0">
                        <a:pos x="37" y="4"/>
                      </a:cxn>
                      <a:cxn ang="0">
                        <a:pos x="31" y="3"/>
                      </a:cxn>
                      <a:cxn ang="0">
                        <a:pos x="23" y="4"/>
                      </a:cxn>
                      <a:cxn ang="0">
                        <a:pos x="17" y="5"/>
                      </a:cxn>
                      <a:cxn ang="0">
                        <a:pos x="9" y="8"/>
                      </a:cxn>
                      <a:cxn ang="0">
                        <a:pos x="0" y="12"/>
                      </a:cxn>
                    </a:cxnLst>
                    <a:rect l="0" t="0" r="r" b="b"/>
                    <a:pathLst>
                      <a:path w="122" h="27">
                        <a:moveTo>
                          <a:pt x="0" y="12"/>
                        </a:moveTo>
                        <a:lnTo>
                          <a:pt x="1" y="14"/>
                        </a:lnTo>
                        <a:lnTo>
                          <a:pt x="2" y="16"/>
                        </a:lnTo>
                        <a:lnTo>
                          <a:pt x="4" y="18"/>
                        </a:lnTo>
                        <a:lnTo>
                          <a:pt x="5" y="21"/>
                        </a:lnTo>
                        <a:lnTo>
                          <a:pt x="11" y="22"/>
                        </a:lnTo>
                        <a:lnTo>
                          <a:pt x="17" y="24"/>
                        </a:lnTo>
                        <a:lnTo>
                          <a:pt x="23" y="26"/>
                        </a:lnTo>
                        <a:lnTo>
                          <a:pt x="28" y="27"/>
                        </a:lnTo>
                        <a:lnTo>
                          <a:pt x="36" y="27"/>
                        </a:lnTo>
                        <a:lnTo>
                          <a:pt x="43" y="26"/>
                        </a:lnTo>
                        <a:lnTo>
                          <a:pt x="50" y="26"/>
                        </a:lnTo>
                        <a:lnTo>
                          <a:pt x="58" y="25"/>
                        </a:lnTo>
                        <a:lnTo>
                          <a:pt x="65" y="25"/>
                        </a:lnTo>
                        <a:lnTo>
                          <a:pt x="72" y="25"/>
                        </a:lnTo>
                        <a:lnTo>
                          <a:pt x="79" y="24"/>
                        </a:lnTo>
                        <a:lnTo>
                          <a:pt x="87" y="24"/>
                        </a:lnTo>
                        <a:lnTo>
                          <a:pt x="96" y="21"/>
                        </a:lnTo>
                        <a:lnTo>
                          <a:pt x="105" y="20"/>
                        </a:lnTo>
                        <a:lnTo>
                          <a:pt x="113" y="17"/>
                        </a:lnTo>
                        <a:lnTo>
                          <a:pt x="122" y="16"/>
                        </a:lnTo>
                        <a:lnTo>
                          <a:pt x="120" y="5"/>
                        </a:lnTo>
                        <a:lnTo>
                          <a:pt x="118" y="0"/>
                        </a:lnTo>
                        <a:lnTo>
                          <a:pt x="111" y="2"/>
                        </a:lnTo>
                        <a:lnTo>
                          <a:pt x="100" y="4"/>
                        </a:lnTo>
                        <a:lnTo>
                          <a:pt x="92" y="5"/>
                        </a:lnTo>
                        <a:lnTo>
                          <a:pt x="83" y="5"/>
                        </a:lnTo>
                        <a:lnTo>
                          <a:pt x="75" y="5"/>
                        </a:lnTo>
                        <a:lnTo>
                          <a:pt x="66" y="5"/>
                        </a:lnTo>
                        <a:lnTo>
                          <a:pt x="56" y="5"/>
                        </a:lnTo>
                        <a:lnTo>
                          <a:pt x="47" y="4"/>
                        </a:lnTo>
                        <a:lnTo>
                          <a:pt x="37" y="4"/>
                        </a:lnTo>
                        <a:lnTo>
                          <a:pt x="31" y="3"/>
                        </a:lnTo>
                        <a:lnTo>
                          <a:pt x="23" y="4"/>
                        </a:lnTo>
                        <a:lnTo>
                          <a:pt x="17" y="5"/>
                        </a:lnTo>
                        <a:lnTo>
                          <a:pt x="9" y="8"/>
                        </a:lnTo>
                        <a:lnTo>
                          <a:pt x="0" y="12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da-DK" kern="0">
                      <a:solidFill>
                        <a:sysClr val="windowText" lastClr="000000"/>
                      </a:solidFill>
                      <a:latin typeface="+mn-lt"/>
                      <a:ea typeface="ＭＳ Ｐゴシック" pitchFamily="-97" charset="-128"/>
                      <a:cs typeface="+mn-cs"/>
                    </a:endParaRPr>
                  </a:p>
                </p:txBody>
              </p:sp>
            </p:grpSp>
          </p:grpSp>
        </p:grpSp>
        <p:grpSp>
          <p:nvGrpSpPr>
            <p:cNvPr id="121" name="Gruppe 75"/>
            <p:cNvGrpSpPr>
              <a:grpSpLocks/>
            </p:cNvGrpSpPr>
            <p:nvPr/>
          </p:nvGrpSpPr>
          <p:grpSpPr bwMode="auto">
            <a:xfrm flipH="1">
              <a:off x="5668963" y="2792413"/>
              <a:ext cx="701675" cy="1343025"/>
              <a:chOff x="-7886" y="3498389"/>
              <a:chExt cx="1257247" cy="2407111"/>
            </a:xfrm>
          </p:grpSpPr>
          <p:sp>
            <p:nvSpPr>
              <p:cNvPr id="301" name="Ellipse 437"/>
              <p:cNvSpPr/>
              <p:nvPr/>
            </p:nvSpPr>
            <p:spPr bwMode="auto">
              <a:xfrm>
                <a:off x="152400" y="5597629"/>
                <a:ext cx="1096961" cy="307871"/>
              </a:xfrm>
              <a:prstGeom prst="ellipse">
                <a:avLst/>
              </a:prstGeom>
              <a:gradFill flip="none" rotWithShape="1">
                <a:gsLst>
                  <a:gs pos="24000">
                    <a:sysClr val="windowText" lastClr="000000">
                      <a:alpha val="42000"/>
                    </a:sysClr>
                  </a:gs>
                  <a:gs pos="100000">
                    <a:sysClr val="window" lastClr="FFFFFF">
                      <a:alpha val="0"/>
                    </a:sysClr>
                  </a:gs>
                </a:gsLst>
                <a:path path="shape">
                  <a:fillToRect l="50000" t="50000" r="50000" b="50000"/>
                </a:path>
                <a:tileRect/>
              </a:gradFill>
              <a:ln w="9525" cap="flat" cmpd="sng" algn="ctr">
                <a:noFill/>
                <a:prstDash val="solid"/>
              </a:ln>
              <a:effectLst/>
            </p:spPr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 dirty="0" err="1">
                  <a:solidFill>
                    <a:sysClr val="window" lastClr="FFFFFF"/>
                  </a:solidFill>
                  <a:latin typeface="Calibri"/>
                  <a:ea typeface="ＭＳ Ｐゴシック" pitchFamily="-97" charset="-128"/>
                  <a:cs typeface="+mn-cs"/>
                </a:endParaRPr>
              </a:p>
            </p:txBody>
          </p:sp>
          <p:grpSp>
            <p:nvGrpSpPr>
              <p:cNvPr id="302" name="Gruppe 822"/>
              <p:cNvGrpSpPr>
                <a:grpSpLocks/>
              </p:cNvGrpSpPr>
              <p:nvPr/>
            </p:nvGrpSpPr>
            <p:grpSpPr bwMode="auto">
              <a:xfrm>
                <a:off x="-7886" y="3498389"/>
                <a:ext cx="1016427" cy="2361587"/>
                <a:chOff x="-7886" y="3498389"/>
                <a:chExt cx="1016427" cy="2361587"/>
              </a:xfrm>
            </p:grpSpPr>
            <p:grpSp>
              <p:nvGrpSpPr>
                <p:cNvPr id="303" name="Gruppe 604"/>
                <p:cNvGrpSpPr>
                  <a:grpSpLocks/>
                </p:cNvGrpSpPr>
                <p:nvPr/>
              </p:nvGrpSpPr>
              <p:grpSpPr bwMode="auto">
                <a:xfrm>
                  <a:off x="-7886" y="3498389"/>
                  <a:ext cx="969958" cy="2361587"/>
                  <a:chOff x="-7886" y="3498389"/>
                  <a:chExt cx="969958" cy="2361587"/>
                </a:xfrm>
              </p:grpSpPr>
              <p:sp>
                <p:nvSpPr>
                  <p:cNvPr id="311" name="Freeform 130"/>
                  <p:cNvSpPr>
                    <a:spLocks/>
                  </p:cNvSpPr>
                  <p:nvPr/>
                </p:nvSpPr>
                <p:spPr bwMode="auto">
                  <a:xfrm>
                    <a:off x="2343" y="3502893"/>
                    <a:ext cx="964462" cy="2339413"/>
                  </a:xfrm>
                  <a:custGeom>
                    <a:avLst/>
                    <a:gdLst/>
                    <a:ahLst/>
                    <a:cxnLst>
                      <a:cxn ang="0">
                        <a:pos x="145" y="87"/>
                      </a:cxn>
                      <a:cxn ang="0">
                        <a:pos x="99" y="110"/>
                      </a:cxn>
                      <a:cxn ang="0">
                        <a:pos x="93" y="162"/>
                      </a:cxn>
                      <a:cxn ang="0">
                        <a:pos x="158" y="272"/>
                      </a:cxn>
                      <a:cxn ang="0">
                        <a:pos x="138" y="326"/>
                      </a:cxn>
                      <a:cxn ang="0">
                        <a:pos x="89" y="375"/>
                      </a:cxn>
                      <a:cxn ang="0">
                        <a:pos x="70" y="414"/>
                      </a:cxn>
                      <a:cxn ang="0">
                        <a:pos x="94" y="449"/>
                      </a:cxn>
                      <a:cxn ang="0">
                        <a:pos x="168" y="522"/>
                      </a:cxn>
                      <a:cxn ang="0">
                        <a:pos x="150" y="638"/>
                      </a:cxn>
                      <a:cxn ang="0">
                        <a:pos x="115" y="750"/>
                      </a:cxn>
                      <a:cxn ang="0">
                        <a:pos x="70" y="804"/>
                      </a:cxn>
                      <a:cxn ang="0">
                        <a:pos x="53" y="835"/>
                      </a:cxn>
                      <a:cxn ang="0">
                        <a:pos x="75" y="868"/>
                      </a:cxn>
                      <a:cxn ang="0">
                        <a:pos x="34" y="905"/>
                      </a:cxn>
                      <a:cxn ang="0">
                        <a:pos x="8" y="942"/>
                      </a:cxn>
                      <a:cxn ang="0">
                        <a:pos x="15" y="999"/>
                      </a:cxn>
                      <a:cxn ang="0">
                        <a:pos x="0" y="1121"/>
                      </a:cxn>
                      <a:cxn ang="0">
                        <a:pos x="69" y="1163"/>
                      </a:cxn>
                      <a:cxn ang="0">
                        <a:pos x="171" y="1189"/>
                      </a:cxn>
                      <a:cxn ang="0">
                        <a:pos x="285" y="1193"/>
                      </a:cxn>
                      <a:cxn ang="0">
                        <a:pos x="393" y="1175"/>
                      </a:cxn>
                      <a:cxn ang="0">
                        <a:pos x="474" y="1129"/>
                      </a:cxn>
                      <a:cxn ang="0">
                        <a:pos x="484" y="1032"/>
                      </a:cxn>
                      <a:cxn ang="0">
                        <a:pos x="489" y="965"/>
                      </a:cxn>
                      <a:cxn ang="0">
                        <a:pos x="470" y="921"/>
                      </a:cxn>
                      <a:cxn ang="0">
                        <a:pos x="441" y="870"/>
                      </a:cxn>
                      <a:cxn ang="0">
                        <a:pos x="449" y="832"/>
                      </a:cxn>
                      <a:cxn ang="0">
                        <a:pos x="425" y="805"/>
                      </a:cxn>
                      <a:cxn ang="0">
                        <a:pos x="373" y="713"/>
                      </a:cxn>
                      <a:cxn ang="0">
                        <a:pos x="349" y="609"/>
                      </a:cxn>
                      <a:cxn ang="0">
                        <a:pos x="344" y="485"/>
                      </a:cxn>
                      <a:cxn ang="0">
                        <a:pos x="417" y="446"/>
                      </a:cxn>
                      <a:cxn ang="0">
                        <a:pos x="436" y="411"/>
                      </a:cxn>
                      <a:cxn ang="0">
                        <a:pos x="414" y="374"/>
                      </a:cxn>
                      <a:cxn ang="0">
                        <a:pos x="379" y="343"/>
                      </a:cxn>
                      <a:cxn ang="0">
                        <a:pos x="393" y="306"/>
                      </a:cxn>
                      <a:cxn ang="0">
                        <a:pos x="376" y="273"/>
                      </a:cxn>
                      <a:cxn ang="0">
                        <a:pos x="409" y="192"/>
                      </a:cxn>
                      <a:cxn ang="0">
                        <a:pos x="432" y="139"/>
                      </a:cxn>
                      <a:cxn ang="0">
                        <a:pos x="416" y="110"/>
                      </a:cxn>
                      <a:cxn ang="0">
                        <a:pos x="349" y="77"/>
                      </a:cxn>
                      <a:cxn ang="0">
                        <a:pos x="322" y="42"/>
                      </a:cxn>
                      <a:cxn ang="0">
                        <a:pos x="309" y="16"/>
                      </a:cxn>
                      <a:cxn ang="0">
                        <a:pos x="281" y="2"/>
                      </a:cxn>
                      <a:cxn ang="0">
                        <a:pos x="243" y="3"/>
                      </a:cxn>
                      <a:cxn ang="0">
                        <a:pos x="215" y="27"/>
                      </a:cxn>
                    </a:cxnLst>
                    <a:rect l="0" t="0" r="r" b="b"/>
                    <a:pathLst>
                      <a:path w="493" h="1194">
                        <a:moveTo>
                          <a:pt x="208" y="62"/>
                        </a:moveTo>
                        <a:lnTo>
                          <a:pt x="167" y="83"/>
                        </a:lnTo>
                        <a:lnTo>
                          <a:pt x="145" y="87"/>
                        </a:lnTo>
                        <a:lnTo>
                          <a:pt x="125" y="93"/>
                        </a:lnTo>
                        <a:lnTo>
                          <a:pt x="110" y="100"/>
                        </a:lnTo>
                        <a:lnTo>
                          <a:pt x="99" y="110"/>
                        </a:lnTo>
                        <a:lnTo>
                          <a:pt x="92" y="124"/>
                        </a:lnTo>
                        <a:lnTo>
                          <a:pt x="90" y="141"/>
                        </a:lnTo>
                        <a:lnTo>
                          <a:pt x="93" y="162"/>
                        </a:lnTo>
                        <a:lnTo>
                          <a:pt x="104" y="187"/>
                        </a:lnTo>
                        <a:lnTo>
                          <a:pt x="158" y="242"/>
                        </a:lnTo>
                        <a:lnTo>
                          <a:pt x="158" y="272"/>
                        </a:lnTo>
                        <a:lnTo>
                          <a:pt x="140" y="282"/>
                        </a:lnTo>
                        <a:lnTo>
                          <a:pt x="135" y="302"/>
                        </a:lnTo>
                        <a:lnTo>
                          <a:pt x="138" y="326"/>
                        </a:lnTo>
                        <a:lnTo>
                          <a:pt x="147" y="346"/>
                        </a:lnTo>
                        <a:lnTo>
                          <a:pt x="104" y="360"/>
                        </a:lnTo>
                        <a:lnTo>
                          <a:pt x="89" y="375"/>
                        </a:lnTo>
                        <a:lnTo>
                          <a:pt x="77" y="389"/>
                        </a:lnTo>
                        <a:lnTo>
                          <a:pt x="71" y="402"/>
                        </a:lnTo>
                        <a:lnTo>
                          <a:pt x="70" y="414"/>
                        </a:lnTo>
                        <a:lnTo>
                          <a:pt x="74" y="426"/>
                        </a:lnTo>
                        <a:lnTo>
                          <a:pt x="82" y="437"/>
                        </a:lnTo>
                        <a:lnTo>
                          <a:pt x="94" y="449"/>
                        </a:lnTo>
                        <a:lnTo>
                          <a:pt x="113" y="459"/>
                        </a:lnTo>
                        <a:lnTo>
                          <a:pt x="173" y="480"/>
                        </a:lnTo>
                        <a:lnTo>
                          <a:pt x="168" y="522"/>
                        </a:lnTo>
                        <a:lnTo>
                          <a:pt x="162" y="562"/>
                        </a:lnTo>
                        <a:lnTo>
                          <a:pt x="156" y="601"/>
                        </a:lnTo>
                        <a:lnTo>
                          <a:pt x="150" y="638"/>
                        </a:lnTo>
                        <a:lnTo>
                          <a:pt x="140" y="676"/>
                        </a:lnTo>
                        <a:lnTo>
                          <a:pt x="129" y="713"/>
                        </a:lnTo>
                        <a:lnTo>
                          <a:pt x="115" y="750"/>
                        </a:lnTo>
                        <a:lnTo>
                          <a:pt x="98" y="789"/>
                        </a:lnTo>
                        <a:lnTo>
                          <a:pt x="83" y="796"/>
                        </a:lnTo>
                        <a:lnTo>
                          <a:pt x="70" y="804"/>
                        </a:lnTo>
                        <a:lnTo>
                          <a:pt x="61" y="814"/>
                        </a:lnTo>
                        <a:lnTo>
                          <a:pt x="55" y="823"/>
                        </a:lnTo>
                        <a:lnTo>
                          <a:pt x="53" y="835"/>
                        </a:lnTo>
                        <a:lnTo>
                          <a:pt x="55" y="845"/>
                        </a:lnTo>
                        <a:lnTo>
                          <a:pt x="62" y="857"/>
                        </a:lnTo>
                        <a:lnTo>
                          <a:pt x="75" y="868"/>
                        </a:lnTo>
                        <a:lnTo>
                          <a:pt x="78" y="889"/>
                        </a:lnTo>
                        <a:lnTo>
                          <a:pt x="53" y="896"/>
                        </a:lnTo>
                        <a:lnTo>
                          <a:pt x="34" y="905"/>
                        </a:lnTo>
                        <a:lnTo>
                          <a:pt x="21" y="916"/>
                        </a:lnTo>
                        <a:lnTo>
                          <a:pt x="13" y="928"/>
                        </a:lnTo>
                        <a:lnTo>
                          <a:pt x="8" y="942"/>
                        </a:lnTo>
                        <a:lnTo>
                          <a:pt x="8" y="959"/>
                        </a:lnTo>
                        <a:lnTo>
                          <a:pt x="10" y="978"/>
                        </a:lnTo>
                        <a:lnTo>
                          <a:pt x="15" y="999"/>
                        </a:lnTo>
                        <a:lnTo>
                          <a:pt x="19" y="1032"/>
                        </a:lnTo>
                        <a:lnTo>
                          <a:pt x="0" y="1057"/>
                        </a:lnTo>
                        <a:lnTo>
                          <a:pt x="0" y="1121"/>
                        </a:lnTo>
                        <a:lnTo>
                          <a:pt x="18" y="1137"/>
                        </a:lnTo>
                        <a:lnTo>
                          <a:pt x="41" y="1151"/>
                        </a:lnTo>
                        <a:lnTo>
                          <a:pt x="69" y="1163"/>
                        </a:lnTo>
                        <a:lnTo>
                          <a:pt x="101" y="1174"/>
                        </a:lnTo>
                        <a:lnTo>
                          <a:pt x="135" y="1182"/>
                        </a:lnTo>
                        <a:lnTo>
                          <a:pt x="171" y="1189"/>
                        </a:lnTo>
                        <a:lnTo>
                          <a:pt x="208" y="1192"/>
                        </a:lnTo>
                        <a:lnTo>
                          <a:pt x="246" y="1194"/>
                        </a:lnTo>
                        <a:lnTo>
                          <a:pt x="285" y="1193"/>
                        </a:lnTo>
                        <a:lnTo>
                          <a:pt x="322" y="1190"/>
                        </a:lnTo>
                        <a:lnTo>
                          <a:pt x="359" y="1184"/>
                        </a:lnTo>
                        <a:lnTo>
                          <a:pt x="393" y="1175"/>
                        </a:lnTo>
                        <a:lnTo>
                          <a:pt x="424" y="1162"/>
                        </a:lnTo>
                        <a:lnTo>
                          <a:pt x="451" y="1147"/>
                        </a:lnTo>
                        <a:lnTo>
                          <a:pt x="474" y="1129"/>
                        </a:lnTo>
                        <a:lnTo>
                          <a:pt x="493" y="1107"/>
                        </a:lnTo>
                        <a:lnTo>
                          <a:pt x="493" y="1069"/>
                        </a:lnTo>
                        <a:lnTo>
                          <a:pt x="484" y="1032"/>
                        </a:lnTo>
                        <a:lnTo>
                          <a:pt x="487" y="1005"/>
                        </a:lnTo>
                        <a:lnTo>
                          <a:pt x="489" y="984"/>
                        </a:lnTo>
                        <a:lnTo>
                          <a:pt x="489" y="965"/>
                        </a:lnTo>
                        <a:lnTo>
                          <a:pt x="486" y="950"/>
                        </a:lnTo>
                        <a:lnTo>
                          <a:pt x="480" y="936"/>
                        </a:lnTo>
                        <a:lnTo>
                          <a:pt x="470" y="921"/>
                        </a:lnTo>
                        <a:lnTo>
                          <a:pt x="454" y="906"/>
                        </a:lnTo>
                        <a:lnTo>
                          <a:pt x="433" y="888"/>
                        </a:lnTo>
                        <a:lnTo>
                          <a:pt x="441" y="870"/>
                        </a:lnTo>
                        <a:lnTo>
                          <a:pt x="446" y="855"/>
                        </a:lnTo>
                        <a:lnTo>
                          <a:pt x="449" y="842"/>
                        </a:lnTo>
                        <a:lnTo>
                          <a:pt x="449" y="832"/>
                        </a:lnTo>
                        <a:lnTo>
                          <a:pt x="444" y="823"/>
                        </a:lnTo>
                        <a:lnTo>
                          <a:pt x="438" y="814"/>
                        </a:lnTo>
                        <a:lnTo>
                          <a:pt x="425" y="805"/>
                        </a:lnTo>
                        <a:lnTo>
                          <a:pt x="409" y="793"/>
                        </a:lnTo>
                        <a:lnTo>
                          <a:pt x="389" y="751"/>
                        </a:lnTo>
                        <a:lnTo>
                          <a:pt x="373" y="713"/>
                        </a:lnTo>
                        <a:lnTo>
                          <a:pt x="362" y="677"/>
                        </a:lnTo>
                        <a:lnTo>
                          <a:pt x="355" y="644"/>
                        </a:lnTo>
                        <a:lnTo>
                          <a:pt x="349" y="609"/>
                        </a:lnTo>
                        <a:lnTo>
                          <a:pt x="345" y="572"/>
                        </a:lnTo>
                        <a:lnTo>
                          <a:pt x="344" y="531"/>
                        </a:lnTo>
                        <a:lnTo>
                          <a:pt x="344" y="485"/>
                        </a:lnTo>
                        <a:lnTo>
                          <a:pt x="379" y="471"/>
                        </a:lnTo>
                        <a:lnTo>
                          <a:pt x="404" y="455"/>
                        </a:lnTo>
                        <a:lnTo>
                          <a:pt x="417" y="446"/>
                        </a:lnTo>
                        <a:lnTo>
                          <a:pt x="426" y="435"/>
                        </a:lnTo>
                        <a:lnTo>
                          <a:pt x="433" y="423"/>
                        </a:lnTo>
                        <a:lnTo>
                          <a:pt x="436" y="411"/>
                        </a:lnTo>
                        <a:lnTo>
                          <a:pt x="434" y="398"/>
                        </a:lnTo>
                        <a:lnTo>
                          <a:pt x="427" y="386"/>
                        </a:lnTo>
                        <a:lnTo>
                          <a:pt x="414" y="374"/>
                        </a:lnTo>
                        <a:lnTo>
                          <a:pt x="394" y="364"/>
                        </a:lnTo>
                        <a:lnTo>
                          <a:pt x="368" y="356"/>
                        </a:lnTo>
                        <a:lnTo>
                          <a:pt x="379" y="343"/>
                        </a:lnTo>
                        <a:lnTo>
                          <a:pt x="386" y="330"/>
                        </a:lnTo>
                        <a:lnTo>
                          <a:pt x="390" y="318"/>
                        </a:lnTo>
                        <a:lnTo>
                          <a:pt x="393" y="306"/>
                        </a:lnTo>
                        <a:lnTo>
                          <a:pt x="390" y="295"/>
                        </a:lnTo>
                        <a:lnTo>
                          <a:pt x="386" y="283"/>
                        </a:lnTo>
                        <a:lnTo>
                          <a:pt x="376" y="273"/>
                        </a:lnTo>
                        <a:lnTo>
                          <a:pt x="364" y="261"/>
                        </a:lnTo>
                        <a:lnTo>
                          <a:pt x="389" y="227"/>
                        </a:lnTo>
                        <a:lnTo>
                          <a:pt x="409" y="192"/>
                        </a:lnTo>
                        <a:lnTo>
                          <a:pt x="420" y="170"/>
                        </a:lnTo>
                        <a:lnTo>
                          <a:pt x="428" y="153"/>
                        </a:lnTo>
                        <a:lnTo>
                          <a:pt x="432" y="139"/>
                        </a:lnTo>
                        <a:lnTo>
                          <a:pt x="432" y="128"/>
                        </a:lnTo>
                        <a:lnTo>
                          <a:pt x="426" y="118"/>
                        </a:lnTo>
                        <a:lnTo>
                          <a:pt x="416" y="110"/>
                        </a:lnTo>
                        <a:lnTo>
                          <a:pt x="400" y="102"/>
                        </a:lnTo>
                        <a:lnTo>
                          <a:pt x="378" y="92"/>
                        </a:lnTo>
                        <a:lnTo>
                          <a:pt x="349" y="77"/>
                        </a:lnTo>
                        <a:lnTo>
                          <a:pt x="320" y="68"/>
                        </a:lnTo>
                        <a:lnTo>
                          <a:pt x="322" y="54"/>
                        </a:lnTo>
                        <a:lnTo>
                          <a:pt x="322" y="42"/>
                        </a:lnTo>
                        <a:lnTo>
                          <a:pt x="320" y="32"/>
                        </a:lnTo>
                        <a:lnTo>
                          <a:pt x="315" y="23"/>
                        </a:lnTo>
                        <a:lnTo>
                          <a:pt x="309" y="16"/>
                        </a:lnTo>
                        <a:lnTo>
                          <a:pt x="300" y="10"/>
                        </a:lnTo>
                        <a:lnTo>
                          <a:pt x="291" y="5"/>
                        </a:lnTo>
                        <a:lnTo>
                          <a:pt x="281" y="2"/>
                        </a:lnTo>
                        <a:lnTo>
                          <a:pt x="268" y="0"/>
                        </a:lnTo>
                        <a:lnTo>
                          <a:pt x="256" y="1"/>
                        </a:lnTo>
                        <a:lnTo>
                          <a:pt x="243" y="3"/>
                        </a:lnTo>
                        <a:lnTo>
                          <a:pt x="233" y="8"/>
                        </a:lnTo>
                        <a:lnTo>
                          <a:pt x="222" y="16"/>
                        </a:lnTo>
                        <a:lnTo>
                          <a:pt x="215" y="27"/>
                        </a:lnTo>
                        <a:lnTo>
                          <a:pt x="211" y="42"/>
                        </a:lnTo>
                        <a:lnTo>
                          <a:pt x="208" y="62"/>
                        </a:lnTo>
                        <a:close/>
                      </a:path>
                    </a:pathLst>
                  </a:custGeom>
                  <a:gradFill flip="none" rotWithShape="1">
                    <a:gsLst>
                      <a:gs pos="100000">
                        <a:srgbClr val="E6E6E6"/>
                      </a:gs>
                      <a:gs pos="44000">
                        <a:srgbClr val="080808"/>
                      </a:gs>
                      <a:gs pos="48000">
                        <a:srgbClr val="080808"/>
                      </a:gs>
                    </a:gsLst>
                    <a:lin ang="0" scaled="1"/>
                    <a:tileRect/>
                  </a:gradFill>
                  <a:ln w="9525" cap="flat" cmpd="sng" algn="ctr">
                    <a:noFill/>
                    <a:prstDash val="solid"/>
                  </a:ln>
                  <a:effectLst>
                    <a:outerShdw blurRad="40000" dist="23000" dir="5400000" rotWithShape="0">
                      <a:srgbClr val="000000">
                        <a:alpha val="35000"/>
                      </a:srgbClr>
                    </a:outerShdw>
                  </a:effectLst>
                </p:spPr>
                <p:txBody>
                  <a:bodyPr anchor="ctr"/>
                  <a:lstStyle/>
                  <a:p>
                    <a:pPr algn="ctr"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da-DK" kern="0">
                      <a:solidFill>
                        <a:sysClr val="window" lastClr="FFFFFF"/>
                      </a:solidFill>
                      <a:latin typeface="Calibri"/>
                      <a:cs typeface="+mn-cs"/>
                    </a:endParaRPr>
                  </a:p>
                </p:txBody>
              </p:sp>
              <p:sp>
                <p:nvSpPr>
                  <p:cNvPr id="312" name="Freeform 131"/>
                  <p:cNvSpPr>
                    <a:spLocks/>
                  </p:cNvSpPr>
                  <p:nvPr/>
                </p:nvSpPr>
                <p:spPr bwMode="auto">
                  <a:xfrm>
                    <a:off x="338779" y="3634075"/>
                    <a:ext cx="358872" cy="131182"/>
                  </a:xfrm>
                  <a:custGeom>
                    <a:avLst/>
                    <a:gdLst/>
                    <a:ahLst/>
                    <a:cxnLst>
                      <a:cxn ang="0">
                        <a:pos x="13" y="8"/>
                      </a:cxn>
                      <a:cxn ang="0">
                        <a:pos x="0" y="22"/>
                      </a:cxn>
                      <a:cxn ang="0">
                        <a:pos x="8" y="43"/>
                      </a:cxn>
                      <a:cxn ang="0">
                        <a:pos x="28" y="49"/>
                      </a:cxn>
                      <a:cxn ang="0">
                        <a:pos x="53" y="54"/>
                      </a:cxn>
                      <a:cxn ang="0">
                        <a:pos x="81" y="58"/>
                      </a:cxn>
                      <a:cxn ang="0">
                        <a:pos x="108" y="56"/>
                      </a:cxn>
                      <a:cxn ang="0">
                        <a:pos x="135" y="53"/>
                      </a:cxn>
                      <a:cxn ang="0">
                        <a:pos x="159" y="46"/>
                      </a:cxn>
                      <a:cxn ang="0">
                        <a:pos x="176" y="33"/>
                      </a:cxn>
                      <a:cxn ang="0">
                        <a:pos x="185" y="16"/>
                      </a:cxn>
                      <a:cxn ang="0">
                        <a:pos x="160" y="6"/>
                      </a:cxn>
                      <a:cxn ang="0">
                        <a:pos x="144" y="0"/>
                      </a:cxn>
                      <a:cxn ang="0">
                        <a:pos x="139" y="15"/>
                      </a:cxn>
                      <a:cxn ang="0">
                        <a:pos x="127" y="24"/>
                      </a:cxn>
                      <a:cxn ang="0">
                        <a:pos x="109" y="29"/>
                      </a:cxn>
                      <a:cxn ang="0">
                        <a:pos x="89" y="29"/>
                      </a:cxn>
                      <a:cxn ang="0">
                        <a:pos x="68" y="25"/>
                      </a:cxn>
                      <a:cxn ang="0">
                        <a:pos x="51" y="20"/>
                      </a:cxn>
                      <a:cxn ang="0">
                        <a:pos x="38" y="11"/>
                      </a:cxn>
                      <a:cxn ang="0">
                        <a:pos x="33" y="1"/>
                      </a:cxn>
                      <a:cxn ang="0">
                        <a:pos x="13" y="8"/>
                      </a:cxn>
                    </a:cxnLst>
                    <a:rect l="0" t="0" r="r" b="b"/>
                    <a:pathLst>
                      <a:path w="185" h="58">
                        <a:moveTo>
                          <a:pt x="13" y="8"/>
                        </a:moveTo>
                        <a:lnTo>
                          <a:pt x="0" y="22"/>
                        </a:lnTo>
                        <a:lnTo>
                          <a:pt x="8" y="43"/>
                        </a:lnTo>
                        <a:lnTo>
                          <a:pt x="28" y="49"/>
                        </a:lnTo>
                        <a:lnTo>
                          <a:pt x="53" y="54"/>
                        </a:lnTo>
                        <a:lnTo>
                          <a:pt x="81" y="58"/>
                        </a:lnTo>
                        <a:lnTo>
                          <a:pt x="108" y="56"/>
                        </a:lnTo>
                        <a:lnTo>
                          <a:pt x="135" y="53"/>
                        </a:lnTo>
                        <a:lnTo>
                          <a:pt x="159" y="46"/>
                        </a:lnTo>
                        <a:lnTo>
                          <a:pt x="176" y="33"/>
                        </a:lnTo>
                        <a:lnTo>
                          <a:pt x="185" y="16"/>
                        </a:lnTo>
                        <a:lnTo>
                          <a:pt x="160" y="6"/>
                        </a:lnTo>
                        <a:lnTo>
                          <a:pt x="144" y="0"/>
                        </a:lnTo>
                        <a:lnTo>
                          <a:pt x="139" y="15"/>
                        </a:lnTo>
                        <a:lnTo>
                          <a:pt x="127" y="24"/>
                        </a:lnTo>
                        <a:lnTo>
                          <a:pt x="109" y="29"/>
                        </a:lnTo>
                        <a:lnTo>
                          <a:pt x="89" y="29"/>
                        </a:lnTo>
                        <a:lnTo>
                          <a:pt x="68" y="25"/>
                        </a:lnTo>
                        <a:lnTo>
                          <a:pt x="51" y="20"/>
                        </a:lnTo>
                        <a:lnTo>
                          <a:pt x="38" y="11"/>
                        </a:lnTo>
                        <a:lnTo>
                          <a:pt x="33" y="1"/>
                        </a:lnTo>
                        <a:lnTo>
                          <a:pt x="13" y="8"/>
                        </a:lnTo>
                        <a:close/>
                      </a:path>
                    </a:pathLst>
                  </a:custGeom>
                  <a:solidFill>
                    <a:srgbClr val="E6E6E6">
                      <a:lumMod val="10000"/>
                    </a:srgbClr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da-DK" kern="0">
                      <a:solidFill>
                        <a:sysClr val="windowText" lastClr="000000"/>
                      </a:solidFill>
                      <a:latin typeface="+mn-lt"/>
                      <a:ea typeface="ＭＳ Ｐゴシック" pitchFamily="-97" charset="-128"/>
                      <a:cs typeface="+mn-cs"/>
                    </a:endParaRPr>
                  </a:p>
                </p:txBody>
              </p:sp>
              <p:sp>
                <p:nvSpPr>
                  <p:cNvPr id="313" name="Freeform 132"/>
                  <p:cNvSpPr>
                    <a:spLocks/>
                  </p:cNvSpPr>
                  <p:nvPr/>
                </p:nvSpPr>
                <p:spPr bwMode="auto">
                  <a:xfrm>
                    <a:off x="181779" y="3699659"/>
                    <a:ext cx="650449" cy="196781"/>
                  </a:xfrm>
                  <a:custGeom>
                    <a:avLst/>
                    <a:gdLst/>
                    <a:ahLst/>
                    <a:cxnLst>
                      <a:cxn ang="0">
                        <a:pos x="32" y="10"/>
                      </a:cxn>
                      <a:cxn ang="0">
                        <a:pos x="1" y="26"/>
                      </a:cxn>
                      <a:cxn ang="0">
                        <a:pos x="0" y="43"/>
                      </a:cxn>
                      <a:cxn ang="0">
                        <a:pos x="3" y="60"/>
                      </a:cxn>
                      <a:cxn ang="0">
                        <a:pos x="14" y="71"/>
                      </a:cxn>
                      <a:cxn ang="0">
                        <a:pos x="27" y="81"/>
                      </a:cxn>
                      <a:cxn ang="0">
                        <a:pos x="46" y="90"/>
                      </a:cxn>
                      <a:cxn ang="0">
                        <a:pos x="67" y="95"/>
                      </a:cxn>
                      <a:cxn ang="0">
                        <a:pos x="91" y="100"/>
                      </a:cxn>
                      <a:cxn ang="0">
                        <a:pos x="117" y="102"/>
                      </a:cxn>
                      <a:cxn ang="0">
                        <a:pos x="144" y="102"/>
                      </a:cxn>
                      <a:cxn ang="0">
                        <a:pos x="171" y="102"/>
                      </a:cxn>
                      <a:cxn ang="0">
                        <a:pos x="199" y="100"/>
                      </a:cxn>
                      <a:cxn ang="0">
                        <a:pos x="225" y="98"/>
                      </a:cxn>
                      <a:cxn ang="0">
                        <a:pos x="251" y="94"/>
                      </a:cxn>
                      <a:cxn ang="0">
                        <a:pos x="273" y="90"/>
                      </a:cxn>
                      <a:cxn ang="0">
                        <a:pos x="292" y="85"/>
                      </a:cxn>
                      <a:cxn ang="0">
                        <a:pos x="308" y="79"/>
                      </a:cxn>
                      <a:cxn ang="0">
                        <a:pos x="319" y="71"/>
                      </a:cxn>
                      <a:cxn ang="0">
                        <a:pos x="326" y="61"/>
                      </a:cxn>
                      <a:cxn ang="0">
                        <a:pos x="329" y="50"/>
                      </a:cxn>
                      <a:cxn ang="0">
                        <a:pos x="329" y="39"/>
                      </a:cxn>
                      <a:cxn ang="0">
                        <a:pos x="325" y="28"/>
                      </a:cxn>
                      <a:cxn ang="0">
                        <a:pos x="316" y="18"/>
                      </a:cxn>
                      <a:cxn ang="0">
                        <a:pos x="303" y="8"/>
                      </a:cxn>
                      <a:cxn ang="0">
                        <a:pos x="285" y="0"/>
                      </a:cxn>
                      <a:cxn ang="0">
                        <a:pos x="269" y="18"/>
                      </a:cxn>
                      <a:cxn ang="0">
                        <a:pos x="252" y="31"/>
                      </a:cxn>
                      <a:cxn ang="0">
                        <a:pos x="234" y="39"/>
                      </a:cxn>
                      <a:cxn ang="0">
                        <a:pos x="215" y="43"/>
                      </a:cxn>
                      <a:cxn ang="0">
                        <a:pos x="194" y="45"/>
                      </a:cxn>
                      <a:cxn ang="0">
                        <a:pos x="173" y="43"/>
                      </a:cxn>
                      <a:cxn ang="0">
                        <a:pos x="148" y="41"/>
                      </a:cxn>
                      <a:cxn ang="0">
                        <a:pos x="122" y="40"/>
                      </a:cxn>
                      <a:cxn ang="0">
                        <a:pos x="67" y="30"/>
                      </a:cxn>
                      <a:cxn ang="0">
                        <a:pos x="49" y="3"/>
                      </a:cxn>
                      <a:cxn ang="0">
                        <a:pos x="32" y="10"/>
                      </a:cxn>
                    </a:cxnLst>
                    <a:rect l="0" t="0" r="r" b="b"/>
                    <a:pathLst>
                      <a:path w="329" h="102">
                        <a:moveTo>
                          <a:pt x="32" y="10"/>
                        </a:moveTo>
                        <a:lnTo>
                          <a:pt x="1" y="26"/>
                        </a:lnTo>
                        <a:lnTo>
                          <a:pt x="0" y="43"/>
                        </a:lnTo>
                        <a:lnTo>
                          <a:pt x="3" y="60"/>
                        </a:lnTo>
                        <a:lnTo>
                          <a:pt x="14" y="71"/>
                        </a:lnTo>
                        <a:lnTo>
                          <a:pt x="27" y="81"/>
                        </a:lnTo>
                        <a:lnTo>
                          <a:pt x="46" y="90"/>
                        </a:lnTo>
                        <a:lnTo>
                          <a:pt x="67" y="95"/>
                        </a:lnTo>
                        <a:lnTo>
                          <a:pt x="91" y="100"/>
                        </a:lnTo>
                        <a:lnTo>
                          <a:pt x="117" y="102"/>
                        </a:lnTo>
                        <a:lnTo>
                          <a:pt x="144" y="102"/>
                        </a:lnTo>
                        <a:lnTo>
                          <a:pt x="171" y="102"/>
                        </a:lnTo>
                        <a:lnTo>
                          <a:pt x="199" y="100"/>
                        </a:lnTo>
                        <a:lnTo>
                          <a:pt x="225" y="98"/>
                        </a:lnTo>
                        <a:lnTo>
                          <a:pt x="251" y="94"/>
                        </a:lnTo>
                        <a:lnTo>
                          <a:pt x="273" y="90"/>
                        </a:lnTo>
                        <a:lnTo>
                          <a:pt x="292" y="85"/>
                        </a:lnTo>
                        <a:lnTo>
                          <a:pt x="308" y="79"/>
                        </a:lnTo>
                        <a:lnTo>
                          <a:pt x="319" y="71"/>
                        </a:lnTo>
                        <a:lnTo>
                          <a:pt x="326" y="61"/>
                        </a:lnTo>
                        <a:lnTo>
                          <a:pt x="329" y="50"/>
                        </a:lnTo>
                        <a:lnTo>
                          <a:pt x="329" y="39"/>
                        </a:lnTo>
                        <a:lnTo>
                          <a:pt x="325" y="28"/>
                        </a:lnTo>
                        <a:lnTo>
                          <a:pt x="316" y="18"/>
                        </a:lnTo>
                        <a:lnTo>
                          <a:pt x="303" y="8"/>
                        </a:lnTo>
                        <a:lnTo>
                          <a:pt x="285" y="0"/>
                        </a:lnTo>
                        <a:lnTo>
                          <a:pt x="269" y="18"/>
                        </a:lnTo>
                        <a:lnTo>
                          <a:pt x="252" y="31"/>
                        </a:lnTo>
                        <a:lnTo>
                          <a:pt x="234" y="39"/>
                        </a:lnTo>
                        <a:lnTo>
                          <a:pt x="215" y="43"/>
                        </a:lnTo>
                        <a:lnTo>
                          <a:pt x="194" y="45"/>
                        </a:lnTo>
                        <a:lnTo>
                          <a:pt x="173" y="43"/>
                        </a:lnTo>
                        <a:lnTo>
                          <a:pt x="148" y="41"/>
                        </a:lnTo>
                        <a:lnTo>
                          <a:pt x="122" y="40"/>
                        </a:lnTo>
                        <a:lnTo>
                          <a:pt x="67" y="30"/>
                        </a:lnTo>
                        <a:lnTo>
                          <a:pt x="49" y="3"/>
                        </a:lnTo>
                        <a:lnTo>
                          <a:pt x="32" y="10"/>
                        </a:lnTo>
                        <a:close/>
                      </a:path>
                    </a:pathLst>
                  </a:custGeom>
                  <a:solidFill>
                    <a:srgbClr val="E6E6E6">
                      <a:lumMod val="10000"/>
                    </a:srgbClr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da-DK" kern="0">
                      <a:solidFill>
                        <a:sysClr val="windowText" lastClr="000000"/>
                      </a:solidFill>
                      <a:latin typeface="+mn-lt"/>
                      <a:ea typeface="ＭＳ Ｐゴシック" pitchFamily="-97" charset="-128"/>
                      <a:cs typeface="+mn-cs"/>
                    </a:endParaRPr>
                  </a:p>
                </p:txBody>
              </p:sp>
              <p:sp>
                <p:nvSpPr>
                  <p:cNvPr id="314" name="Freeform 133"/>
                  <p:cNvSpPr>
                    <a:spLocks/>
                  </p:cNvSpPr>
                  <p:nvPr/>
                </p:nvSpPr>
                <p:spPr bwMode="auto">
                  <a:xfrm>
                    <a:off x="361215" y="4115077"/>
                    <a:ext cx="403731" cy="65584"/>
                  </a:xfrm>
                  <a:custGeom>
                    <a:avLst/>
                    <a:gdLst/>
                    <a:ahLst/>
                    <a:cxnLst>
                      <a:cxn ang="0">
                        <a:pos x="12" y="0"/>
                      </a:cxn>
                      <a:cxn ang="0">
                        <a:pos x="24" y="6"/>
                      </a:cxn>
                      <a:cxn ang="0">
                        <a:pos x="35" y="12"/>
                      </a:cxn>
                      <a:cxn ang="0">
                        <a:pos x="47" y="15"/>
                      </a:cxn>
                      <a:cxn ang="0">
                        <a:pos x="58" y="17"/>
                      </a:cxn>
                      <a:cxn ang="0">
                        <a:pos x="70" y="20"/>
                      </a:cxn>
                      <a:cxn ang="0">
                        <a:pos x="82" y="21"/>
                      </a:cxn>
                      <a:cxn ang="0">
                        <a:pos x="94" y="22"/>
                      </a:cxn>
                      <a:cxn ang="0">
                        <a:pos x="106" y="21"/>
                      </a:cxn>
                      <a:cxn ang="0">
                        <a:pos x="119" y="20"/>
                      </a:cxn>
                      <a:cxn ang="0">
                        <a:pos x="131" y="19"/>
                      </a:cxn>
                      <a:cxn ang="0">
                        <a:pos x="143" y="16"/>
                      </a:cxn>
                      <a:cxn ang="0">
                        <a:pos x="156" y="14"/>
                      </a:cxn>
                      <a:cxn ang="0">
                        <a:pos x="167" y="12"/>
                      </a:cxn>
                      <a:cxn ang="0">
                        <a:pos x="180" y="8"/>
                      </a:cxn>
                      <a:cxn ang="0">
                        <a:pos x="192" y="6"/>
                      </a:cxn>
                      <a:cxn ang="0">
                        <a:pos x="204" y="2"/>
                      </a:cxn>
                      <a:cxn ang="0">
                        <a:pos x="204" y="14"/>
                      </a:cxn>
                      <a:cxn ang="0">
                        <a:pos x="196" y="17"/>
                      </a:cxn>
                      <a:cxn ang="0">
                        <a:pos x="188" y="21"/>
                      </a:cxn>
                      <a:cxn ang="0">
                        <a:pos x="178" y="24"/>
                      </a:cxn>
                      <a:cxn ang="0">
                        <a:pos x="167" y="27"/>
                      </a:cxn>
                      <a:cxn ang="0">
                        <a:pos x="155" y="30"/>
                      </a:cxn>
                      <a:cxn ang="0">
                        <a:pos x="143" y="32"/>
                      </a:cxn>
                      <a:cxn ang="0">
                        <a:pos x="129" y="35"/>
                      </a:cxn>
                      <a:cxn ang="0">
                        <a:pos x="117" y="37"/>
                      </a:cxn>
                      <a:cxn ang="0">
                        <a:pos x="102" y="37"/>
                      </a:cxn>
                      <a:cxn ang="0">
                        <a:pos x="88" y="37"/>
                      </a:cxn>
                      <a:cxn ang="0">
                        <a:pos x="73" y="36"/>
                      </a:cxn>
                      <a:cxn ang="0">
                        <a:pos x="58" y="34"/>
                      </a:cxn>
                      <a:cxn ang="0">
                        <a:pos x="44" y="29"/>
                      </a:cxn>
                      <a:cxn ang="0">
                        <a:pos x="29" y="24"/>
                      </a:cxn>
                      <a:cxn ang="0">
                        <a:pos x="14" y="17"/>
                      </a:cxn>
                      <a:cxn ang="0">
                        <a:pos x="0" y="8"/>
                      </a:cxn>
                      <a:cxn ang="0">
                        <a:pos x="12" y="0"/>
                      </a:cxn>
                    </a:cxnLst>
                    <a:rect l="0" t="0" r="r" b="b"/>
                    <a:pathLst>
                      <a:path w="204" h="37">
                        <a:moveTo>
                          <a:pt x="12" y="0"/>
                        </a:moveTo>
                        <a:lnTo>
                          <a:pt x="24" y="6"/>
                        </a:lnTo>
                        <a:lnTo>
                          <a:pt x="35" y="12"/>
                        </a:lnTo>
                        <a:lnTo>
                          <a:pt x="47" y="15"/>
                        </a:lnTo>
                        <a:lnTo>
                          <a:pt x="58" y="17"/>
                        </a:lnTo>
                        <a:lnTo>
                          <a:pt x="70" y="20"/>
                        </a:lnTo>
                        <a:lnTo>
                          <a:pt x="82" y="21"/>
                        </a:lnTo>
                        <a:lnTo>
                          <a:pt x="94" y="22"/>
                        </a:lnTo>
                        <a:lnTo>
                          <a:pt x="106" y="21"/>
                        </a:lnTo>
                        <a:lnTo>
                          <a:pt x="119" y="20"/>
                        </a:lnTo>
                        <a:lnTo>
                          <a:pt x="131" y="19"/>
                        </a:lnTo>
                        <a:lnTo>
                          <a:pt x="143" y="16"/>
                        </a:lnTo>
                        <a:lnTo>
                          <a:pt x="156" y="14"/>
                        </a:lnTo>
                        <a:lnTo>
                          <a:pt x="167" y="12"/>
                        </a:lnTo>
                        <a:lnTo>
                          <a:pt x="180" y="8"/>
                        </a:lnTo>
                        <a:lnTo>
                          <a:pt x="192" y="6"/>
                        </a:lnTo>
                        <a:lnTo>
                          <a:pt x="204" y="2"/>
                        </a:lnTo>
                        <a:lnTo>
                          <a:pt x="204" y="14"/>
                        </a:lnTo>
                        <a:lnTo>
                          <a:pt x="196" y="17"/>
                        </a:lnTo>
                        <a:lnTo>
                          <a:pt x="188" y="21"/>
                        </a:lnTo>
                        <a:lnTo>
                          <a:pt x="178" y="24"/>
                        </a:lnTo>
                        <a:lnTo>
                          <a:pt x="167" y="27"/>
                        </a:lnTo>
                        <a:lnTo>
                          <a:pt x="155" y="30"/>
                        </a:lnTo>
                        <a:lnTo>
                          <a:pt x="143" y="32"/>
                        </a:lnTo>
                        <a:lnTo>
                          <a:pt x="129" y="35"/>
                        </a:lnTo>
                        <a:lnTo>
                          <a:pt x="117" y="37"/>
                        </a:lnTo>
                        <a:lnTo>
                          <a:pt x="102" y="37"/>
                        </a:lnTo>
                        <a:lnTo>
                          <a:pt x="88" y="37"/>
                        </a:lnTo>
                        <a:lnTo>
                          <a:pt x="73" y="36"/>
                        </a:lnTo>
                        <a:lnTo>
                          <a:pt x="58" y="34"/>
                        </a:lnTo>
                        <a:lnTo>
                          <a:pt x="44" y="29"/>
                        </a:lnTo>
                        <a:lnTo>
                          <a:pt x="29" y="24"/>
                        </a:lnTo>
                        <a:lnTo>
                          <a:pt x="14" y="17"/>
                        </a:lnTo>
                        <a:lnTo>
                          <a:pt x="0" y="8"/>
                        </a:lnTo>
                        <a:lnTo>
                          <a:pt x="12" y="0"/>
                        </a:lnTo>
                        <a:close/>
                      </a:path>
                    </a:pathLst>
                  </a:custGeom>
                  <a:solidFill>
                    <a:srgbClr val="E6E6E6">
                      <a:lumMod val="10000"/>
                    </a:srgbClr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da-DK" kern="0">
                      <a:solidFill>
                        <a:sysClr val="windowText" lastClr="000000"/>
                      </a:solidFill>
                      <a:latin typeface="+mn-lt"/>
                      <a:ea typeface="ＭＳ Ｐゴシック" pitchFamily="-97" charset="-128"/>
                      <a:cs typeface="+mn-cs"/>
                    </a:endParaRPr>
                  </a:p>
                </p:txBody>
              </p:sp>
              <p:sp>
                <p:nvSpPr>
                  <p:cNvPr id="315" name="Freeform 135"/>
                  <p:cNvSpPr>
                    <a:spLocks/>
                  </p:cNvSpPr>
                  <p:nvPr/>
                </p:nvSpPr>
                <p:spPr bwMode="auto">
                  <a:xfrm>
                    <a:off x="159343" y="4224389"/>
                    <a:ext cx="672885" cy="196781"/>
                  </a:xfrm>
                  <a:custGeom>
                    <a:avLst/>
                    <a:gdLst/>
                    <a:ahLst/>
                    <a:cxnLst>
                      <a:cxn ang="0">
                        <a:pos x="40" y="0"/>
                      </a:cxn>
                      <a:cxn ang="0">
                        <a:pos x="19" y="9"/>
                      </a:cxn>
                      <a:cxn ang="0">
                        <a:pos x="6" y="20"/>
                      </a:cxn>
                      <a:cxn ang="0">
                        <a:pos x="0" y="30"/>
                      </a:cxn>
                      <a:cxn ang="0">
                        <a:pos x="0" y="42"/>
                      </a:cxn>
                      <a:cxn ang="0">
                        <a:pos x="7" y="53"/>
                      </a:cxn>
                      <a:cxn ang="0">
                        <a:pos x="17" y="65"/>
                      </a:cxn>
                      <a:cxn ang="0">
                        <a:pos x="32" y="75"/>
                      </a:cxn>
                      <a:cxn ang="0">
                        <a:pos x="50" y="85"/>
                      </a:cxn>
                      <a:cxn ang="0">
                        <a:pos x="66" y="89"/>
                      </a:cxn>
                      <a:cxn ang="0">
                        <a:pos x="82" y="92"/>
                      </a:cxn>
                      <a:cxn ang="0">
                        <a:pos x="97" y="95"/>
                      </a:cxn>
                      <a:cxn ang="0">
                        <a:pos x="113" y="96"/>
                      </a:cxn>
                      <a:cxn ang="0">
                        <a:pos x="128" y="98"/>
                      </a:cxn>
                      <a:cxn ang="0">
                        <a:pos x="144" y="99"/>
                      </a:cxn>
                      <a:cxn ang="0">
                        <a:pos x="159" y="99"/>
                      </a:cxn>
                      <a:cxn ang="0">
                        <a:pos x="174" y="100"/>
                      </a:cxn>
                      <a:cxn ang="0">
                        <a:pos x="189" y="100"/>
                      </a:cxn>
                      <a:cxn ang="0">
                        <a:pos x="205" y="100"/>
                      </a:cxn>
                      <a:cxn ang="0">
                        <a:pos x="220" y="99"/>
                      </a:cxn>
                      <a:cxn ang="0">
                        <a:pos x="236" y="99"/>
                      </a:cxn>
                      <a:cxn ang="0">
                        <a:pos x="251" y="98"/>
                      </a:cxn>
                      <a:cxn ang="0">
                        <a:pos x="267" y="97"/>
                      </a:cxn>
                      <a:cxn ang="0">
                        <a:pos x="284" y="95"/>
                      </a:cxn>
                      <a:cxn ang="0">
                        <a:pos x="300" y="94"/>
                      </a:cxn>
                      <a:cxn ang="0">
                        <a:pos x="323" y="81"/>
                      </a:cxn>
                      <a:cxn ang="0">
                        <a:pos x="339" y="68"/>
                      </a:cxn>
                      <a:cxn ang="0">
                        <a:pos x="349" y="56"/>
                      </a:cxn>
                      <a:cxn ang="0">
                        <a:pos x="351" y="43"/>
                      </a:cxn>
                      <a:cxn ang="0">
                        <a:pos x="348" y="31"/>
                      </a:cxn>
                      <a:cxn ang="0">
                        <a:pos x="338" y="21"/>
                      </a:cxn>
                      <a:cxn ang="0">
                        <a:pos x="320" y="12"/>
                      </a:cxn>
                      <a:cxn ang="0">
                        <a:pos x="296" y="5"/>
                      </a:cxn>
                      <a:cxn ang="0">
                        <a:pos x="298" y="15"/>
                      </a:cxn>
                      <a:cxn ang="0">
                        <a:pos x="294" y="23"/>
                      </a:cxn>
                      <a:cxn ang="0">
                        <a:pos x="284" y="30"/>
                      </a:cxn>
                      <a:cxn ang="0">
                        <a:pos x="272" y="37"/>
                      </a:cxn>
                      <a:cxn ang="0">
                        <a:pos x="258" y="38"/>
                      </a:cxn>
                      <a:cxn ang="0">
                        <a:pos x="245" y="39"/>
                      </a:cxn>
                      <a:cxn ang="0">
                        <a:pos x="234" y="41"/>
                      </a:cxn>
                      <a:cxn ang="0">
                        <a:pos x="222" y="42"/>
                      </a:cxn>
                      <a:cxn ang="0">
                        <a:pos x="211" y="43"/>
                      </a:cxn>
                      <a:cxn ang="0">
                        <a:pos x="199" y="43"/>
                      </a:cxn>
                      <a:cxn ang="0">
                        <a:pos x="188" y="44"/>
                      </a:cxn>
                      <a:cxn ang="0">
                        <a:pos x="178" y="44"/>
                      </a:cxn>
                      <a:cxn ang="0">
                        <a:pos x="166" y="44"/>
                      </a:cxn>
                      <a:cxn ang="0">
                        <a:pos x="155" y="44"/>
                      </a:cxn>
                      <a:cxn ang="0">
                        <a:pos x="143" y="44"/>
                      </a:cxn>
                      <a:cxn ang="0">
                        <a:pos x="133" y="43"/>
                      </a:cxn>
                      <a:cxn ang="0">
                        <a:pos x="120" y="42"/>
                      </a:cxn>
                      <a:cxn ang="0">
                        <a:pos x="108" y="41"/>
                      </a:cxn>
                      <a:cxn ang="0">
                        <a:pos x="96" y="39"/>
                      </a:cxn>
                      <a:cxn ang="0">
                        <a:pos x="82" y="37"/>
                      </a:cxn>
                      <a:cxn ang="0">
                        <a:pos x="73" y="32"/>
                      </a:cxn>
                      <a:cxn ang="0">
                        <a:pos x="65" y="28"/>
                      </a:cxn>
                      <a:cxn ang="0">
                        <a:pos x="58" y="23"/>
                      </a:cxn>
                      <a:cxn ang="0">
                        <a:pos x="52" y="19"/>
                      </a:cxn>
                      <a:cxn ang="0">
                        <a:pos x="47" y="14"/>
                      </a:cxn>
                      <a:cxn ang="0">
                        <a:pos x="44" y="11"/>
                      </a:cxn>
                      <a:cxn ang="0">
                        <a:pos x="42" y="5"/>
                      </a:cxn>
                      <a:cxn ang="0">
                        <a:pos x="40" y="0"/>
                      </a:cxn>
                    </a:cxnLst>
                    <a:rect l="0" t="0" r="r" b="b"/>
                    <a:pathLst>
                      <a:path w="351" h="100">
                        <a:moveTo>
                          <a:pt x="40" y="0"/>
                        </a:moveTo>
                        <a:lnTo>
                          <a:pt x="19" y="9"/>
                        </a:lnTo>
                        <a:lnTo>
                          <a:pt x="6" y="20"/>
                        </a:lnTo>
                        <a:lnTo>
                          <a:pt x="0" y="30"/>
                        </a:lnTo>
                        <a:lnTo>
                          <a:pt x="0" y="42"/>
                        </a:lnTo>
                        <a:lnTo>
                          <a:pt x="7" y="53"/>
                        </a:lnTo>
                        <a:lnTo>
                          <a:pt x="17" y="65"/>
                        </a:lnTo>
                        <a:lnTo>
                          <a:pt x="32" y="75"/>
                        </a:lnTo>
                        <a:lnTo>
                          <a:pt x="50" y="85"/>
                        </a:lnTo>
                        <a:lnTo>
                          <a:pt x="66" y="89"/>
                        </a:lnTo>
                        <a:lnTo>
                          <a:pt x="82" y="92"/>
                        </a:lnTo>
                        <a:lnTo>
                          <a:pt x="97" y="95"/>
                        </a:lnTo>
                        <a:lnTo>
                          <a:pt x="113" y="96"/>
                        </a:lnTo>
                        <a:lnTo>
                          <a:pt x="128" y="98"/>
                        </a:lnTo>
                        <a:lnTo>
                          <a:pt x="144" y="99"/>
                        </a:lnTo>
                        <a:lnTo>
                          <a:pt x="159" y="99"/>
                        </a:lnTo>
                        <a:lnTo>
                          <a:pt x="174" y="100"/>
                        </a:lnTo>
                        <a:lnTo>
                          <a:pt x="189" y="100"/>
                        </a:lnTo>
                        <a:lnTo>
                          <a:pt x="205" y="100"/>
                        </a:lnTo>
                        <a:lnTo>
                          <a:pt x="220" y="99"/>
                        </a:lnTo>
                        <a:lnTo>
                          <a:pt x="236" y="99"/>
                        </a:lnTo>
                        <a:lnTo>
                          <a:pt x="251" y="98"/>
                        </a:lnTo>
                        <a:lnTo>
                          <a:pt x="267" y="97"/>
                        </a:lnTo>
                        <a:lnTo>
                          <a:pt x="284" y="95"/>
                        </a:lnTo>
                        <a:lnTo>
                          <a:pt x="300" y="94"/>
                        </a:lnTo>
                        <a:lnTo>
                          <a:pt x="323" y="81"/>
                        </a:lnTo>
                        <a:lnTo>
                          <a:pt x="339" y="68"/>
                        </a:lnTo>
                        <a:lnTo>
                          <a:pt x="349" y="56"/>
                        </a:lnTo>
                        <a:lnTo>
                          <a:pt x="351" y="43"/>
                        </a:lnTo>
                        <a:lnTo>
                          <a:pt x="348" y="31"/>
                        </a:lnTo>
                        <a:lnTo>
                          <a:pt x="338" y="21"/>
                        </a:lnTo>
                        <a:lnTo>
                          <a:pt x="320" y="12"/>
                        </a:lnTo>
                        <a:lnTo>
                          <a:pt x="296" y="5"/>
                        </a:lnTo>
                        <a:lnTo>
                          <a:pt x="298" y="15"/>
                        </a:lnTo>
                        <a:lnTo>
                          <a:pt x="294" y="23"/>
                        </a:lnTo>
                        <a:lnTo>
                          <a:pt x="284" y="30"/>
                        </a:lnTo>
                        <a:lnTo>
                          <a:pt x="272" y="37"/>
                        </a:lnTo>
                        <a:lnTo>
                          <a:pt x="258" y="38"/>
                        </a:lnTo>
                        <a:lnTo>
                          <a:pt x="245" y="39"/>
                        </a:lnTo>
                        <a:lnTo>
                          <a:pt x="234" y="41"/>
                        </a:lnTo>
                        <a:lnTo>
                          <a:pt x="222" y="42"/>
                        </a:lnTo>
                        <a:lnTo>
                          <a:pt x="211" y="43"/>
                        </a:lnTo>
                        <a:lnTo>
                          <a:pt x="199" y="43"/>
                        </a:lnTo>
                        <a:lnTo>
                          <a:pt x="188" y="44"/>
                        </a:lnTo>
                        <a:lnTo>
                          <a:pt x="178" y="44"/>
                        </a:lnTo>
                        <a:lnTo>
                          <a:pt x="166" y="44"/>
                        </a:lnTo>
                        <a:lnTo>
                          <a:pt x="155" y="44"/>
                        </a:lnTo>
                        <a:lnTo>
                          <a:pt x="143" y="44"/>
                        </a:lnTo>
                        <a:lnTo>
                          <a:pt x="133" y="43"/>
                        </a:lnTo>
                        <a:lnTo>
                          <a:pt x="120" y="42"/>
                        </a:lnTo>
                        <a:lnTo>
                          <a:pt x="108" y="41"/>
                        </a:lnTo>
                        <a:lnTo>
                          <a:pt x="96" y="39"/>
                        </a:lnTo>
                        <a:lnTo>
                          <a:pt x="82" y="37"/>
                        </a:lnTo>
                        <a:lnTo>
                          <a:pt x="73" y="32"/>
                        </a:lnTo>
                        <a:lnTo>
                          <a:pt x="65" y="28"/>
                        </a:lnTo>
                        <a:lnTo>
                          <a:pt x="58" y="23"/>
                        </a:lnTo>
                        <a:lnTo>
                          <a:pt x="52" y="19"/>
                        </a:lnTo>
                        <a:lnTo>
                          <a:pt x="47" y="14"/>
                        </a:lnTo>
                        <a:lnTo>
                          <a:pt x="44" y="11"/>
                        </a:lnTo>
                        <a:lnTo>
                          <a:pt x="42" y="5"/>
                        </a:lnTo>
                        <a:lnTo>
                          <a:pt x="40" y="0"/>
                        </a:lnTo>
                        <a:close/>
                      </a:path>
                    </a:pathLst>
                  </a:custGeom>
                  <a:solidFill>
                    <a:srgbClr val="E6E6E6">
                      <a:lumMod val="10000"/>
                    </a:srgbClr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da-DK" kern="0">
                      <a:solidFill>
                        <a:sysClr val="windowText" lastClr="000000"/>
                      </a:solidFill>
                      <a:latin typeface="+mn-lt"/>
                      <a:ea typeface="ＭＳ Ｐゴシック" pitchFamily="-97" charset="-128"/>
                      <a:cs typeface="+mn-cs"/>
                    </a:endParaRPr>
                  </a:p>
                </p:txBody>
              </p:sp>
              <p:sp>
                <p:nvSpPr>
                  <p:cNvPr id="316" name="Freeform 147"/>
                  <p:cNvSpPr>
                    <a:spLocks/>
                  </p:cNvSpPr>
                  <p:nvPr/>
                </p:nvSpPr>
                <p:spPr bwMode="auto">
                  <a:xfrm>
                    <a:off x="114484" y="5077082"/>
                    <a:ext cx="740181" cy="196767"/>
                  </a:xfrm>
                  <a:custGeom>
                    <a:avLst/>
                    <a:gdLst/>
                    <a:ahLst/>
                    <a:cxnLst>
                      <a:cxn ang="0">
                        <a:pos x="24" y="4"/>
                      </a:cxn>
                      <a:cxn ang="0">
                        <a:pos x="68" y="40"/>
                      </a:cxn>
                      <a:cxn ang="0">
                        <a:pos x="89" y="44"/>
                      </a:cxn>
                      <a:cxn ang="0">
                        <a:pos x="108" y="48"/>
                      </a:cxn>
                      <a:cxn ang="0">
                        <a:pos x="127" y="53"/>
                      </a:cxn>
                      <a:cxn ang="0">
                        <a:pos x="144" y="55"/>
                      </a:cxn>
                      <a:cxn ang="0">
                        <a:pos x="160" y="57"/>
                      </a:cxn>
                      <a:cxn ang="0">
                        <a:pos x="176" y="59"/>
                      </a:cxn>
                      <a:cxn ang="0">
                        <a:pos x="192" y="59"/>
                      </a:cxn>
                      <a:cxn ang="0">
                        <a:pos x="207" y="59"/>
                      </a:cxn>
                      <a:cxn ang="0">
                        <a:pos x="222" y="58"/>
                      </a:cxn>
                      <a:cxn ang="0">
                        <a:pos x="237" y="57"/>
                      </a:cxn>
                      <a:cxn ang="0">
                        <a:pos x="253" y="54"/>
                      </a:cxn>
                      <a:cxn ang="0">
                        <a:pos x="270" y="50"/>
                      </a:cxn>
                      <a:cxn ang="0">
                        <a:pos x="286" y="46"/>
                      </a:cxn>
                      <a:cxn ang="0">
                        <a:pos x="304" y="39"/>
                      </a:cxn>
                      <a:cxn ang="0">
                        <a:pos x="323" y="32"/>
                      </a:cxn>
                      <a:cxn ang="0">
                        <a:pos x="342" y="23"/>
                      </a:cxn>
                      <a:cxn ang="0">
                        <a:pos x="348" y="10"/>
                      </a:cxn>
                      <a:cxn ang="0">
                        <a:pos x="352" y="3"/>
                      </a:cxn>
                      <a:cxn ang="0">
                        <a:pos x="356" y="0"/>
                      </a:cxn>
                      <a:cxn ang="0">
                        <a:pos x="359" y="1"/>
                      </a:cxn>
                      <a:cxn ang="0">
                        <a:pos x="363" y="4"/>
                      </a:cxn>
                      <a:cxn ang="0">
                        <a:pos x="367" y="11"/>
                      </a:cxn>
                      <a:cxn ang="0">
                        <a:pos x="374" y="20"/>
                      </a:cxn>
                      <a:cxn ang="0">
                        <a:pos x="382" y="32"/>
                      </a:cxn>
                      <a:cxn ang="0">
                        <a:pos x="366" y="55"/>
                      </a:cxn>
                      <a:cxn ang="0">
                        <a:pos x="349" y="65"/>
                      </a:cxn>
                      <a:cxn ang="0">
                        <a:pos x="329" y="73"/>
                      </a:cxn>
                      <a:cxn ang="0">
                        <a:pos x="310" y="80"/>
                      </a:cxn>
                      <a:cxn ang="0">
                        <a:pos x="288" y="86"/>
                      </a:cxn>
                      <a:cxn ang="0">
                        <a:pos x="266" y="91"/>
                      </a:cxn>
                      <a:cxn ang="0">
                        <a:pos x="243" y="94"/>
                      </a:cxn>
                      <a:cxn ang="0">
                        <a:pos x="219" y="96"/>
                      </a:cxn>
                      <a:cxn ang="0">
                        <a:pos x="196" y="96"/>
                      </a:cxn>
                      <a:cxn ang="0">
                        <a:pos x="172" y="96"/>
                      </a:cxn>
                      <a:cxn ang="0">
                        <a:pos x="147" y="95"/>
                      </a:cxn>
                      <a:cxn ang="0">
                        <a:pos x="124" y="92"/>
                      </a:cxn>
                      <a:cxn ang="0">
                        <a:pos x="101" y="88"/>
                      </a:cxn>
                      <a:cxn ang="0">
                        <a:pos x="78" y="84"/>
                      </a:cxn>
                      <a:cxn ang="0">
                        <a:pos x="58" y="79"/>
                      </a:cxn>
                      <a:cxn ang="0">
                        <a:pos x="37" y="72"/>
                      </a:cxn>
                      <a:cxn ang="0">
                        <a:pos x="18" y="65"/>
                      </a:cxn>
                      <a:cxn ang="0">
                        <a:pos x="12" y="56"/>
                      </a:cxn>
                      <a:cxn ang="0">
                        <a:pos x="6" y="47"/>
                      </a:cxn>
                      <a:cxn ang="0">
                        <a:pos x="2" y="38"/>
                      </a:cxn>
                      <a:cxn ang="0">
                        <a:pos x="0" y="28"/>
                      </a:cxn>
                      <a:cxn ang="0">
                        <a:pos x="0" y="20"/>
                      </a:cxn>
                      <a:cxn ang="0">
                        <a:pos x="5" y="13"/>
                      </a:cxn>
                      <a:cxn ang="0">
                        <a:pos x="12" y="8"/>
                      </a:cxn>
                      <a:cxn ang="0">
                        <a:pos x="24" y="4"/>
                      </a:cxn>
                    </a:cxnLst>
                    <a:rect l="0" t="0" r="r" b="b"/>
                    <a:pathLst>
                      <a:path w="382" h="96">
                        <a:moveTo>
                          <a:pt x="24" y="4"/>
                        </a:moveTo>
                        <a:lnTo>
                          <a:pt x="68" y="40"/>
                        </a:lnTo>
                        <a:lnTo>
                          <a:pt x="89" y="44"/>
                        </a:lnTo>
                        <a:lnTo>
                          <a:pt x="108" y="48"/>
                        </a:lnTo>
                        <a:lnTo>
                          <a:pt x="127" y="53"/>
                        </a:lnTo>
                        <a:lnTo>
                          <a:pt x="144" y="55"/>
                        </a:lnTo>
                        <a:lnTo>
                          <a:pt x="160" y="57"/>
                        </a:lnTo>
                        <a:lnTo>
                          <a:pt x="176" y="59"/>
                        </a:lnTo>
                        <a:lnTo>
                          <a:pt x="192" y="59"/>
                        </a:lnTo>
                        <a:lnTo>
                          <a:pt x="207" y="59"/>
                        </a:lnTo>
                        <a:lnTo>
                          <a:pt x="222" y="58"/>
                        </a:lnTo>
                        <a:lnTo>
                          <a:pt x="237" y="57"/>
                        </a:lnTo>
                        <a:lnTo>
                          <a:pt x="253" y="54"/>
                        </a:lnTo>
                        <a:lnTo>
                          <a:pt x="270" y="50"/>
                        </a:lnTo>
                        <a:lnTo>
                          <a:pt x="286" y="46"/>
                        </a:lnTo>
                        <a:lnTo>
                          <a:pt x="304" y="39"/>
                        </a:lnTo>
                        <a:lnTo>
                          <a:pt x="323" y="32"/>
                        </a:lnTo>
                        <a:lnTo>
                          <a:pt x="342" y="23"/>
                        </a:lnTo>
                        <a:lnTo>
                          <a:pt x="348" y="10"/>
                        </a:lnTo>
                        <a:lnTo>
                          <a:pt x="352" y="3"/>
                        </a:lnTo>
                        <a:lnTo>
                          <a:pt x="356" y="0"/>
                        </a:lnTo>
                        <a:lnTo>
                          <a:pt x="359" y="1"/>
                        </a:lnTo>
                        <a:lnTo>
                          <a:pt x="363" y="4"/>
                        </a:lnTo>
                        <a:lnTo>
                          <a:pt x="367" y="11"/>
                        </a:lnTo>
                        <a:lnTo>
                          <a:pt x="374" y="20"/>
                        </a:lnTo>
                        <a:lnTo>
                          <a:pt x="382" y="32"/>
                        </a:lnTo>
                        <a:lnTo>
                          <a:pt x="366" y="55"/>
                        </a:lnTo>
                        <a:lnTo>
                          <a:pt x="349" y="65"/>
                        </a:lnTo>
                        <a:lnTo>
                          <a:pt x="329" y="73"/>
                        </a:lnTo>
                        <a:lnTo>
                          <a:pt x="310" y="80"/>
                        </a:lnTo>
                        <a:lnTo>
                          <a:pt x="288" y="86"/>
                        </a:lnTo>
                        <a:lnTo>
                          <a:pt x="266" y="91"/>
                        </a:lnTo>
                        <a:lnTo>
                          <a:pt x="243" y="94"/>
                        </a:lnTo>
                        <a:lnTo>
                          <a:pt x="219" y="96"/>
                        </a:lnTo>
                        <a:lnTo>
                          <a:pt x="196" y="96"/>
                        </a:lnTo>
                        <a:lnTo>
                          <a:pt x="172" y="96"/>
                        </a:lnTo>
                        <a:lnTo>
                          <a:pt x="147" y="95"/>
                        </a:lnTo>
                        <a:lnTo>
                          <a:pt x="124" y="92"/>
                        </a:lnTo>
                        <a:lnTo>
                          <a:pt x="101" y="88"/>
                        </a:lnTo>
                        <a:lnTo>
                          <a:pt x="78" y="84"/>
                        </a:lnTo>
                        <a:lnTo>
                          <a:pt x="58" y="79"/>
                        </a:lnTo>
                        <a:lnTo>
                          <a:pt x="37" y="72"/>
                        </a:lnTo>
                        <a:lnTo>
                          <a:pt x="18" y="65"/>
                        </a:lnTo>
                        <a:lnTo>
                          <a:pt x="12" y="56"/>
                        </a:lnTo>
                        <a:lnTo>
                          <a:pt x="6" y="47"/>
                        </a:lnTo>
                        <a:lnTo>
                          <a:pt x="2" y="38"/>
                        </a:lnTo>
                        <a:lnTo>
                          <a:pt x="0" y="28"/>
                        </a:lnTo>
                        <a:lnTo>
                          <a:pt x="0" y="20"/>
                        </a:lnTo>
                        <a:lnTo>
                          <a:pt x="5" y="13"/>
                        </a:lnTo>
                        <a:lnTo>
                          <a:pt x="12" y="8"/>
                        </a:lnTo>
                        <a:lnTo>
                          <a:pt x="24" y="4"/>
                        </a:lnTo>
                        <a:close/>
                      </a:path>
                    </a:pathLst>
                  </a:custGeom>
                  <a:solidFill>
                    <a:srgbClr val="E6E6E6">
                      <a:lumMod val="10000"/>
                    </a:srgbClr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da-DK" kern="0">
                      <a:solidFill>
                        <a:sysClr val="windowText" lastClr="000000"/>
                      </a:solidFill>
                      <a:latin typeface="+mn-lt"/>
                      <a:ea typeface="ＭＳ Ｐゴシック" pitchFamily="-97" charset="-128"/>
                      <a:cs typeface="+mn-cs"/>
                    </a:endParaRPr>
                  </a:p>
                </p:txBody>
              </p:sp>
              <p:sp>
                <p:nvSpPr>
                  <p:cNvPr id="317" name="Freeform 148"/>
                  <p:cNvSpPr>
                    <a:spLocks/>
                  </p:cNvSpPr>
                  <p:nvPr/>
                </p:nvSpPr>
                <p:spPr bwMode="auto">
                  <a:xfrm>
                    <a:off x="2343" y="5251992"/>
                    <a:ext cx="942039" cy="371677"/>
                  </a:xfrm>
                  <a:custGeom>
                    <a:avLst/>
                    <a:gdLst/>
                    <a:ahLst/>
                    <a:cxnLst>
                      <a:cxn ang="0">
                        <a:pos x="7" y="102"/>
                      </a:cxn>
                      <a:cxn ang="0">
                        <a:pos x="18" y="116"/>
                      </a:cxn>
                      <a:cxn ang="0">
                        <a:pos x="34" y="130"/>
                      </a:cxn>
                      <a:cxn ang="0">
                        <a:pos x="55" y="143"/>
                      </a:cxn>
                      <a:cxn ang="0">
                        <a:pos x="80" y="155"/>
                      </a:cxn>
                      <a:cxn ang="0">
                        <a:pos x="109" y="165"/>
                      </a:cxn>
                      <a:cxn ang="0">
                        <a:pos x="141" y="173"/>
                      </a:cxn>
                      <a:cxn ang="0">
                        <a:pos x="176" y="179"/>
                      </a:cxn>
                      <a:cxn ang="0">
                        <a:pos x="211" y="182"/>
                      </a:cxn>
                      <a:cxn ang="0">
                        <a:pos x="248" y="184"/>
                      </a:cxn>
                      <a:cxn ang="0">
                        <a:pos x="285" y="183"/>
                      </a:cxn>
                      <a:cxn ang="0">
                        <a:pos x="323" y="180"/>
                      </a:cxn>
                      <a:cxn ang="0">
                        <a:pos x="359" y="173"/>
                      </a:cxn>
                      <a:cxn ang="0">
                        <a:pos x="393" y="164"/>
                      </a:cxn>
                      <a:cxn ang="0">
                        <a:pos x="427" y="151"/>
                      </a:cxn>
                      <a:cxn ang="0">
                        <a:pos x="455" y="135"/>
                      </a:cxn>
                      <a:cxn ang="0">
                        <a:pos x="482" y="115"/>
                      </a:cxn>
                      <a:cxn ang="0">
                        <a:pos x="483" y="93"/>
                      </a:cxn>
                      <a:cxn ang="0">
                        <a:pos x="483" y="77"/>
                      </a:cxn>
                      <a:cxn ang="0">
                        <a:pos x="482" y="65"/>
                      </a:cxn>
                      <a:cxn ang="0">
                        <a:pos x="478" y="54"/>
                      </a:cxn>
                      <a:cxn ang="0">
                        <a:pos x="473" y="44"/>
                      </a:cxn>
                      <a:cxn ang="0">
                        <a:pos x="463" y="34"/>
                      </a:cxn>
                      <a:cxn ang="0">
                        <a:pos x="451" y="22"/>
                      </a:cxn>
                      <a:cxn ang="0">
                        <a:pos x="435" y="7"/>
                      </a:cxn>
                      <a:cxn ang="0">
                        <a:pos x="416" y="23"/>
                      </a:cxn>
                      <a:cxn ang="0">
                        <a:pos x="396" y="37"/>
                      </a:cxn>
                      <a:cxn ang="0">
                        <a:pos x="375" y="50"/>
                      </a:cxn>
                      <a:cxn ang="0">
                        <a:pos x="353" y="59"/>
                      </a:cxn>
                      <a:cxn ang="0">
                        <a:pos x="330" y="67"/>
                      </a:cxn>
                      <a:cxn ang="0">
                        <a:pos x="307" y="73"/>
                      </a:cxn>
                      <a:cxn ang="0">
                        <a:pos x="284" y="76"/>
                      </a:cxn>
                      <a:cxn ang="0">
                        <a:pos x="260" y="78"/>
                      </a:cxn>
                      <a:cxn ang="0">
                        <a:pos x="235" y="78"/>
                      </a:cxn>
                      <a:cxn ang="0">
                        <a:pos x="211" y="76"/>
                      </a:cxn>
                      <a:cxn ang="0">
                        <a:pos x="187" y="73"/>
                      </a:cxn>
                      <a:cxn ang="0">
                        <a:pos x="163" y="68"/>
                      </a:cxn>
                      <a:cxn ang="0">
                        <a:pos x="140" y="61"/>
                      </a:cxn>
                      <a:cxn ang="0">
                        <a:pos x="116" y="53"/>
                      </a:cxn>
                      <a:cxn ang="0">
                        <a:pos x="94" y="44"/>
                      </a:cxn>
                      <a:cxn ang="0">
                        <a:pos x="72" y="32"/>
                      </a:cxn>
                      <a:cxn ang="0">
                        <a:pos x="66" y="0"/>
                      </a:cxn>
                      <a:cxn ang="0">
                        <a:pos x="56" y="5"/>
                      </a:cxn>
                      <a:cxn ang="0">
                        <a:pos x="42" y="12"/>
                      </a:cxn>
                      <a:cxn ang="0">
                        <a:pos x="29" y="20"/>
                      </a:cxn>
                      <a:cxn ang="0">
                        <a:pos x="17" y="30"/>
                      </a:cxn>
                      <a:cxn ang="0">
                        <a:pos x="7" y="43"/>
                      </a:cxn>
                      <a:cxn ang="0">
                        <a:pos x="2" y="59"/>
                      </a:cxn>
                      <a:cxn ang="0">
                        <a:pos x="0" y="78"/>
                      </a:cxn>
                      <a:cxn ang="0">
                        <a:pos x="7" y="102"/>
                      </a:cxn>
                    </a:cxnLst>
                    <a:rect l="0" t="0" r="r" b="b"/>
                    <a:pathLst>
                      <a:path w="483" h="184">
                        <a:moveTo>
                          <a:pt x="7" y="102"/>
                        </a:moveTo>
                        <a:lnTo>
                          <a:pt x="18" y="116"/>
                        </a:lnTo>
                        <a:lnTo>
                          <a:pt x="34" y="130"/>
                        </a:lnTo>
                        <a:lnTo>
                          <a:pt x="55" y="143"/>
                        </a:lnTo>
                        <a:lnTo>
                          <a:pt x="80" y="155"/>
                        </a:lnTo>
                        <a:lnTo>
                          <a:pt x="109" y="165"/>
                        </a:lnTo>
                        <a:lnTo>
                          <a:pt x="141" y="173"/>
                        </a:lnTo>
                        <a:lnTo>
                          <a:pt x="176" y="179"/>
                        </a:lnTo>
                        <a:lnTo>
                          <a:pt x="211" y="182"/>
                        </a:lnTo>
                        <a:lnTo>
                          <a:pt x="248" y="184"/>
                        </a:lnTo>
                        <a:lnTo>
                          <a:pt x="285" y="183"/>
                        </a:lnTo>
                        <a:lnTo>
                          <a:pt x="323" y="180"/>
                        </a:lnTo>
                        <a:lnTo>
                          <a:pt x="359" y="173"/>
                        </a:lnTo>
                        <a:lnTo>
                          <a:pt x="393" y="164"/>
                        </a:lnTo>
                        <a:lnTo>
                          <a:pt x="427" y="151"/>
                        </a:lnTo>
                        <a:lnTo>
                          <a:pt x="455" y="135"/>
                        </a:lnTo>
                        <a:lnTo>
                          <a:pt x="482" y="115"/>
                        </a:lnTo>
                        <a:lnTo>
                          <a:pt x="483" y="93"/>
                        </a:lnTo>
                        <a:lnTo>
                          <a:pt x="483" y="77"/>
                        </a:lnTo>
                        <a:lnTo>
                          <a:pt x="482" y="65"/>
                        </a:lnTo>
                        <a:lnTo>
                          <a:pt x="478" y="54"/>
                        </a:lnTo>
                        <a:lnTo>
                          <a:pt x="473" y="44"/>
                        </a:lnTo>
                        <a:lnTo>
                          <a:pt x="463" y="34"/>
                        </a:lnTo>
                        <a:lnTo>
                          <a:pt x="451" y="22"/>
                        </a:lnTo>
                        <a:lnTo>
                          <a:pt x="435" y="7"/>
                        </a:lnTo>
                        <a:lnTo>
                          <a:pt x="416" y="23"/>
                        </a:lnTo>
                        <a:lnTo>
                          <a:pt x="396" y="37"/>
                        </a:lnTo>
                        <a:lnTo>
                          <a:pt x="375" y="50"/>
                        </a:lnTo>
                        <a:lnTo>
                          <a:pt x="353" y="59"/>
                        </a:lnTo>
                        <a:lnTo>
                          <a:pt x="330" y="67"/>
                        </a:lnTo>
                        <a:lnTo>
                          <a:pt x="307" y="73"/>
                        </a:lnTo>
                        <a:lnTo>
                          <a:pt x="284" y="76"/>
                        </a:lnTo>
                        <a:lnTo>
                          <a:pt x="260" y="78"/>
                        </a:lnTo>
                        <a:lnTo>
                          <a:pt x="235" y="78"/>
                        </a:lnTo>
                        <a:lnTo>
                          <a:pt x="211" y="76"/>
                        </a:lnTo>
                        <a:lnTo>
                          <a:pt x="187" y="73"/>
                        </a:lnTo>
                        <a:lnTo>
                          <a:pt x="163" y="68"/>
                        </a:lnTo>
                        <a:lnTo>
                          <a:pt x="140" y="61"/>
                        </a:lnTo>
                        <a:lnTo>
                          <a:pt x="116" y="53"/>
                        </a:lnTo>
                        <a:lnTo>
                          <a:pt x="94" y="44"/>
                        </a:lnTo>
                        <a:lnTo>
                          <a:pt x="72" y="32"/>
                        </a:lnTo>
                        <a:lnTo>
                          <a:pt x="66" y="0"/>
                        </a:lnTo>
                        <a:lnTo>
                          <a:pt x="56" y="5"/>
                        </a:lnTo>
                        <a:lnTo>
                          <a:pt x="42" y="12"/>
                        </a:lnTo>
                        <a:lnTo>
                          <a:pt x="29" y="20"/>
                        </a:lnTo>
                        <a:lnTo>
                          <a:pt x="17" y="30"/>
                        </a:lnTo>
                        <a:lnTo>
                          <a:pt x="7" y="43"/>
                        </a:lnTo>
                        <a:lnTo>
                          <a:pt x="2" y="59"/>
                        </a:lnTo>
                        <a:lnTo>
                          <a:pt x="0" y="78"/>
                        </a:lnTo>
                        <a:lnTo>
                          <a:pt x="7" y="102"/>
                        </a:lnTo>
                        <a:close/>
                      </a:path>
                    </a:pathLst>
                  </a:custGeom>
                  <a:solidFill>
                    <a:srgbClr val="E6E6E6">
                      <a:lumMod val="10000"/>
                    </a:srgbClr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da-DK" kern="0">
                      <a:solidFill>
                        <a:sysClr val="windowText" lastClr="000000"/>
                      </a:solidFill>
                      <a:latin typeface="+mn-lt"/>
                      <a:ea typeface="ＭＳ Ｐゴシック" pitchFamily="-97" charset="-128"/>
                      <a:cs typeface="+mn-cs"/>
                    </a:endParaRPr>
                  </a:p>
                </p:txBody>
              </p:sp>
              <p:sp>
                <p:nvSpPr>
                  <p:cNvPr id="318" name="Freeform 184"/>
                  <p:cNvSpPr>
                    <a:spLocks/>
                  </p:cNvSpPr>
                  <p:nvPr/>
                </p:nvSpPr>
                <p:spPr bwMode="auto">
                  <a:xfrm>
                    <a:off x="406074" y="3502893"/>
                    <a:ext cx="201859" cy="131182"/>
                  </a:xfrm>
                  <a:custGeom>
                    <a:avLst/>
                    <a:gdLst/>
                    <a:ahLst/>
                    <a:cxnLst>
                      <a:cxn ang="0">
                        <a:pos x="48" y="0"/>
                      </a:cxn>
                      <a:cxn ang="0">
                        <a:pos x="57" y="2"/>
                      </a:cxn>
                      <a:cxn ang="0">
                        <a:pos x="66" y="3"/>
                      </a:cxn>
                      <a:cxn ang="0">
                        <a:pos x="74" y="6"/>
                      </a:cxn>
                      <a:cxn ang="0">
                        <a:pos x="81" y="11"/>
                      </a:cxn>
                      <a:cxn ang="0">
                        <a:pos x="87" y="16"/>
                      </a:cxn>
                      <a:cxn ang="0">
                        <a:pos x="91" y="22"/>
                      </a:cxn>
                      <a:cxn ang="0">
                        <a:pos x="94" y="29"/>
                      </a:cxn>
                      <a:cxn ang="0">
                        <a:pos x="95" y="36"/>
                      </a:cxn>
                      <a:cxn ang="0">
                        <a:pos x="94" y="43"/>
                      </a:cxn>
                      <a:cxn ang="0">
                        <a:pos x="91" y="50"/>
                      </a:cxn>
                      <a:cxn ang="0">
                        <a:pos x="87" y="56"/>
                      </a:cxn>
                      <a:cxn ang="0">
                        <a:pos x="81" y="61"/>
                      </a:cxn>
                      <a:cxn ang="0">
                        <a:pos x="74" y="66"/>
                      </a:cxn>
                      <a:cxn ang="0">
                        <a:pos x="66" y="69"/>
                      </a:cxn>
                      <a:cxn ang="0">
                        <a:pos x="57" y="71"/>
                      </a:cxn>
                      <a:cxn ang="0">
                        <a:pos x="48" y="72"/>
                      </a:cxn>
                      <a:cxn ang="0">
                        <a:pos x="38" y="71"/>
                      </a:cxn>
                      <a:cxn ang="0">
                        <a:pos x="29" y="69"/>
                      </a:cxn>
                      <a:cxn ang="0">
                        <a:pos x="21" y="66"/>
                      </a:cxn>
                      <a:cxn ang="0">
                        <a:pos x="14" y="61"/>
                      </a:cxn>
                      <a:cxn ang="0">
                        <a:pos x="8" y="56"/>
                      </a:cxn>
                      <a:cxn ang="0">
                        <a:pos x="4" y="50"/>
                      </a:cxn>
                      <a:cxn ang="0">
                        <a:pos x="2" y="43"/>
                      </a:cxn>
                      <a:cxn ang="0">
                        <a:pos x="0" y="36"/>
                      </a:cxn>
                      <a:cxn ang="0">
                        <a:pos x="2" y="29"/>
                      </a:cxn>
                      <a:cxn ang="0">
                        <a:pos x="4" y="22"/>
                      </a:cxn>
                      <a:cxn ang="0">
                        <a:pos x="8" y="16"/>
                      </a:cxn>
                      <a:cxn ang="0">
                        <a:pos x="14" y="11"/>
                      </a:cxn>
                      <a:cxn ang="0">
                        <a:pos x="21" y="6"/>
                      </a:cxn>
                      <a:cxn ang="0">
                        <a:pos x="29" y="3"/>
                      </a:cxn>
                      <a:cxn ang="0">
                        <a:pos x="38" y="2"/>
                      </a:cxn>
                      <a:cxn ang="0">
                        <a:pos x="48" y="0"/>
                      </a:cxn>
                    </a:cxnLst>
                    <a:rect l="0" t="0" r="r" b="b"/>
                    <a:pathLst>
                      <a:path w="95" h="72">
                        <a:moveTo>
                          <a:pt x="48" y="0"/>
                        </a:moveTo>
                        <a:lnTo>
                          <a:pt x="57" y="2"/>
                        </a:lnTo>
                        <a:lnTo>
                          <a:pt x="66" y="3"/>
                        </a:lnTo>
                        <a:lnTo>
                          <a:pt x="74" y="6"/>
                        </a:lnTo>
                        <a:lnTo>
                          <a:pt x="81" y="11"/>
                        </a:lnTo>
                        <a:lnTo>
                          <a:pt x="87" y="16"/>
                        </a:lnTo>
                        <a:lnTo>
                          <a:pt x="91" y="22"/>
                        </a:lnTo>
                        <a:lnTo>
                          <a:pt x="94" y="29"/>
                        </a:lnTo>
                        <a:lnTo>
                          <a:pt x="95" y="36"/>
                        </a:lnTo>
                        <a:lnTo>
                          <a:pt x="94" y="43"/>
                        </a:lnTo>
                        <a:lnTo>
                          <a:pt x="91" y="50"/>
                        </a:lnTo>
                        <a:lnTo>
                          <a:pt x="87" y="56"/>
                        </a:lnTo>
                        <a:lnTo>
                          <a:pt x="81" y="61"/>
                        </a:lnTo>
                        <a:lnTo>
                          <a:pt x="74" y="66"/>
                        </a:lnTo>
                        <a:lnTo>
                          <a:pt x="66" y="69"/>
                        </a:lnTo>
                        <a:lnTo>
                          <a:pt x="57" y="71"/>
                        </a:lnTo>
                        <a:lnTo>
                          <a:pt x="48" y="72"/>
                        </a:lnTo>
                        <a:lnTo>
                          <a:pt x="38" y="71"/>
                        </a:lnTo>
                        <a:lnTo>
                          <a:pt x="29" y="69"/>
                        </a:lnTo>
                        <a:lnTo>
                          <a:pt x="21" y="66"/>
                        </a:lnTo>
                        <a:lnTo>
                          <a:pt x="14" y="61"/>
                        </a:lnTo>
                        <a:lnTo>
                          <a:pt x="8" y="56"/>
                        </a:lnTo>
                        <a:lnTo>
                          <a:pt x="4" y="50"/>
                        </a:lnTo>
                        <a:lnTo>
                          <a:pt x="2" y="43"/>
                        </a:lnTo>
                        <a:lnTo>
                          <a:pt x="0" y="36"/>
                        </a:lnTo>
                        <a:lnTo>
                          <a:pt x="2" y="29"/>
                        </a:lnTo>
                        <a:lnTo>
                          <a:pt x="4" y="22"/>
                        </a:lnTo>
                        <a:lnTo>
                          <a:pt x="8" y="16"/>
                        </a:lnTo>
                        <a:lnTo>
                          <a:pt x="14" y="11"/>
                        </a:lnTo>
                        <a:lnTo>
                          <a:pt x="21" y="6"/>
                        </a:lnTo>
                        <a:lnTo>
                          <a:pt x="29" y="3"/>
                        </a:lnTo>
                        <a:lnTo>
                          <a:pt x="38" y="2"/>
                        </a:lnTo>
                        <a:lnTo>
                          <a:pt x="48" y="0"/>
                        </a:lnTo>
                        <a:close/>
                      </a:path>
                    </a:pathLst>
                  </a:custGeom>
                  <a:solidFill>
                    <a:srgbClr val="E6E6E6">
                      <a:lumMod val="10000"/>
                    </a:srgbClr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da-DK" kern="0">
                      <a:solidFill>
                        <a:sysClr val="windowText" lastClr="000000"/>
                      </a:solidFill>
                      <a:latin typeface="+mn-lt"/>
                      <a:ea typeface="ＭＳ Ｐゴシック" pitchFamily="-97" charset="-128"/>
                      <a:cs typeface="+mn-cs"/>
                    </a:endParaRPr>
                  </a:p>
                </p:txBody>
              </p:sp>
            </p:grpSp>
            <p:grpSp>
              <p:nvGrpSpPr>
                <p:cNvPr id="304" name="Gruppe 814"/>
                <p:cNvGrpSpPr/>
                <p:nvPr/>
              </p:nvGrpSpPr>
              <p:grpSpPr>
                <a:xfrm>
                  <a:off x="265107" y="3675076"/>
                  <a:ext cx="743434" cy="2078044"/>
                  <a:chOff x="3656013" y="3433763"/>
                  <a:chExt cx="684213" cy="1912498"/>
                </a:xfrm>
                <a:solidFill>
                  <a:srgbClr val="FFFFFF">
                    <a:alpha val="9000"/>
                  </a:srgbClr>
                </a:solidFill>
              </p:grpSpPr>
              <p:sp>
                <p:nvSpPr>
                  <p:cNvPr id="305" name="Freeform 316"/>
                  <p:cNvSpPr>
                    <a:spLocks/>
                  </p:cNvSpPr>
                  <p:nvPr/>
                </p:nvSpPr>
                <p:spPr bwMode="auto">
                  <a:xfrm>
                    <a:off x="3824288" y="3986213"/>
                    <a:ext cx="365125" cy="65088"/>
                  </a:xfrm>
                  <a:custGeom>
                    <a:avLst/>
                    <a:gdLst/>
                    <a:ahLst/>
                    <a:cxnLst>
                      <a:cxn ang="0">
                        <a:pos x="13" y="0"/>
                      </a:cxn>
                      <a:cxn ang="0">
                        <a:pos x="26" y="6"/>
                      </a:cxn>
                      <a:cxn ang="0">
                        <a:pos x="39" y="13"/>
                      </a:cxn>
                      <a:cxn ang="0">
                        <a:pos x="52" y="16"/>
                      </a:cxn>
                      <a:cxn ang="0">
                        <a:pos x="65" y="19"/>
                      </a:cxn>
                      <a:cxn ang="0">
                        <a:pos x="78" y="22"/>
                      </a:cxn>
                      <a:cxn ang="0">
                        <a:pos x="93" y="23"/>
                      </a:cxn>
                      <a:cxn ang="0">
                        <a:pos x="106" y="24"/>
                      </a:cxn>
                      <a:cxn ang="0">
                        <a:pos x="120" y="23"/>
                      </a:cxn>
                      <a:cxn ang="0">
                        <a:pos x="134" y="22"/>
                      </a:cxn>
                      <a:cxn ang="0">
                        <a:pos x="147" y="20"/>
                      </a:cxn>
                      <a:cxn ang="0">
                        <a:pos x="161" y="18"/>
                      </a:cxn>
                      <a:cxn ang="0">
                        <a:pos x="176" y="15"/>
                      </a:cxn>
                      <a:cxn ang="0">
                        <a:pos x="189" y="13"/>
                      </a:cxn>
                      <a:cxn ang="0">
                        <a:pos x="203" y="9"/>
                      </a:cxn>
                      <a:cxn ang="0">
                        <a:pos x="216" y="6"/>
                      </a:cxn>
                      <a:cxn ang="0">
                        <a:pos x="230" y="2"/>
                      </a:cxn>
                      <a:cxn ang="0">
                        <a:pos x="230" y="15"/>
                      </a:cxn>
                      <a:cxn ang="0">
                        <a:pos x="221" y="19"/>
                      </a:cxn>
                      <a:cxn ang="0">
                        <a:pos x="212" y="23"/>
                      </a:cxn>
                      <a:cxn ang="0">
                        <a:pos x="200" y="27"/>
                      </a:cxn>
                      <a:cxn ang="0">
                        <a:pos x="189" y="29"/>
                      </a:cxn>
                      <a:cxn ang="0">
                        <a:pos x="174" y="33"/>
                      </a:cxn>
                      <a:cxn ang="0">
                        <a:pos x="161" y="36"/>
                      </a:cxn>
                      <a:cxn ang="0">
                        <a:pos x="146" y="39"/>
                      </a:cxn>
                      <a:cxn ang="0">
                        <a:pos x="132" y="41"/>
                      </a:cxn>
                      <a:cxn ang="0">
                        <a:pos x="115" y="41"/>
                      </a:cxn>
                      <a:cxn ang="0">
                        <a:pos x="99" y="41"/>
                      </a:cxn>
                      <a:cxn ang="0">
                        <a:pos x="82" y="40"/>
                      </a:cxn>
                      <a:cxn ang="0">
                        <a:pos x="65" y="37"/>
                      </a:cxn>
                      <a:cxn ang="0">
                        <a:pos x="50" y="32"/>
                      </a:cxn>
                      <a:cxn ang="0">
                        <a:pos x="33" y="27"/>
                      </a:cxn>
                      <a:cxn ang="0">
                        <a:pos x="16" y="19"/>
                      </a:cxn>
                      <a:cxn ang="0">
                        <a:pos x="0" y="9"/>
                      </a:cxn>
                      <a:cxn ang="0">
                        <a:pos x="13" y="0"/>
                      </a:cxn>
                    </a:cxnLst>
                    <a:rect l="0" t="0" r="r" b="b"/>
                    <a:pathLst>
                      <a:path w="230" h="41">
                        <a:moveTo>
                          <a:pt x="13" y="0"/>
                        </a:moveTo>
                        <a:lnTo>
                          <a:pt x="26" y="6"/>
                        </a:lnTo>
                        <a:lnTo>
                          <a:pt x="39" y="13"/>
                        </a:lnTo>
                        <a:lnTo>
                          <a:pt x="52" y="16"/>
                        </a:lnTo>
                        <a:lnTo>
                          <a:pt x="65" y="19"/>
                        </a:lnTo>
                        <a:lnTo>
                          <a:pt x="78" y="22"/>
                        </a:lnTo>
                        <a:lnTo>
                          <a:pt x="93" y="23"/>
                        </a:lnTo>
                        <a:lnTo>
                          <a:pt x="106" y="24"/>
                        </a:lnTo>
                        <a:lnTo>
                          <a:pt x="120" y="23"/>
                        </a:lnTo>
                        <a:lnTo>
                          <a:pt x="134" y="22"/>
                        </a:lnTo>
                        <a:lnTo>
                          <a:pt x="147" y="20"/>
                        </a:lnTo>
                        <a:lnTo>
                          <a:pt x="161" y="18"/>
                        </a:lnTo>
                        <a:lnTo>
                          <a:pt x="176" y="15"/>
                        </a:lnTo>
                        <a:lnTo>
                          <a:pt x="189" y="13"/>
                        </a:lnTo>
                        <a:lnTo>
                          <a:pt x="203" y="9"/>
                        </a:lnTo>
                        <a:lnTo>
                          <a:pt x="216" y="6"/>
                        </a:lnTo>
                        <a:lnTo>
                          <a:pt x="230" y="2"/>
                        </a:lnTo>
                        <a:lnTo>
                          <a:pt x="230" y="15"/>
                        </a:lnTo>
                        <a:lnTo>
                          <a:pt x="221" y="19"/>
                        </a:lnTo>
                        <a:lnTo>
                          <a:pt x="212" y="23"/>
                        </a:lnTo>
                        <a:lnTo>
                          <a:pt x="200" y="27"/>
                        </a:lnTo>
                        <a:lnTo>
                          <a:pt x="189" y="29"/>
                        </a:lnTo>
                        <a:lnTo>
                          <a:pt x="174" y="33"/>
                        </a:lnTo>
                        <a:lnTo>
                          <a:pt x="161" y="36"/>
                        </a:lnTo>
                        <a:lnTo>
                          <a:pt x="146" y="39"/>
                        </a:lnTo>
                        <a:lnTo>
                          <a:pt x="132" y="41"/>
                        </a:lnTo>
                        <a:lnTo>
                          <a:pt x="115" y="41"/>
                        </a:lnTo>
                        <a:lnTo>
                          <a:pt x="99" y="41"/>
                        </a:lnTo>
                        <a:lnTo>
                          <a:pt x="82" y="40"/>
                        </a:lnTo>
                        <a:lnTo>
                          <a:pt x="65" y="37"/>
                        </a:lnTo>
                        <a:lnTo>
                          <a:pt x="50" y="32"/>
                        </a:lnTo>
                        <a:lnTo>
                          <a:pt x="33" y="27"/>
                        </a:lnTo>
                        <a:lnTo>
                          <a:pt x="16" y="19"/>
                        </a:lnTo>
                        <a:lnTo>
                          <a:pt x="0" y="9"/>
                        </a:lnTo>
                        <a:lnTo>
                          <a:pt x="13" y="0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da-DK" kern="0">
                      <a:solidFill>
                        <a:sysClr val="windowText" lastClr="000000"/>
                      </a:solidFill>
                      <a:latin typeface="+mn-lt"/>
                      <a:ea typeface="ＭＳ Ｐゴシック" pitchFamily="-97" charset="-128"/>
                      <a:cs typeface="+mn-cs"/>
                    </a:endParaRPr>
                  </a:p>
                </p:txBody>
              </p:sp>
              <p:sp>
                <p:nvSpPr>
                  <p:cNvPr id="306" name="Freeform 330"/>
                  <p:cNvSpPr>
                    <a:spLocks/>
                  </p:cNvSpPr>
                  <p:nvPr/>
                </p:nvSpPr>
                <p:spPr bwMode="auto">
                  <a:xfrm>
                    <a:off x="3656013" y="4872038"/>
                    <a:ext cx="684213" cy="173038"/>
                  </a:xfrm>
                  <a:custGeom>
                    <a:avLst/>
                    <a:gdLst/>
                    <a:ahLst/>
                    <a:cxnLst>
                      <a:cxn ang="0">
                        <a:pos x="27" y="5"/>
                      </a:cxn>
                      <a:cxn ang="0">
                        <a:pos x="77" y="45"/>
                      </a:cxn>
                      <a:cxn ang="0">
                        <a:pos x="100" y="51"/>
                      </a:cxn>
                      <a:cxn ang="0">
                        <a:pos x="122" y="54"/>
                      </a:cxn>
                      <a:cxn ang="0">
                        <a:pos x="143" y="60"/>
                      </a:cxn>
                      <a:cxn ang="0">
                        <a:pos x="162" y="62"/>
                      </a:cxn>
                      <a:cxn ang="0">
                        <a:pos x="180" y="65"/>
                      </a:cxn>
                      <a:cxn ang="0">
                        <a:pos x="199" y="67"/>
                      </a:cxn>
                      <a:cxn ang="0">
                        <a:pos x="217" y="67"/>
                      </a:cxn>
                      <a:cxn ang="0">
                        <a:pos x="234" y="67"/>
                      </a:cxn>
                      <a:cxn ang="0">
                        <a:pos x="251" y="66"/>
                      </a:cxn>
                      <a:cxn ang="0">
                        <a:pos x="267" y="65"/>
                      </a:cxn>
                      <a:cxn ang="0">
                        <a:pos x="286" y="61"/>
                      </a:cxn>
                      <a:cxn ang="0">
                        <a:pos x="304" y="57"/>
                      </a:cxn>
                      <a:cxn ang="0">
                        <a:pos x="322" y="52"/>
                      </a:cxn>
                      <a:cxn ang="0">
                        <a:pos x="343" y="44"/>
                      </a:cxn>
                      <a:cxn ang="0">
                        <a:pos x="363" y="36"/>
                      </a:cxn>
                      <a:cxn ang="0">
                        <a:pos x="386" y="26"/>
                      </a:cxn>
                      <a:cxn ang="0">
                        <a:pos x="392" y="12"/>
                      </a:cxn>
                      <a:cxn ang="0">
                        <a:pos x="397" y="4"/>
                      </a:cxn>
                      <a:cxn ang="0">
                        <a:pos x="401" y="0"/>
                      </a:cxn>
                      <a:cxn ang="0">
                        <a:pos x="405" y="1"/>
                      </a:cxn>
                      <a:cxn ang="0">
                        <a:pos x="409" y="5"/>
                      </a:cxn>
                      <a:cxn ang="0">
                        <a:pos x="414" y="13"/>
                      </a:cxn>
                      <a:cxn ang="0">
                        <a:pos x="422" y="23"/>
                      </a:cxn>
                      <a:cxn ang="0">
                        <a:pos x="431" y="36"/>
                      </a:cxn>
                      <a:cxn ang="0">
                        <a:pos x="413" y="62"/>
                      </a:cxn>
                      <a:cxn ang="0">
                        <a:pos x="393" y="74"/>
                      </a:cxn>
                      <a:cxn ang="0">
                        <a:pos x="371" y="83"/>
                      </a:cxn>
                      <a:cxn ang="0">
                        <a:pos x="349" y="91"/>
                      </a:cxn>
                      <a:cxn ang="0">
                        <a:pos x="325" y="97"/>
                      </a:cxn>
                      <a:cxn ang="0">
                        <a:pos x="300" y="103"/>
                      </a:cxn>
                      <a:cxn ang="0">
                        <a:pos x="274" y="106"/>
                      </a:cxn>
                      <a:cxn ang="0">
                        <a:pos x="247" y="109"/>
                      </a:cxn>
                      <a:cxn ang="0">
                        <a:pos x="221" y="109"/>
                      </a:cxn>
                      <a:cxn ang="0">
                        <a:pos x="193" y="109"/>
                      </a:cxn>
                      <a:cxn ang="0">
                        <a:pos x="166" y="108"/>
                      </a:cxn>
                      <a:cxn ang="0">
                        <a:pos x="140" y="104"/>
                      </a:cxn>
                      <a:cxn ang="0">
                        <a:pos x="114" y="100"/>
                      </a:cxn>
                      <a:cxn ang="0">
                        <a:pos x="88" y="95"/>
                      </a:cxn>
                      <a:cxn ang="0">
                        <a:pos x="65" y="90"/>
                      </a:cxn>
                      <a:cxn ang="0">
                        <a:pos x="42" y="82"/>
                      </a:cxn>
                      <a:cxn ang="0">
                        <a:pos x="21" y="74"/>
                      </a:cxn>
                      <a:cxn ang="0">
                        <a:pos x="13" y="64"/>
                      </a:cxn>
                      <a:cxn ang="0">
                        <a:pos x="7" y="53"/>
                      </a:cxn>
                      <a:cxn ang="0">
                        <a:pos x="3" y="43"/>
                      </a:cxn>
                      <a:cxn ang="0">
                        <a:pos x="0" y="32"/>
                      </a:cxn>
                      <a:cxn ang="0">
                        <a:pos x="0" y="23"/>
                      </a:cxn>
                      <a:cxn ang="0">
                        <a:pos x="5" y="16"/>
                      </a:cxn>
                      <a:cxn ang="0">
                        <a:pos x="13" y="9"/>
                      </a:cxn>
                      <a:cxn ang="0">
                        <a:pos x="27" y="5"/>
                      </a:cxn>
                    </a:cxnLst>
                    <a:rect l="0" t="0" r="r" b="b"/>
                    <a:pathLst>
                      <a:path w="431" h="109">
                        <a:moveTo>
                          <a:pt x="27" y="5"/>
                        </a:moveTo>
                        <a:lnTo>
                          <a:pt x="77" y="45"/>
                        </a:lnTo>
                        <a:lnTo>
                          <a:pt x="100" y="51"/>
                        </a:lnTo>
                        <a:lnTo>
                          <a:pt x="122" y="54"/>
                        </a:lnTo>
                        <a:lnTo>
                          <a:pt x="143" y="60"/>
                        </a:lnTo>
                        <a:lnTo>
                          <a:pt x="162" y="62"/>
                        </a:lnTo>
                        <a:lnTo>
                          <a:pt x="180" y="65"/>
                        </a:lnTo>
                        <a:lnTo>
                          <a:pt x="199" y="67"/>
                        </a:lnTo>
                        <a:lnTo>
                          <a:pt x="217" y="67"/>
                        </a:lnTo>
                        <a:lnTo>
                          <a:pt x="234" y="67"/>
                        </a:lnTo>
                        <a:lnTo>
                          <a:pt x="251" y="66"/>
                        </a:lnTo>
                        <a:lnTo>
                          <a:pt x="267" y="65"/>
                        </a:lnTo>
                        <a:lnTo>
                          <a:pt x="286" y="61"/>
                        </a:lnTo>
                        <a:lnTo>
                          <a:pt x="304" y="57"/>
                        </a:lnTo>
                        <a:lnTo>
                          <a:pt x="322" y="52"/>
                        </a:lnTo>
                        <a:lnTo>
                          <a:pt x="343" y="44"/>
                        </a:lnTo>
                        <a:lnTo>
                          <a:pt x="363" y="36"/>
                        </a:lnTo>
                        <a:lnTo>
                          <a:pt x="386" y="26"/>
                        </a:lnTo>
                        <a:lnTo>
                          <a:pt x="392" y="12"/>
                        </a:lnTo>
                        <a:lnTo>
                          <a:pt x="397" y="4"/>
                        </a:lnTo>
                        <a:lnTo>
                          <a:pt x="401" y="0"/>
                        </a:lnTo>
                        <a:lnTo>
                          <a:pt x="405" y="1"/>
                        </a:lnTo>
                        <a:lnTo>
                          <a:pt x="409" y="5"/>
                        </a:lnTo>
                        <a:lnTo>
                          <a:pt x="414" y="13"/>
                        </a:lnTo>
                        <a:lnTo>
                          <a:pt x="422" y="23"/>
                        </a:lnTo>
                        <a:lnTo>
                          <a:pt x="431" y="36"/>
                        </a:lnTo>
                        <a:lnTo>
                          <a:pt x="413" y="62"/>
                        </a:lnTo>
                        <a:lnTo>
                          <a:pt x="393" y="74"/>
                        </a:lnTo>
                        <a:lnTo>
                          <a:pt x="371" y="83"/>
                        </a:lnTo>
                        <a:lnTo>
                          <a:pt x="349" y="91"/>
                        </a:lnTo>
                        <a:lnTo>
                          <a:pt x="325" y="97"/>
                        </a:lnTo>
                        <a:lnTo>
                          <a:pt x="300" y="103"/>
                        </a:lnTo>
                        <a:lnTo>
                          <a:pt x="274" y="106"/>
                        </a:lnTo>
                        <a:lnTo>
                          <a:pt x="247" y="109"/>
                        </a:lnTo>
                        <a:lnTo>
                          <a:pt x="221" y="109"/>
                        </a:lnTo>
                        <a:lnTo>
                          <a:pt x="193" y="109"/>
                        </a:lnTo>
                        <a:lnTo>
                          <a:pt x="166" y="108"/>
                        </a:lnTo>
                        <a:lnTo>
                          <a:pt x="140" y="104"/>
                        </a:lnTo>
                        <a:lnTo>
                          <a:pt x="114" y="100"/>
                        </a:lnTo>
                        <a:lnTo>
                          <a:pt x="88" y="95"/>
                        </a:lnTo>
                        <a:lnTo>
                          <a:pt x="65" y="90"/>
                        </a:lnTo>
                        <a:lnTo>
                          <a:pt x="42" y="82"/>
                        </a:lnTo>
                        <a:lnTo>
                          <a:pt x="21" y="74"/>
                        </a:lnTo>
                        <a:lnTo>
                          <a:pt x="13" y="64"/>
                        </a:lnTo>
                        <a:lnTo>
                          <a:pt x="7" y="53"/>
                        </a:lnTo>
                        <a:lnTo>
                          <a:pt x="3" y="43"/>
                        </a:lnTo>
                        <a:lnTo>
                          <a:pt x="0" y="32"/>
                        </a:lnTo>
                        <a:lnTo>
                          <a:pt x="0" y="23"/>
                        </a:lnTo>
                        <a:lnTo>
                          <a:pt x="5" y="16"/>
                        </a:lnTo>
                        <a:lnTo>
                          <a:pt x="13" y="9"/>
                        </a:lnTo>
                        <a:lnTo>
                          <a:pt x="27" y="5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da-DK" kern="0">
                      <a:solidFill>
                        <a:sysClr val="windowText" lastClr="000000"/>
                      </a:solidFill>
                      <a:latin typeface="+mn-lt"/>
                      <a:ea typeface="ＭＳ Ｐゴシック" pitchFamily="-97" charset="-128"/>
                      <a:cs typeface="+mn-cs"/>
                    </a:endParaRPr>
                  </a:p>
                </p:txBody>
              </p:sp>
              <p:sp>
                <p:nvSpPr>
                  <p:cNvPr id="307" name="Freeform 336"/>
                  <p:cNvSpPr>
                    <a:spLocks/>
                  </p:cNvSpPr>
                  <p:nvPr/>
                </p:nvSpPr>
                <p:spPr bwMode="auto">
                  <a:xfrm>
                    <a:off x="3781425" y="5231961"/>
                    <a:ext cx="490538" cy="114300"/>
                  </a:xfrm>
                  <a:custGeom>
                    <a:avLst/>
                    <a:gdLst/>
                    <a:ahLst/>
                    <a:cxnLst>
                      <a:cxn ang="0">
                        <a:pos x="0" y="29"/>
                      </a:cxn>
                      <a:cxn ang="0">
                        <a:pos x="3" y="37"/>
                      </a:cxn>
                      <a:cxn ang="0">
                        <a:pos x="7" y="45"/>
                      </a:cxn>
                      <a:cxn ang="0">
                        <a:pos x="11" y="53"/>
                      </a:cxn>
                      <a:cxn ang="0">
                        <a:pos x="15" y="61"/>
                      </a:cxn>
                      <a:cxn ang="0">
                        <a:pos x="22" y="62"/>
                      </a:cxn>
                      <a:cxn ang="0">
                        <a:pos x="29" y="63"/>
                      </a:cxn>
                      <a:cxn ang="0">
                        <a:pos x="37" y="65"/>
                      </a:cxn>
                      <a:cxn ang="0">
                        <a:pos x="44" y="66"/>
                      </a:cxn>
                      <a:cxn ang="0">
                        <a:pos x="51" y="67"/>
                      </a:cxn>
                      <a:cxn ang="0">
                        <a:pos x="59" y="68"/>
                      </a:cxn>
                      <a:cxn ang="0">
                        <a:pos x="65" y="71"/>
                      </a:cxn>
                      <a:cxn ang="0">
                        <a:pos x="73" y="72"/>
                      </a:cxn>
                      <a:cxn ang="0">
                        <a:pos x="91" y="72"/>
                      </a:cxn>
                      <a:cxn ang="0">
                        <a:pos x="109" y="71"/>
                      </a:cxn>
                      <a:cxn ang="0">
                        <a:pos x="127" y="71"/>
                      </a:cxn>
                      <a:cxn ang="0">
                        <a:pos x="146" y="70"/>
                      </a:cxn>
                      <a:cxn ang="0">
                        <a:pos x="164" y="70"/>
                      </a:cxn>
                      <a:cxn ang="0">
                        <a:pos x="183" y="68"/>
                      </a:cxn>
                      <a:cxn ang="0">
                        <a:pos x="201" y="68"/>
                      </a:cxn>
                      <a:cxn ang="0">
                        <a:pos x="220" y="67"/>
                      </a:cxn>
                      <a:cxn ang="0">
                        <a:pos x="231" y="65"/>
                      </a:cxn>
                      <a:cxn ang="0">
                        <a:pos x="242" y="61"/>
                      </a:cxn>
                      <a:cxn ang="0">
                        <a:pos x="253" y="58"/>
                      </a:cxn>
                      <a:cxn ang="0">
                        <a:pos x="265" y="54"/>
                      </a:cxn>
                      <a:cxn ang="0">
                        <a:pos x="275" y="52"/>
                      </a:cxn>
                      <a:cxn ang="0">
                        <a:pos x="287" y="48"/>
                      </a:cxn>
                      <a:cxn ang="0">
                        <a:pos x="297" y="45"/>
                      </a:cxn>
                      <a:cxn ang="0">
                        <a:pos x="309" y="41"/>
                      </a:cxn>
                      <a:cxn ang="0">
                        <a:pos x="309" y="26"/>
                      </a:cxn>
                      <a:cxn ang="0">
                        <a:pos x="307" y="13"/>
                      </a:cxn>
                      <a:cxn ang="0">
                        <a:pos x="303" y="5"/>
                      </a:cxn>
                      <a:cxn ang="0">
                        <a:pos x="297" y="1"/>
                      </a:cxn>
                      <a:cxn ang="0">
                        <a:pos x="290" y="0"/>
                      </a:cxn>
                      <a:cxn ang="0">
                        <a:pos x="279" y="0"/>
                      </a:cxn>
                      <a:cxn ang="0">
                        <a:pos x="268" y="4"/>
                      </a:cxn>
                      <a:cxn ang="0">
                        <a:pos x="252" y="9"/>
                      </a:cxn>
                      <a:cxn ang="0">
                        <a:pos x="242" y="9"/>
                      </a:cxn>
                      <a:cxn ang="0">
                        <a:pos x="231" y="10"/>
                      </a:cxn>
                      <a:cxn ang="0">
                        <a:pos x="221" y="10"/>
                      </a:cxn>
                      <a:cxn ang="0">
                        <a:pos x="211" y="10"/>
                      </a:cxn>
                      <a:cxn ang="0">
                        <a:pos x="200" y="10"/>
                      </a:cxn>
                      <a:cxn ang="0">
                        <a:pos x="188" y="10"/>
                      </a:cxn>
                      <a:cxn ang="0">
                        <a:pos x="178" y="11"/>
                      </a:cxn>
                      <a:cxn ang="0">
                        <a:pos x="168" y="11"/>
                      </a:cxn>
                      <a:cxn ang="0">
                        <a:pos x="140" y="10"/>
                      </a:cxn>
                      <a:cxn ang="0">
                        <a:pos x="116" y="9"/>
                      </a:cxn>
                      <a:cxn ang="0">
                        <a:pos x="96" y="6"/>
                      </a:cxn>
                      <a:cxn ang="0">
                        <a:pos x="77" y="5"/>
                      </a:cxn>
                      <a:cxn ang="0">
                        <a:pos x="60" y="6"/>
                      </a:cxn>
                      <a:cxn ang="0">
                        <a:pos x="42" y="9"/>
                      </a:cxn>
                      <a:cxn ang="0">
                        <a:pos x="22" y="16"/>
                      </a:cxn>
                      <a:cxn ang="0">
                        <a:pos x="0" y="29"/>
                      </a:cxn>
                    </a:cxnLst>
                    <a:rect l="0" t="0" r="r" b="b"/>
                    <a:pathLst>
                      <a:path w="309" h="72">
                        <a:moveTo>
                          <a:pt x="0" y="29"/>
                        </a:moveTo>
                        <a:lnTo>
                          <a:pt x="3" y="37"/>
                        </a:lnTo>
                        <a:lnTo>
                          <a:pt x="7" y="45"/>
                        </a:lnTo>
                        <a:lnTo>
                          <a:pt x="11" y="53"/>
                        </a:lnTo>
                        <a:lnTo>
                          <a:pt x="15" y="61"/>
                        </a:lnTo>
                        <a:lnTo>
                          <a:pt x="22" y="62"/>
                        </a:lnTo>
                        <a:lnTo>
                          <a:pt x="29" y="63"/>
                        </a:lnTo>
                        <a:lnTo>
                          <a:pt x="37" y="65"/>
                        </a:lnTo>
                        <a:lnTo>
                          <a:pt x="44" y="66"/>
                        </a:lnTo>
                        <a:lnTo>
                          <a:pt x="51" y="67"/>
                        </a:lnTo>
                        <a:lnTo>
                          <a:pt x="59" y="68"/>
                        </a:lnTo>
                        <a:lnTo>
                          <a:pt x="65" y="71"/>
                        </a:lnTo>
                        <a:lnTo>
                          <a:pt x="73" y="72"/>
                        </a:lnTo>
                        <a:lnTo>
                          <a:pt x="91" y="72"/>
                        </a:lnTo>
                        <a:lnTo>
                          <a:pt x="109" y="71"/>
                        </a:lnTo>
                        <a:lnTo>
                          <a:pt x="127" y="71"/>
                        </a:lnTo>
                        <a:lnTo>
                          <a:pt x="146" y="70"/>
                        </a:lnTo>
                        <a:lnTo>
                          <a:pt x="164" y="70"/>
                        </a:lnTo>
                        <a:lnTo>
                          <a:pt x="183" y="68"/>
                        </a:lnTo>
                        <a:lnTo>
                          <a:pt x="201" y="68"/>
                        </a:lnTo>
                        <a:lnTo>
                          <a:pt x="220" y="67"/>
                        </a:lnTo>
                        <a:lnTo>
                          <a:pt x="231" y="65"/>
                        </a:lnTo>
                        <a:lnTo>
                          <a:pt x="242" y="61"/>
                        </a:lnTo>
                        <a:lnTo>
                          <a:pt x="253" y="58"/>
                        </a:lnTo>
                        <a:lnTo>
                          <a:pt x="265" y="54"/>
                        </a:lnTo>
                        <a:lnTo>
                          <a:pt x="275" y="52"/>
                        </a:lnTo>
                        <a:lnTo>
                          <a:pt x="287" y="48"/>
                        </a:lnTo>
                        <a:lnTo>
                          <a:pt x="297" y="45"/>
                        </a:lnTo>
                        <a:lnTo>
                          <a:pt x="309" y="41"/>
                        </a:lnTo>
                        <a:lnTo>
                          <a:pt x="309" y="26"/>
                        </a:lnTo>
                        <a:lnTo>
                          <a:pt x="307" y="13"/>
                        </a:lnTo>
                        <a:lnTo>
                          <a:pt x="303" y="5"/>
                        </a:lnTo>
                        <a:lnTo>
                          <a:pt x="297" y="1"/>
                        </a:lnTo>
                        <a:lnTo>
                          <a:pt x="290" y="0"/>
                        </a:lnTo>
                        <a:lnTo>
                          <a:pt x="279" y="0"/>
                        </a:lnTo>
                        <a:lnTo>
                          <a:pt x="268" y="4"/>
                        </a:lnTo>
                        <a:lnTo>
                          <a:pt x="252" y="9"/>
                        </a:lnTo>
                        <a:lnTo>
                          <a:pt x="242" y="9"/>
                        </a:lnTo>
                        <a:lnTo>
                          <a:pt x="231" y="10"/>
                        </a:lnTo>
                        <a:lnTo>
                          <a:pt x="221" y="10"/>
                        </a:lnTo>
                        <a:lnTo>
                          <a:pt x="211" y="10"/>
                        </a:lnTo>
                        <a:lnTo>
                          <a:pt x="200" y="10"/>
                        </a:lnTo>
                        <a:lnTo>
                          <a:pt x="188" y="10"/>
                        </a:lnTo>
                        <a:lnTo>
                          <a:pt x="178" y="11"/>
                        </a:lnTo>
                        <a:lnTo>
                          <a:pt x="168" y="11"/>
                        </a:lnTo>
                        <a:lnTo>
                          <a:pt x="140" y="10"/>
                        </a:lnTo>
                        <a:lnTo>
                          <a:pt x="116" y="9"/>
                        </a:lnTo>
                        <a:lnTo>
                          <a:pt x="96" y="6"/>
                        </a:lnTo>
                        <a:lnTo>
                          <a:pt x="77" y="5"/>
                        </a:lnTo>
                        <a:lnTo>
                          <a:pt x="60" y="6"/>
                        </a:lnTo>
                        <a:lnTo>
                          <a:pt x="42" y="9"/>
                        </a:lnTo>
                        <a:lnTo>
                          <a:pt x="22" y="16"/>
                        </a:lnTo>
                        <a:lnTo>
                          <a:pt x="0" y="29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da-DK" kern="0">
                      <a:solidFill>
                        <a:sysClr val="windowText" lastClr="000000"/>
                      </a:solidFill>
                      <a:latin typeface="+mn-lt"/>
                      <a:ea typeface="ＭＳ Ｐゴシック" pitchFamily="-97" charset="-128"/>
                      <a:cs typeface="+mn-cs"/>
                    </a:endParaRPr>
                  </a:p>
                </p:txBody>
              </p:sp>
              <p:sp>
                <p:nvSpPr>
                  <p:cNvPr id="308" name="Freeform 353"/>
                  <p:cNvSpPr>
                    <a:spLocks/>
                  </p:cNvSpPr>
                  <p:nvPr/>
                </p:nvSpPr>
                <p:spPr bwMode="auto">
                  <a:xfrm>
                    <a:off x="3932238" y="4217988"/>
                    <a:ext cx="177800" cy="39688"/>
                  </a:xfrm>
                  <a:custGeom>
                    <a:avLst/>
                    <a:gdLst/>
                    <a:ahLst/>
                    <a:cxnLst>
                      <a:cxn ang="0">
                        <a:pos x="0" y="11"/>
                      </a:cxn>
                      <a:cxn ang="0">
                        <a:pos x="5" y="17"/>
                      </a:cxn>
                      <a:cxn ang="0">
                        <a:pos x="26" y="25"/>
                      </a:cxn>
                      <a:cxn ang="0">
                        <a:pos x="80" y="20"/>
                      </a:cxn>
                      <a:cxn ang="0">
                        <a:pos x="112" y="13"/>
                      </a:cxn>
                      <a:cxn ang="0">
                        <a:pos x="110" y="4"/>
                      </a:cxn>
                      <a:cxn ang="0">
                        <a:pos x="108" y="0"/>
                      </a:cxn>
                      <a:cxn ang="0">
                        <a:pos x="103" y="2"/>
                      </a:cxn>
                      <a:cxn ang="0">
                        <a:pos x="92" y="4"/>
                      </a:cxn>
                      <a:cxn ang="0">
                        <a:pos x="61" y="6"/>
                      </a:cxn>
                      <a:cxn ang="0">
                        <a:pos x="51" y="6"/>
                      </a:cxn>
                      <a:cxn ang="0">
                        <a:pos x="43" y="4"/>
                      </a:cxn>
                      <a:cxn ang="0">
                        <a:pos x="35" y="4"/>
                      </a:cxn>
                      <a:cxn ang="0">
                        <a:pos x="29" y="3"/>
                      </a:cxn>
                      <a:cxn ang="0">
                        <a:pos x="22" y="3"/>
                      </a:cxn>
                      <a:cxn ang="0">
                        <a:pos x="14" y="4"/>
                      </a:cxn>
                      <a:cxn ang="0">
                        <a:pos x="8" y="7"/>
                      </a:cxn>
                      <a:cxn ang="0">
                        <a:pos x="0" y="11"/>
                      </a:cxn>
                    </a:cxnLst>
                    <a:rect l="0" t="0" r="r" b="b"/>
                    <a:pathLst>
                      <a:path w="112" h="25">
                        <a:moveTo>
                          <a:pt x="0" y="11"/>
                        </a:moveTo>
                        <a:lnTo>
                          <a:pt x="5" y="17"/>
                        </a:lnTo>
                        <a:lnTo>
                          <a:pt x="26" y="25"/>
                        </a:lnTo>
                        <a:lnTo>
                          <a:pt x="80" y="20"/>
                        </a:lnTo>
                        <a:lnTo>
                          <a:pt x="112" y="13"/>
                        </a:lnTo>
                        <a:lnTo>
                          <a:pt x="110" y="4"/>
                        </a:lnTo>
                        <a:lnTo>
                          <a:pt x="108" y="0"/>
                        </a:lnTo>
                        <a:lnTo>
                          <a:pt x="103" y="2"/>
                        </a:lnTo>
                        <a:lnTo>
                          <a:pt x="92" y="4"/>
                        </a:lnTo>
                        <a:lnTo>
                          <a:pt x="61" y="6"/>
                        </a:lnTo>
                        <a:lnTo>
                          <a:pt x="51" y="6"/>
                        </a:lnTo>
                        <a:lnTo>
                          <a:pt x="43" y="4"/>
                        </a:lnTo>
                        <a:lnTo>
                          <a:pt x="35" y="4"/>
                        </a:lnTo>
                        <a:lnTo>
                          <a:pt x="29" y="3"/>
                        </a:lnTo>
                        <a:lnTo>
                          <a:pt x="22" y="3"/>
                        </a:lnTo>
                        <a:lnTo>
                          <a:pt x="14" y="4"/>
                        </a:lnTo>
                        <a:lnTo>
                          <a:pt x="8" y="7"/>
                        </a:lnTo>
                        <a:lnTo>
                          <a:pt x="0" y="11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da-DK" kern="0">
                      <a:solidFill>
                        <a:sysClr val="windowText" lastClr="000000"/>
                      </a:solidFill>
                      <a:latin typeface="+mn-lt"/>
                      <a:ea typeface="ＭＳ Ｐゴシック" pitchFamily="-97" charset="-128"/>
                      <a:cs typeface="+mn-cs"/>
                    </a:endParaRPr>
                  </a:p>
                </p:txBody>
              </p:sp>
              <p:sp>
                <p:nvSpPr>
                  <p:cNvPr id="309" name="Freeform 363"/>
                  <p:cNvSpPr>
                    <a:spLocks/>
                  </p:cNvSpPr>
                  <p:nvPr/>
                </p:nvSpPr>
                <p:spPr bwMode="auto">
                  <a:xfrm>
                    <a:off x="3944938" y="3713163"/>
                    <a:ext cx="193675" cy="42863"/>
                  </a:xfrm>
                  <a:custGeom>
                    <a:avLst/>
                    <a:gdLst/>
                    <a:ahLst/>
                    <a:cxnLst>
                      <a:cxn ang="0">
                        <a:pos x="0" y="12"/>
                      </a:cxn>
                      <a:cxn ang="0">
                        <a:pos x="1" y="14"/>
                      </a:cxn>
                      <a:cxn ang="0">
                        <a:pos x="2" y="16"/>
                      </a:cxn>
                      <a:cxn ang="0">
                        <a:pos x="4" y="18"/>
                      </a:cxn>
                      <a:cxn ang="0">
                        <a:pos x="5" y="21"/>
                      </a:cxn>
                      <a:cxn ang="0">
                        <a:pos x="11" y="22"/>
                      </a:cxn>
                      <a:cxn ang="0">
                        <a:pos x="17" y="24"/>
                      </a:cxn>
                      <a:cxn ang="0">
                        <a:pos x="23" y="26"/>
                      </a:cxn>
                      <a:cxn ang="0">
                        <a:pos x="28" y="27"/>
                      </a:cxn>
                      <a:cxn ang="0">
                        <a:pos x="36" y="27"/>
                      </a:cxn>
                      <a:cxn ang="0">
                        <a:pos x="43" y="26"/>
                      </a:cxn>
                      <a:cxn ang="0">
                        <a:pos x="50" y="26"/>
                      </a:cxn>
                      <a:cxn ang="0">
                        <a:pos x="58" y="25"/>
                      </a:cxn>
                      <a:cxn ang="0">
                        <a:pos x="65" y="25"/>
                      </a:cxn>
                      <a:cxn ang="0">
                        <a:pos x="72" y="25"/>
                      </a:cxn>
                      <a:cxn ang="0">
                        <a:pos x="79" y="24"/>
                      </a:cxn>
                      <a:cxn ang="0">
                        <a:pos x="87" y="24"/>
                      </a:cxn>
                      <a:cxn ang="0">
                        <a:pos x="96" y="21"/>
                      </a:cxn>
                      <a:cxn ang="0">
                        <a:pos x="105" y="20"/>
                      </a:cxn>
                      <a:cxn ang="0">
                        <a:pos x="113" y="17"/>
                      </a:cxn>
                      <a:cxn ang="0">
                        <a:pos x="122" y="16"/>
                      </a:cxn>
                      <a:cxn ang="0">
                        <a:pos x="120" y="5"/>
                      </a:cxn>
                      <a:cxn ang="0">
                        <a:pos x="118" y="0"/>
                      </a:cxn>
                      <a:cxn ang="0">
                        <a:pos x="111" y="2"/>
                      </a:cxn>
                      <a:cxn ang="0">
                        <a:pos x="100" y="4"/>
                      </a:cxn>
                      <a:cxn ang="0">
                        <a:pos x="92" y="5"/>
                      </a:cxn>
                      <a:cxn ang="0">
                        <a:pos x="83" y="5"/>
                      </a:cxn>
                      <a:cxn ang="0">
                        <a:pos x="75" y="5"/>
                      </a:cxn>
                      <a:cxn ang="0">
                        <a:pos x="66" y="5"/>
                      </a:cxn>
                      <a:cxn ang="0">
                        <a:pos x="56" y="5"/>
                      </a:cxn>
                      <a:cxn ang="0">
                        <a:pos x="47" y="4"/>
                      </a:cxn>
                      <a:cxn ang="0">
                        <a:pos x="37" y="4"/>
                      </a:cxn>
                      <a:cxn ang="0">
                        <a:pos x="31" y="3"/>
                      </a:cxn>
                      <a:cxn ang="0">
                        <a:pos x="23" y="4"/>
                      </a:cxn>
                      <a:cxn ang="0">
                        <a:pos x="17" y="5"/>
                      </a:cxn>
                      <a:cxn ang="0">
                        <a:pos x="9" y="8"/>
                      </a:cxn>
                      <a:cxn ang="0">
                        <a:pos x="0" y="12"/>
                      </a:cxn>
                    </a:cxnLst>
                    <a:rect l="0" t="0" r="r" b="b"/>
                    <a:pathLst>
                      <a:path w="122" h="27">
                        <a:moveTo>
                          <a:pt x="0" y="12"/>
                        </a:moveTo>
                        <a:lnTo>
                          <a:pt x="1" y="14"/>
                        </a:lnTo>
                        <a:lnTo>
                          <a:pt x="2" y="16"/>
                        </a:lnTo>
                        <a:lnTo>
                          <a:pt x="4" y="18"/>
                        </a:lnTo>
                        <a:lnTo>
                          <a:pt x="5" y="21"/>
                        </a:lnTo>
                        <a:lnTo>
                          <a:pt x="11" y="22"/>
                        </a:lnTo>
                        <a:lnTo>
                          <a:pt x="17" y="24"/>
                        </a:lnTo>
                        <a:lnTo>
                          <a:pt x="23" y="26"/>
                        </a:lnTo>
                        <a:lnTo>
                          <a:pt x="28" y="27"/>
                        </a:lnTo>
                        <a:lnTo>
                          <a:pt x="36" y="27"/>
                        </a:lnTo>
                        <a:lnTo>
                          <a:pt x="43" y="26"/>
                        </a:lnTo>
                        <a:lnTo>
                          <a:pt x="50" y="26"/>
                        </a:lnTo>
                        <a:lnTo>
                          <a:pt x="58" y="25"/>
                        </a:lnTo>
                        <a:lnTo>
                          <a:pt x="65" y="25"/>
                        </a:lnTo>
                        <a:lnTo>
                          <a:pt x="72" y="25"/>
                        </a:lnTo>
                        <a:lnTo>
                          <a:pt x="79" y="24"/>
                        </a:lnTo>
                        <a:lnTo>
                          <a:pt x="87" y="24"/>
                        </a:lnTo>
                        <a:lnTo>
                          <a:pt x="96" y="21"/>
                        </a:lnTo>
                        <a:lnTo>
                          <a:pt x="105" y="20"/>
                        </a:lnTo>
                        <a:lnTo>
                          <a:pt x="113" y="17"/>
                        </a:lnTo>
                        <a:lnTo>
                          <a:pt x="122" y="16"/>
                        </a:lnTo>
                        <a:lnTo>
                          <a:pt x="120" y="5"/>
                        </a:lnTo>
                        <a:lnTo>
                          <a:pt x="118" y="0"/>
                        </a:lnTo>
                        <a:lnTo>
                          <a:pt x="111" y="2"/>
                        </a:lnTo>
                        <a:lnTo>
                          <a:pt x="100" y="4"/>
                        </a:lnTo>
                        <a:lnTo>
                          <a:pt x="92" y="5"/>
                        </a:lnTo>
                        <a:lnTo>
                          <a:pt x="83" y="5"/>
                        </a:lnTo>
                        <a:lnTo>
                          <a:pt x="75" y="5"/>
                        </a:lnTo>
                        <a:lnTo>
                          <a:pt x="66" y="5"/>
                        </a:lnTo>
                        <a:lnTo>
                          <a:pt x="56" y="5"/>
                        </a:lnTo>
                        <a:lnTo>
                          <a:pt x="47" y="4"/>
                        </a:lnTo>
                        <a:lnTo>
                          <a:pt x="37" y="4"/>
                        </a:lnTo>
                        <a:lnTo>
                          <a:pt x="31" y="3"/>
                        </a:lnTo>
                        <a:lnTo>
                          <a:pt x="23" y="4"/>
                        </a:lnTo>
                        <a:lnTo>
                          <a:pt x="17" y="5"/>
                        </a:lnTo>
                        <a:lnTo>
                          <a:pt x="9" y="8"/>
                        </a:lnTo>
                        <a:lnTo>
                          <a:pt x="0" y="12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da-DK" kern="0">
                      <a:solidFill>
                        <a:sysClr val="windowText" lastClr="000000"/>
                      </a:solidFill>
                      <a:latin typeface="+mn-lt"/>
                      <a:ea typeface="ＭＳ Ｐゴシック" pitchFamily="-97" charset="-128"/>
                      <a:cs typeface="+mn-cs"/>
                    </a:endParaRPr>
                  </a:p>
                </p:txBody>
              </p:sp>
              <p:sp>
                <p:nvSpPr>
                  <p:cNvPr id="310" name="Freeform 367"/>
                  <p:cNvSpPr>
                    <a:spLocks/>
                  </p:cNvSpPr>
                  <p:nvPr/>
                </p:nvSpPr>
                <p:spPr bwMode="auto">
                  <a:xfrm>
                    <a:off x="3932238" y="3433763"/>
                    <a:ext cx="168275" cy="127000"/>
                  </a:xfrm>
                  <a:custGeom>
                    <a:avLst/>
                    <a:gdLst/>
                    <a:ahLst/>
                    <a:cxnLst>
                      <a:cxn ang="0">
                        <a:pos x="53" y="0"/>
                      </a:cxn>
                      <a:cxn ang="0">
                        <a:pos x="64" y="1"/>
                      </a:cxn>
                      <a:cxn ang="0">
                        <a:pos x="74" y="2"/>
                      </a:cxn>
                      <a:cxn ang="0">
                        <a:pos x="83" y="6"/>
                      </a:cxn>
                      <a:cxn ang="0">
                        <a:pos x="91" y="11"/>
                      </a:cxn>
                      <a:cxn ang="0">
                        <a:pos x="97" y="18"/>
                      </a:cxn>
                      <a:cxn ang="0">
                        <a:pos x="103" y="24"/>
                      </a:cxn>
                      <a:cxn ang="0">
                        <a:pos x="105" y="32"/>
                      </a:cxn>
                      <a:cxn ang="0">
                        <a:pos x="106" y="40"/>
                      </a:cxn>
                      <a:cxn ang="0">
                        <a:pos x="105" y="48"/>
                      </a:cxn>
                      <a:cxn ang="0">
                        <a:pos x="103" y="55"/>
                      </a:cxn>
                      <a:cxn ang="0">
                        <a:pos x="97" y="62"/>
                      </a:cxn>
                      <a:cxn ang="0">
                        <a:pos x="91" y="68"/>
                      </a:cxn>
                      <a:cxn ang="0">
                        <a:pos x="83" y="74"/>
                      </a:cxn>
                      <a:cxn ang="0">
                        <a:pos x="74" y="78"/>
                      </a:cxn>
                      <a:cxn ang="0">
                        <a:pos x="64" y="79"/>
                      </a:cxn>
                      <a:cxn ang="0">
                        <a:pos x="53" y="80"/>
                      </a:cxn>
                      <a:cxn ang="0">
                        <a:pos x="43" y="79"/>
                      </a:cxn>
                      <a:cxn ang="0">
                        <a:pos x="32" y="78"/>
                      </a:cxn>
                      <a:cxn ang="0">
                        <a:pos x="23" y="74"/>
                      </a:cxn>
                      <a:cxn ang="0">
                        <a:pos x="16" y="68"/>
                      </a:cxn>
                      <a:cxn ang="0">
                        <a:pos x="9" y="62"/>
                      </a:cxn>
                      <a:cxn ang="0">
                        <a:pos x="4" y="55"/>
                      </a:cxn>
                      <a:cxn ang="0">
                        <a:pos x="1" y="48"/>
                      </a:cxn>
                      <a:cxn ang="0">
                        <a:pos x="0" y="40"/>
                      </a:cxn>
                      <a:cxn ang="0">
                        <a:pos x="1" y="32"/>
                      </a:cxn>
                      <a:cxn ang="0">
                        <a:pos x="4" y="24"/>
                      </a:cxn>
                      <a:cxn ang="0">
                        <a:pos x="9" y="18"/>
                      </a:cxn>
                      <a:cxn ang="0">
                        <a:pos x="16" y="11"/>
                      </a:cxn>
                      <a:cxn ang="0">
                        <a:pos x="23" y="6"/>
                      </a:cxn>
                      <a:cxn ang="0">
                        <a:pos x="32" y="2"/>
                      </a:cxn>
                      <a:cxn ang="0">
                        <a:pos x="43" y="1"/>
                      </a:cxn>
                      <a:cxn ang="0">
                        <a:pos x="53" y="0"/>
                      </a:cxn>
                    </a:cxnLst>
                    <a:rect l="0" t="0" r="r" b="b"/>
                    <a:pathLst>
                      <a:path w="106" h="80">
                        <a:moveTo>
                          <a:pt x="53" y="0"/>
                        </a:moveTo>
                        <a:lnTo>
                          <a:pt x="64" y="1"/>
                        </a:lnTo>
                        <a:lnTo>
                          <a:pt x="74" y="2"/>
                        </a:lnTo>
                        <a:lnTo>
                          <a:pt x="83" y="6"/>
                        </a:lnTo>
                        <a:lnTo>
                          <a:pt x="91" y="11"/>
                        </a:lnTo>
                        <a:lnTo>
                          <a:pt x="97" y="18"/>
                        </a:lnTo>
                        <a:lnTo>
                          <a:pt x="103" y="24"/>
                        </a:lnTo>
                        <a:lnTo>
                          <a:pt x="105" y="32"/>
                        </a:lnTo>
                        <a:lnTo>
                          <a:pt x="106" y="40"/>
                        </a:lnTo>
                        <a:lnTo>
                          <a:pt x="105" y="48"/>
                        </a:lnTo>
                        <a:lnTo>
                          <a:pt x="103" y="55"/>
                        </a:lnTo>
                        <a:lnTo>
                          <a:pt x="97" y="62"/>
                        </a:lnTo>
                        <a:lnTo>
                          <a:pt x="91" y="68"/>
                        </a:lnTo>
                        <a:lnTo>
                          <a:pt x="83" y="74"/>
                        </a:lnTo>
                        <a:lnTo>
                          <a:pt x="74" y="78"/>
                        </a:lnTo>
                        <a:lnTo>
                          <a:pt x="64" y="79"/>
                        </a:lnTo>
                        <a:lnTo>
                          <a:pt x="53" y="80"/>
                        </a:lnTo>
                        <a:lnTo>
                          <a:pt x="43" y="79"/>
                        </a:lnTo>
                        <a:lnTo>
                          <a:pt x="32" y="78"/>
                        </a:lnTo>
                        <a:lnTo>
                          <a:pt x="23" y="74"/>
                        </a:lnTo>
                        <a:lnTo>
                          <a:pt x="16" y="68"/>
                        </a:lnTo>
                        <a:lnTo>
                          <a:pt x="9" y="62"/>
                        </a:lnTo>
                        <a:lnTo>
                          <a:pt x="4" y="55"/>
                        </a:lnTo>
                        <a:lnTo>
                          <a:pt x="1" y="48"/>
                        </a:lnTo>
                        <a:lnTo>
                          <a:pt x="0" y="40"/>
                        </a:lnTo>
                        <a:lnTo>
                          <a:pt x="1" y="32"/>
                        </a:lnTo>
                        <a:lnTo>
                          <a:pt x="4" y="24"/>
                        </a:lnTo>
                        <a:lnTo>
                          <a:pt x="9" y="18"/>
                        </a:lnTo>
                        <a:lnTo>
                          <a:pt x="16" y="11"/>
                        </a:lnTo>
                        <a:lnTo>
                          <a:pt x="23" y="6"/>
                        </a:lnTo>
                        <a:lnTo>
                          <a:pt x="32" y="2"/>
                        </a:lnTo>
                        <a:lnTo>
                          <a:pt x="43" y="1"/>
                        </a:lnTo>
                        <a:lnTo>
                          <a:pt x="53" y="0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da-DK" kern="0">
                      <a:solidFill>
                        <a:sysClr val="windowText" lastClr="000000"/>
                      </a:solidFill>
                      <a:latin typeface="+mn-lt"/>
                      <a:ea typeface="ＭＳ Ｐゴシック" pitchFamily="-97" charset="-128"/>
                      <a:cs typeface="+mn-cs"/>
                    </a:endParaRPr>
                  </a:p>
                </p:txBody>
              </p:sp>
            </p:grpSp>
          </p:grpSp>
        </p:grpSp>
        <p:grpSp>
          <p:nvGrpSpPr>
            <p:cNvPr id="122" name="Gruppe 94"/>
            <p:cNvGrpSpPr>
              <a:grpSpLocks/>
            </p:cNvGrpSpPr>
            <p:nvPr/>
          </p:nvGrpSpPr>
          <p:grpSpPr bwMode="auto">
            <a:xfrm flipH="1">
              <a:off x="3638550" y="3878263"/>
              <a:ext cx="838200" cy="1844675"/>
              <a:chOff x="2671814" y="3543300"/>
              <a:chExt cx="1331675" cy="2933700"/>
            </a:xfrm>
          </p:grpSpPr>
          <p:grpSp>
            <p:nvGrpSpPr>
              <p:cNvPr id="282" name="Gruppe 852"/>
              <p:cNvGrpSpPr>
                <a:grpSpLocks/>
              </p:cNvGrpSpPr>
              <p:nvPr/>
            </p:nvGrpSpPr>
            <p:grpSpPr bwMode="auto">
              <a:xfrm>
                <a:off x="2671814" y="3863935"/>
                <a:ext cx="1331675" cy="2613064"/>
                <a:chOff x="-7886" y="3501243"/>
                <a:chExt cx="1212319" cy="2378857"/>
              </a:xfrm>
            </p:grpSpPr>
            <p:sp>
              <p:nvSpPr>
                <p:cNvPr id="284" name="Ellipse 458"/>
                <p:cNvSpPr/>
                <p:nvPr/>
              </p:nvSpPr>
              <p:spPr bwMode="auto">
                <a:xfrm>
                  <a:off x="107471" y="5572229"/>
                  <a:ext cx="1096962" cy="307871"/>
                </a:xfrm>
                <a:prstGeom prst="ellipse">
                  <a:avLst/>
                </a:prstGeom>
                <a:gradFill flip="none" rotWithShape="1">
                  <a:gsLst>
                    <a:gs pos="24000">
                      <a:sysClr val="windowText" lastClr="000000">
                        <a:alpha val="42000"/>
                      </a:sysClr>
                    </a:gs>
                    <a:gs pos="100000">
                      <a:sysClr val="window" lastClr="FFFFFF">
                        <a:alpha val="0"/>
                      </a:sysClr>
                    </a:gs>
                  </a:gsLst>
                  <a:path path="shape">
                    <a:fillToRect l="50000" t="50000" r="50000" b="50000"/>
                  </a:path>
                  <a:tileRect/>
                </a:gradFill>
                <a:ln w="952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 dirty="0" err="1">
                    <a:solidFill>
                      <a:sysClr val="window" lastClr="FFFFFF"/>
                    </a:solidFill>
                    <a:latin typeface="Calibri"/>
                    <a:ea typeface="ＭＳ Ｐゴシック" pitchFamily="-97" charset="-128"/>
                    <a:cs typeface="+mn-cs"/>
                  </a:endParaRPr>
                </a:p>
              </p:txBody>
            </p:sp>
            <p:grpSp>
              <p:nvGrpSpPr>
                <p:cNvPr id="285" name="Gruppe 822"/>
                <p:cNvGrpSpPr>
                  <a:grpSpLocks/>
                </p:cNvGrpSpPr>
                <p:nvPr/>
              </p:nvGrpSpPr>
              <p:grpSpPr bwMode="auto">
                <a:xfrm>
                  <a:off x="-7886" y="3501243"/>
                  <a:ext cx="1016427" cy="2358170"/>
                  <a:chOff x="-7886" y="3501243"/>
                  <a:chExt cx="1016427" cy="2358170"/>
                </a:xfrm>
              </p:grpSpPr>
              <p:grpSp>
                <p:nvGrpSpPr>
                  <p:cNvPr id="286" name="Gruppe 604"/>
                  <p:cNvGrpSpPr>
                    <a:grpSpLocks/>
                  </p:cNvGrpSpPr>
                  <p:nvPr/>
                </p:nvGrpSpPr>
                <p:grpSpPr bwMode="auto">
                  <a:xfrm>
                    <a:off x="-7886" y="3501243"/>
                    <a:ext cx="971232" cy="2358170"/>
                    <a:chOff x="-7886" y="3501243"/>
                    <a:chExt cx="971232" cy="2358170"/>
                  </a:xfrm>
                </p:grpSpPr>
                <p:sp>
                  <p:nvSpPr>
                    <p:cNvPr id="294" name="Freeform 130"/>
                    <p:cNvSpPr>
                      <a:spLocks/>
                    </p:cNvSpPr>
                    <p:nvPr/>
                  </p:nvSpPr>
                  <p:spPr bwMode="auto">
                    <a:xfrm>
                      <a:off x="-4932" y="3565959"/>
                      <a:ext cx="1032009" cy="2278324"/>
                    </a:xfrm>
                    <a:custGeom>
                      <a:avLst/>
                      <a:gdLst/>
                      <a:ahLst/>
                      <a:cxnLst>
                        <a:cxn ang="0">
                          <a:pos x="145" y="87"/>
                        </a:cxn>
                        <a:cxn ang="0">
                          <a:pos x="99" y="110"/>
                        </a:cxn>
                        <a:cxn ang="0">
                          <a:pos x="93" y="162"/>
                        </a:cxn>
                        <a:cxn ang="0">
                          <a:pos x="158" y="272"/>
                        </a:cxn>
                        <a:cxn ang="0">
                          <a:pos x="138" y="326"/>
                        </a:cxn>
                        <a:cxn ang="0">
                          <a:pos x="89" y="375"/>
                        </a:cxn>
                        <a:cxn ang="0">
                          <a:pos x="70" y="414"/>
                        </a:cxn>
                        <a:cxn ang="0">
                          <a:pos x="94" y="449"/>
                        </a:cxn>
                        <a:cxn ang="0">
                          <a:pos x="168" y="522"/>
                        </a:cxn>
                        <a:cxn ang="0">
                          <a:pos x="150" y="638"/>
                        </a:cxn>
                        <a:cxn ang="0">
                          <a:pos x="115" y="750"/>
                        </a:cxn>
                        <a:cxn ang="0">
                          <a:pos x="70" y="804"/>
                        </a:cxn>
                        <a:cxn ang="0">
                          <a:pos x="53" y="835"/>
                        </a:cxn>
                        <a:cxn ang="0">
                          <a:pos x="75" y="868"/>
                        </a:cxn>
                        <a:cxn ang="0">
                          <a:pos x="34" y="905"/>
                        </a:cxn>
                        <a:cxn ang="0">
                          <a:pos x="8" y="942"/>
                        </a:cxn>
                        <a:cxn ang="0">
                          <a:pos x="15" y="999"/>
                        </a:cxn>
                        <a:cxn ang="0">
                          <a:pos x="0" y="1121"/>
                        </a:cxn>
                        <a:cxn ang="0">
                          <a:pos x="69" y="1163"/>
                        </a:cxn>
                        <a:cxn ang="0">
                          <a:pos x="171" y="1189"/>
                        </a:cxn>
                        <a:cxn ang="0">
                          <a:pos x="285" y="1193"/>
                        </a:cxn>
                        <a:cxn ang="0">
                          <a:pos x="393" y="1175"/>
                        </a:cxn>
                        <a:cxn ang="0">
                          <a:pos x="474" y="1129"/>
                        </a:cxn>
                        <a:cxn ang="0">
                          <a:pos x="484" y="1032"/>
                        </a:cxn>
                        <a:cxn ang="0">
                          <a:pos x="489" y="965"/>
                        </a:cxn>
                        <a:cxn ang="0">
                          <a:pos x="470" y="921"/>
                        </a:cxn>
                        <a:cxn ang="0">
                          <a:pos x="441" y="870"/>
                        </a:cxn>
                        <a:cxn ang="0">
                          <a:pos x="449" y="832"/>
                        </a:cxn>
                        <a:cxn ang="0">
                          <a:pos x="425" y="805"/>
                        </a:cxn>
                        <a:cxn ang="0">
                          <a:pos x="373" y="713"/>
                        </a:cxn>
                        <a:cxn ang="0">
                          <a:pos x="349" y="609"/>
                        </a:cxn>
                        <a:cxn ang="0">
                          <a:pos x="344" y="485"/>
                        </a:cxn>
                        <a:cxn ang="0">
                          <a:pos x="417" y="446"/>
                        </a:cxn>
                        <a:cxn ang="0">
                          <a:pos x="436" y="411"/>
                        </a:cxn>
                        <a:cxn ang="0">
                          <a:pos x="414" y="374"/>
                        </a:cxn>
                        <a:cxn ang="0">
                          <a:pos x="379" y="343"/>
                        </a:cxn>
                        <a:cxn ang="0">
                          <a:pos x="393" y="306"/>
                        </a:cxn>
                        <a:cxn ang="0">
                          <a:pos x="376" y="273"/>
                        </a:cxn>
                        <a:cxn ang="0">
                          <a:pos x="409" y="192"/>
                        </a:cxn>
                        <a:cxn ang="0">
                          <a:pos x="432" y="139"/>
                        </a:cxn>
                        <a:cxn ang="0">
                          <a:pos x="416" y="110"/>
                        </a:cxn>
                        <a:cxn ang="0">
                          <a:pos x="349" y="77"/>
                        </a:cxn>
                        <a:cxn ang="0">
                          <a:pos x="322" y="42"/>
                        </a:cxn>
                        <a:cxn ang="0">
                          <a:pos x="309" y="16"/>
                        </a:cxn>
                        <a:cxn ang="0">
                          <a:pos x="281" y="2"/>
                        </a:cxn>
                        <a:cxn ang="0">
                          <a:pos x="243" y="3"/>
                        </a:cxn>
                        <a:cxn ang="0">
                          <a:pos x="215" y="27"/>
                        </a:cxn>
                      </a:cxnLst>
                      <a:rect l="0" t="0" r="r" b="b"/>
                      <a:pathLst>
                        <a:path w="493" h="1194">
                          <a:moveTo>
                            <a:pt x="208" y="62"/>
                          </a:moveTo>
                          <a:lnTo>
                            <a:pt x="167" y="83"/>
                          </a:lnTo>
                          <a:lnTo>
                            <a:pt x="145" y="87"/>
                          </a:lnTo>
                          <a:lnTo>
                            <a:pt x="125" y="93"/>
                          </a:lnTo>
                          <a:lnTo>
                            <a:pt x="110" y="100"/>
                          </a:lnTo>
                          <a:lnTo>
                            <a:pt x="99" y="110"/>
                          </a:lnTo>
                          <a:lnTo>
                            <a:pt x="92" y="124"/>
                          </a:lnTo>
                          <a:lnTo>
                            <a:pt x="90" y="141"/>
                          </a:lnTo>
                          <a:lnTo>
                            <a:pt x="93" y="162"/>
                          </a:lnTo>
                          <a:lnTo>
                            <a:pt x="104" y="187"/>
                          </a:lnTo>
                          <a:lnTo>
                            <a:pt x="158" y="242"/>
                          </a:lnTo>
                          <a:lnTo>
                            <a:pt x="158" y="272"/>
                          </a:lnTo>
                          <a:lnTo>
                            <a:pt x="140" y="282"/>
                          </a:lnTo>
                          <a:lnTo>
                            <a:pt x="135" y="302"/>
                          </a:lnTo>
                          <a:lnTo>
                            <a:pt x="138" y="326"/>
                          </a:lnTo>
                          <a:lnTo>
                            <a:pt x="147" y="346"/>
                          </a:lnTo>
                          <a:lnTo>
                            <a:pt x="104" y="360"/>
                          </a:lnTo>
                          <a:lnTo>
                            <a:pt x="89" y="375"/>
                          </a:lnTo>
                          <a:lnTo>
                            <a:pt x="77" y="389"/>
                          </a:lnTo>
                          <a:lnTo>
                            <a:pt x="71" y="402"/>
                          </a:lnTo>
                          <a:lnTo>
                            <a:pt x="70" y="414"/>
                          </a:lnTo>
                          <a:lnTo>
                            <a:pt x="74" y="426"/>
                          </a:lnTo>
                          <a:lnTo>
                            <a:pt x="82" y="437"/>
                          </a:lnTo>
                          <a:lnTo>
                            <a:pt x="94" y="449"/>
                          </a:lnTo>
                          <a:lnTo>
                            <a:pt x="113" y="459"/>
                          </a:lnTo>
                          <a:lnTo>
                            <a:pt x="173" y="480"/>
                          </a:lnTo>
                          <a:lnTo>
                            <a:pt x="168" y="522"/>
                          </a:lnTo>
                          <a:lnTo>
                            <a:pt x="162" y="562"/>
                          </a:lnTo>
                          <a:lnTo>
                            <a:pt x="156" y="601"/>
                          </a:lnTo>
                          <a:lnTo>
                            <a:pt x="150" y="638"/>
                          </a:lnTo>
                          <a:lnTo>
                            <a:pt x="140" y="676"/>
                          </a:lnTo>
                          <a:lnTo>
                            <a:pt x="129" y="713"/>
                          </a:lnTo>
                          <a:lnTo>
                            <a:pt x="115" y="750"/>
                          </a:lnTo>
                          <a:lnTo>
                            <a:pt x="98" y="789"/>
                          </a:lnTo>
                          <a:lnTo>
                            <a:pt x="83" y="796"/>
                          </a:lnTo>
                          <a:lnTo>
                            <a:pt x="70" y="804"/>
                          </a:lnTo>
                          <a:lnTo>
                            <a:pt x="61" y="814"/>
                          </a:lnTo>
                          <a:lnTo>
                            <a:pt x="55" y="823"/>
                          </a:lnTo>
                          <a:lnTo>
                            <a:pt x="53" y="835"/>
                          </a:lnTo>
                          <a:lnTo>
                            <a:pt x="55" y="845"/>
                          </a:lnTo>
                          <a:lnTo>
                            <a:pt x="62" y="857"/>
                          </a:lnTo>
                          <a:lnTo>
                            <a:pt x="75" y="868"/>
                          </a:lnTo>
                          <a:lnTo>
                            <a:pt x="78" y="889"/>
                          </a:lnTo>
                          <a:lnTo>
                            <a:pt x="53" y="896"/>
                          </a:lnTo>
                          <a:lnTo>
                            <a:pt x="34" y="905"/>
                          </a:lnTo>
                          <a:lnTo>
                            <a:pt x="21" y="916"/>
                          </a:lnTo>
                          <a:lnTo>
                            <a:pt x="13" y="928"/>
                          </a:lnTo>
                          <a:lnTo>
                            <a:pt x="8" y="942"/>
                          </a:lnTo>
                          <a:lnTo>
                            <a:pt x="8" y="959"/>
                          </a:lnTo>
                          <a:lnTo>
                            <a:pt x="10" y="978"/>
                          </a:lnTo>
                          <a:lnTo>
                            <a:pt x="15" y="999"/>
                          </a:lnTo>
                          <a:lnTo>
                            <a:pt x="19" y="1032"/>
                          </a:lnTo>
                          <a:lnTo>
                            <a:pt x="0" y="1057"/>
                          </a:lnTo>
                          <a:lnTo>
                            <a:pt x="0" y="1121"/>
                          </a:lnTo>
                          <a:lnTo>
                            <a:pt x="18" y="1137"/>
                          </a:lnTo>
                          <a:lnTo>
                            <a:pt x="41" y="1151"/>
                          </a:lnTo>
                          <a:lnTo>
                            <a:pt x="69" y="1163"/>
                          </a:lnTo>
                          <a:lnTo>
                            <a:pt x="101" y="1174"/>
                          </a:lnTo>
                          <a:lnTo>
                            <a:pt x="135" y="1182"/>
                          </a:lnTo>
                          <a:lnTo>
                            <a:pt x="171" y="1189"/>
                          </a:lnTo>
                          <a:lnTo>
                            <a:pt x="208" y="1192"/>
                          </a:lnTo>
                          <a:lnTo>
                            <a:pt x="246" y="1194"/>
                          </a:lnTo>
                          <a:lnTo>
                            <a:pt x="285" y="1193"/>
                          </a:lnTo>
                          <a:lnTo>
                            <a:pt x="322" y="1190"/>
                          </a:lnTo>
                          <a:lnTo>
                            <a:pt x="359" y="1184"/>
                          </a:lnTo>
                          <a:lnTo>
                            <a:pt x="393" y="1175"/>
                          </a:lnTo>
                          <a:lnTo>
                            <a:pt x="424" y="1162"/>
                          </a:lnTo>
                          <a:lnTo>
                            <a:pt x="451" y="1147"/>
                          </a:lnTo>
                          <a:lnTo>
                            <a:pt x="474" y="1129"/>
                          </a:lnTo>
                          <a:lnTo>
                            <a:pt x="493" y="1107"/>
                          </a:lnTo>
                          <a:lnTo>
                            <a:pt x="493" y="1069"/>
                          </a:lnTo>
                          <a:lnTo>
                            <a:pt x="484" y="1032"/>
                          </a:lnTo>
                          <a:lnTo>
                            <a:pt x="487" y="1005"/>
                          </a:lnTo>
                          <a:lnTo>
                            <a:pt x="489" y="984"/>
                          </a:lnTo>
                          <a:lnTo>
                            <a:pt x="489" y="965"/>
                          </a:lnTo>
                          <a:lnTo>
                            <a:pt x="486" y="950"/>
                          </a:lnTo>
                          <a:lnTo>
                            <a:pt x="480" y="936"/>
                          </a:lnTo>
                          <a:lnTo>
                            <a:pt x="470" y="921"/>
                          </a:lnTo>
                          <a:lnTo>
                            <a:pt x="454" y="906"/>
                          </a:lnTo>
                          <a:lnTo>
                            <a:pt x="433" y="888"/>
                          </a:lnTo>
                          <a:lnTo>
                            <a:pt x="441" y="870"/>
                          </a:lnTo>
                          <a:lnTo>
                            <a:pt x="446" y="855"/>
                          </a:lnTo>
                          <a:lnTo>
                            <a:pt x="449" y="842"/>
                          </a:lnTo>
                          <a:lnTo>
                            <a:pt x="449" y="832"/>
                          </a:lnTo>
                          <a:lnTo>
                            <a:pt x="444" y="823"/>
                          </a:lnTo>
                          <a:lnTo>
                            <a:pt x="438" y="814"/>
                          </a:lnTo>
                          <a:lnTo>
                            <a:pt x="425" y="805"/>
                          </a:lnTo>
                          <a:lnTo>
                            <a:pt x="409" y="793"/>
                          </a:lnTo>
                          <a:lnTo>
                            <a:pt x="389" y="751"/>
                          </a:lnTo>
                          <a:lnTo>
                            <a:pt x="373" y="713"/>
                          </a:lnTo>
                          <a:lnTo>
                            <a:pt x="362" y="677"/>
                          </a:lnTo>
                          <a:lnTo>
                            <a:pt x="355" y="644"/>
                          </a:lnTo>
                          <a:lnTo>
                            <a:pt x="349" y="609"/>
                          </a:lnTo>
                          <a:lnTo>
                            <a:pt x="345" y="572"/>
                          </a:lnTo>
                          <a:lnTo>
                            <a:pt x="344" y="531"/>
                          </a:lnTo>
                          <a:lnTo>
                            <a:pt x="344" y="485"/>
                          </a:lnTo>
                          <a:lnTo>
                            <a:pt x="379" y="471"/>
                          </a:lnTo>
                          <a:lnTo>
                            <a:pt x="404" y="455"/>
                          </a:lnTo>
                          <a:lnTo>
                            <a:pt x="417" y="446"/>
                          </a:lnTo>
                          <a:lnTo>
                            <a:pt x="426" y="435"/>
                          </a:lnTo>
                          <a:lnTo>
                            <a:pt x="433" y="423"/>
                          </a:lnTo>
                          <a:lnTo>
                            <a:pt x="436" y="411"/>
                          </a:lnTo>
                          <a:lnTo>
                            <a:pt x="434" y="398"/>
                          </a:lnTo>
                          <a:lnTo>
                            <a:pt x="427" y="386"/>
                          </a:lnTo>
                          <a:lnTo>
                            <a:pt x="414" y="374"/>
                          </a:lnTo>
                          <a:lnTo>
                            <a:pt x="394" y="364"/>
                          </a:lnTo>
                          <a:lnTo>
                            <a:pt x="368" y="356"/>
                          </a:lnTo>
                          <a:lnTo>
                            <a:pt x="379" y="343"/>
                          </a:lnTo>
                          <a:lnTo>
                            <a:pt x="386" y="330"/>
                          </a:lnTo>
                          <a:lnTo>
                            <a:pt x="390" y="318"/>
                          </a:lnTo>
                          <a:lnTo>
                            <a:pt x="393" y="306"/>
                          </a:lnTo>
                          <a:lnTo>
                            <a:pt x="390" y="295"/>
                          </a:lnTo>
                          <a:lnTo>
                            <a:pt x="386" y="283"/>
                          </a:lnTo>
                          <a:lnTo>
                            <a:pt x="376" y="273"/>
                          </a:lnTo>
                          <a:lnTo>
                            <a:pt x="364" y="261"/>
                          </a:lnTo>
                          <a:lnTo>
                            <a:pt x="389" y="227"/>
                          </a:lnTo>
                          <a:lnTo>
                            <a:pt x="409" y="192"/>
                          </a:lnTo>
                          <a:lnTo>
                            <a:pt x="420" y="170"/>
                          </a:lnTo>
                          <a:lnTo>
                            <a:pt x="428" y="153"/>
                          </a:lnTo>
                          <a:lnTo>
                            <a:pt x="432" y="139"/>
                          </a:lnTo>
                          <a:lnTo>
                            <a:pt x="432" y="128"/>
                          </a:lnTo>
                          <a:lnTo>
                            <a:pt x="426" y="118"/>
                          </a:lnTo>
                          <a:lnTo>
                            <a:pt x="416" y="110"/>
                          </a:lnTo>
                          <a:lnTo>
                            <a:pt x="400" y="102"/>
                          </a:lnTo>
                          <a:lnTo>
                            <a:pt x="378" y="92"/>
                          </a:lnTo>
                          <a:lnTo>
                            <a:pt x="349" y="77"/>
                          </a:lnTo>
                          <a:lnTo>
                            <a:pt x="320" y="68"/>
                          </a:lnTo>
                          <a:lnTo>
                            <a:pt x="322" y="54"/>
                          </a:lnTo>
                          <a:lnTo>
                            <a:pt x="322" y="42"/>
                          </a:lnTo>
                          <a:lnTo>
                            <a:pt x="320" y="32"/>
                          </a:lnTo>
                          <a:lnTo>
                            <a:pt x="315" y="23"/>
                          </a:lnTo>
                          <a:lnTo>
                            <a:pt x="309" y="16"/>
                          </a:lnTo>
                          <a:lnTo>
                            <a:pt x="300" y="10"/>
                          </a:lnTo>
                          <a:lnTo>
                            <a:pt x="291" y="5"/>
                          </a:lnTo>
                          <a:lnTo>
                            <a:pt x="281" y="2"/>
                          </a:lnTo>
                          <a:lnTo>
                            <a:pt x="268" y="0"/>
                          </a:lnTo>
                          <a:lnTo>
                            <a:pt x="256" y="1"/>
                          </a:lnTo>
                          <a:lnTo>
                            <a:pt x="243" y="3"/>
                          </a:lnTo>
                          <a:lnTo>
                            <a:pt x="233" y="8"/>
                          </a:lnTo>
                          <a:lnTo>
                            <a:pt x="222" y="16"/>
                          </a:lnTo>
                          <a:lnTo>
                            <a:pt x="215" y="27"/>
                          </a:lnTo>
                          <a:lnTo>
                            <a:pt x="211" y="42"/>
                          </a:lnTo>
                          <a:lnTo>
                            <a:pt x="208" y="62"/>
                          </a:lnTo>
                          <a:close/>
                        </a:path>
                      </a:pathLst>
                    </a:custGeom>
                    <a:gradFill flip="none" rotWithShape="1">
                      <a:gsLst>
                        <a:gs pos="100000">
                          <a:srgbClr val="E6E6E6"/>
                        </a:gs>
                        <a:gs pos="69000">
                          <a:srgbClr val="E6E6E6">
                            <a:lumMod val="90000"/>
                          </a:srgbClr>
                        </a:gs>
                        <a:gs pos="0">
                          <a:srgbClr val="E6E6E6">
                            <a:lumMod val="75000"/>
                          </a:srgbClr>
                        </a:gs>
                      </a:gsLst>
                      <a:lin ang="0" scaled="1"/>
                      <a:tileRect/>
                    </a:gradFill>
                    <a:ln w="9525" cap="flat" cmpd="sng" algn="ctr">
                      <a:noFill/>
                      <a:prstDash val="solid"/>
                    </a:ln>
                    <a:effectLst>
                      <a:outerShdw blurRad="40000" dist="23000" dir="5400000" rotWithShape="0">
                        <a:srgbClr val="000000">
                          <a:alpha val="35000"/>
                        </a:srgbClr>
                      </a:outerShdw>
                    </a:effectLst>
                  </p:spPr>
                  <p:txBody>
                    <a:bodyPr anchor="ctr"/>
                    <a:lstStyle/>
                    <a:p>
                      <a:pPr algn="ctr" fontAlgn="auto">
                        <a:spcBef>
                          <a:spcPts val="0"/>
                        </a:spcBef>
                        <a:spcAft>
                          <a:spcPts val="0"/>
                        </a:spcAft>
                        <a:defRPr/>
                      </a:pPr>
                      <a:endParaRPr lang="da-DK" kern="0">
                        <a:solidFill>
                          <a:sysClr val="window" lastClr="FFFFFF"/>
                        </a:solidFill>
                        <a:latin typeface="Calibri"/>
                        <a:cs typeface="+mn-cs"/>
                      </a:endParaRPr>
                    </a:p>
                  </p:txBody>
                </p:sp>
                <p:sp>
                  <p:nvSpPr>
                    <p:cNvPr id="295" name="Freeform 131"/>
                    <p:cNvSpPr>
                      <a:spLocks/>
                    </p:cNvSpPr>
                    <p:nvPr/>
                  </p:nvSpPr>
                  <p:spPr bwMode="auto">
                    <a:xfrm>
                      <a:off x="339075" y="3707250"/>
                      <a:ext cx="380206" cy="105968"/>
                    </a:xfrm>
                    <a:custGeom>
                      <a:avLst/>
                      <a:gdLst>
                        <a:gd name="T0" fmla="*/ 13 w 185"/>
                        <a:gd name="T1" fmla="*/ 8 h 58"/>
                        <a:gd name="T2" fmla="*/ 0 w 185"/>
                        <a:gd name="T3" fmla="*/ 22 h 58"/>
                        <a:gd name="T4" fmla="*/ 8 w 185"/>
                        <a:gd name="T5" fmla="*/ 43 h 58"/>
                        <a:gd name="T6" fmla="*/ 28 w 185"/>
                        <a:gd name="T7" fmla="*/ 49 h 58"/>
                        <a:gd name="T8" fmla="*/ 53 w 185"/>
                        <a:gd name="T9" fmla="*/ 54 h 58"/>
                        <a:gd name="T10" fmla="*/ 81 w 185"/>
                        <a:gd name="T11" fmla="*/ 58 h 58"/>
                        <a:gd name="T12" fmla="*/ 108 w 185"/>
                        <a:gd name="T13" fmla="*/ 56 h 58"/>
                        <a:gd name="T14" fmla="*/ 135 w 185"/>
                        <a:gd name="T15" fmla="*/ 53 h 58"/>
                        <a:gd name="T16" fmla="*/ 159 w 185"/>
                        <a:gd name="T17" fmla="*/ 46 h 58"/>
                        <a:gd name="T18" fmla="*/ 176 w 185"/>
                        <a:gd name="T19" fmla="*/ 33 h 58"/>
                        <a:gd name="T20" fmla="*/ 185 w 185"/>
                        <a:gd name="T21" fmla="*/ 16 h 58"/>
                        <a:gd name="T22" fmla="*/ 160 w 185"/>
                        <a:gd name="T23" fmla="*/ 6 h 58"/>
                        <a:gd name="T24" fmla="*/ 144 w 185"/>
                        <a:gd name="T25" fmla="*/ 0 h 58"/>
                        <a:gd name="T26" fmla="*/ 139 w 185"/>
                        <a:gd name="T27" fmla="*/ 15 h 58"/>
                        <a:gd name="T28" fmla="*/ 127 w 185"/>
                        <a:gd name="T29" fmla="*/ 24 h 58"/>
                        <a:gd name="T30" fmla="*/ 109 w 185"/>
                        <a:gd name="T31" fmla="*/ 29 h 58"/>
                        <a:gd name="T32" fmla="*/ 89 w 185"/>
                        <a:gd name="T33" fmla="*/ 29 h 58"/>
                        <a:gd name="T34" fmla="*/ 68 w 185"/>
                        <a:gd name="T35" fmla="*/ 25 h 58"/>
                        <a:gd name="T36" fmla="*/ 51 w 185"/>
                        <a:gd name="T37" fmla="*/ 20 h 58"/>
                        <a:gd name="T38" fmla="*/ 38 w 185"/>
                        <a:gd name="T39" fmla="*/ 11 h 58"/>
                        <a:gd name="T40" fmla="*/ 33 w 185"/>
                        <a:gd name="T41" fmla="*/ 1 h 58"/>
                        <a:gd name="T42" fmla="*/ 13 w 185"/>
                        <a:gd name="T43" fmla="*/ 8 h 58"/>
                        <a:gd name="T44" fmla="*/ 0 60000 65536"/>
                        <a:gd name="T45" fmla="*/ 0 60000 65536"/>
                        <a:gd name="T46" fmla="*/ 0 60000 65536"/>
                        <a:gd name="T47" fmla="*/ 0 60000 65536"/>
                        <a:gd name="T48" fmla="*/ 0 60000 65536"/>
                        <a:gd name="T49" fmla="*/ 0 60000 65536"/>
                        <a:gd name="T50" fmla="*/ 0 60000 65536"/>
                        <a:gd name="T51" fmla="*/ 0 60000 65536"/>
                        <a:gd name="T52" fmla="*/ 0 60000 65536"/>
                        <a:gd name="T53" fmla="*/ 0 60000 65536"/>
                        <a:gd name="T54" fmla="*/ 0 60000 65536"/>
                        <a:gd name="T55" fmla="*/ 0 60000 65536"/>
                        <a:gd name="T56" fmla="*/ 0 60000 65536"/>
                        <a:gd name="T57" fmla="*/ 0 60000 65536"/>
                        <a:gd name="T58" fmla="*/ 0 60000 65536"/>
                        <a:gd name="T59" fmla="*/ 0 60000 65536"/>
                        <a:gd name="T60" fmla="*/ 0 60000 65536"/>
                        <a:gd name="T61" fmla="*/ 0 60000 65536"/>
                        <a:gd name="T62" fmla="*/ 0 60000 65536"/>
                        <a:gd name="T63" fmla="*/ 0 60000 65536"/>
                        <a:gd name="T64" fmla="*/ 0 60000 65536"/>
                        <a:gd name="T65" fmla="*/ 0 60000 65536"/>
                        <a:gd name="T66" fmla="*/ 0 w 185"/>
                        <a:gd name="T67" fmla="*/ 0 h 58"/>
                        <a:gd name="T68" fmla="*/ 185 w 185"/>
                        <a:gd name="T69" fmla="*/ 58 h 58"/>
                      </a:gdLst>
                      <a:ahLst/>
                      <a:cxnLst>
                        <a:cxn ang="T44">
                          <a:pos x="T0" y="T1"/>
                        </a:cxn>
                        <a:cxn ang="T45">
                          <a:pos x="T2" y="T3"/>
                        </a:cxn>
                        <a:cxn ang="T46">
                          <a:pos x="T4" y="T5"/>
                        </a:cxn>
                        <a:cxn ang="T47">
                          <a:pos x="T6" y="T7"/>
                        </a:cxn>
                        <a:cxn ang="T48">
                          <a:pos x="T8" y="T9"/>
                        </a:cxn>
                        <a:cxn ang="T49">
                          <a:pos x="T10" y="T11"/>
                        </a:cxn>
                        <a:cxn ang="T50">
                          <a:pos x="T12" y="T13"/>
                        </a:cxn>
                        <a:cxn ang="T51">
                          <a:pos x="T14" y="T15"/>
                        </a:cxn>
                        <a:cxn ang="T52">
                          <a:pos x="T16" y="T17"/>
                        </a:cxn>
                        <a:cxn ang="T53">
                          <a:pos x="T18" y="T19"/>
                        </a:cxn>
                        <a:cxn ang="T54">
                          <a:pos x="T20" y="T21"/>
                        </a:cxn>
                        <a:cxn ang="T55">
                          <a:pos x="T22" y="T23"/>
                        </a:cxn>
                        <a:cxn ang="T56">
                          <a:pos x="T24" y="T25"/>
                        </a:cxn>
                        <a:cxn ang="T57">
                          <a:pos x="T26" y="T27"/>
                        </a:cxn>
                        <a:cxn ang="T58">
                          <a:pos x="T28" y="T29"/>
                        </a:cxn>
                        <a:cxn ang="T59">
                          <a:pos x="T30" y="T31"/>
                        </a:cxn>
                        <a:cxn ang="T60">
                          <a:pos x="T32" y="T33"/>
                        </a:cxn>
                        <a:cxn ang="T61">
                          <a:pos x="T34" y="T35"/>
                        </a:cxn>
                        <a:cxn ang="T62">
                          <a:pos x="T36" y="T37"/>
                        </a:cxn>
                        <a:cxn ang="T63">
                          <a:pos x="T38" y="T39"/>
                        </a:cxn>
                        <a:cxn ang="T64">
                          <a:pos x="T40" y="T41"/>
                        </a:cxn>
                        <a:cxn ang="T65">
                          <a:pos x="T42" y="T43"/>
                        </a:cxn>
                      </a:cxnLst>
                      <a:rect l="T66" t="T67" r="T68" b="T69"/>
                      <a:pathLst>
                        <a:path w="185" h="58">
                          <a:moveTo>
                            <a:pt x="13" y="8"/>
                          </a:moveTo>
                          <a:lnTo>
                            <a:pt x="0" y="22"/>
                          </a:lnTo>
                          <a:lnTo>
                            <a:pt x="8" y="43"/>
                          </a:lnTo>
                          <a:lnTo>
                            <a:pt x="28" y="49"/>
                          </a:lnTo>
                          <a:lnTo>
                            <a:pt x="53" y="54"/>
                          </a:lnTo>
                          <a:lnTo>
                            <a:pt x="81" y="58"/>
                          </a:lnTo>
                          <a:lnTo>
                            <a:pt x="108" y="56"/>
                          </a:lnTo>
                          <a:lnTo>
                            <a:pt x="135" y="53"/>
                          </a:lnTo>
                          <a:lnTo>
                            <a:pt x="159" y="46"/>
                          </a:lnTo>
                          <a:lnTo>
                            <a:pt x="176" y="33"/>
                          </a:lnTo>
                          <a:lnTo>
                            <a:pt x="185" y="16"/>
                          </a:lnTo>
                          <a:lnTo>
                            <a:pt x="160" y="6"/>
                          </a:lnTo>
                          <a:lnTo>
                            <a:pt x="144" y="0"/>
                          </a:lnTo>
                          <a:lnTo>
                            <a:pt x="139" y="15"/>
                          </a:lnTo>
                          <a:lnTo>
                            <a:pt x="127" y="24"/>
                          </a:lnTo>
                          <a:lnTo>
                            <a:pt x="109" y="29"/>
                          </a:lnTo>
                          <a:lnTo>
                            <a:pt x="89" y="29"/>
                          </a:lnTo>
                          <a:lnTo>
                            <a:pt x="68" y="25"/>
                          </a:lnTo>
                          <a:lnTo>
                            <a:pt x="51" y="20"/>
                          </a:lnTo>
                          <a:lnTo>
                            <a:pt x="38" y="11"/>
                          </a:lnTo>
                          <a:lnTo>
                            <a:pt x="33" y="1"/>
                          </a:lnTo>
                          <a:lnTo>
                            <a:pt x="13" y="8"/>
                          </a:lnTo>
                          <a:close/>
                        </a:path>
                      </a:pathLst>
                    </a:custGeom>
                    <a:solidFill>
                      <a:srgbClr val="E6E6E6">
                        <a:alpha val="56078"/>
                      </a:srgbClr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pPr fontAlgn="auto">
                        <a:spcBef>
                          <a:spcPts val="0"/>
                        </a:spcBef>
                        <a:spcAft>
                          <a:spcPts val="0"/>
                        </a:spcAft>
                        <a:defRPr/>
                      </a:pPr>
                      <a:endParaRPr lang="da-DK" kern="0">
                        <a:solidFill>
                          <a:sysClr val="windowText" lastClr="000000"/>
                        </a:solidFill>
                        <a:latin typeface="+mn-lt"/>
                        <a:cs typeface="+mn-cs"/>
                      </a:endParaRPr>
                    </a:p>
                  </p:txBody>
                </p:sp>
                <p:sp>
                  <p:nvSpPr>
                    <p:cNvPr id="296" name="Freeform 132"/>
                    <p:cNvSpPr>
                      <a:spLocks/>
                    </p:cNvSpPr>
                    <p:nvPr/>
                  </p:nvSpPr>
                  <p:spPr bwMode="auto">
                    <a:xfrm>
                      <a:off x="194232" y="3760240"/>
                      <a:ext cx="651791" cy="194270"/>
                    </a:xfrm>
                    <a:custGeom>
                      <a:avLst/>
                      <a:gdLst>
                        <a:gd name="T0" fmla="*/ 32 w 329"/>
                        <a:gd name="T1" fmla="*/ 10 h 102"/>
                        <a:gd name="T2" fmla="*/ 1 w 329"/>
                        <a:gd name="T3" fmla="*/ 26 h 102"/>
                        <a:gd name="T4" fmla="*/ 0 w 329"/>
                        <a:gd name="T5" fmla="*/ 43 h 102"/>
                        <a:gd name="T6" fmla="*/ 3 w 329"/>
                        <a:gd name="T7" fmla="*/ 60 h 102"/>
                        <a:gd name="T8" fmla="*/ 14 w 329"/>
                        <a:gd name="T9" fmla="*/ 71 h 102"/>
                        <a:gd name="T10" fmla="*/ 27 w 329"/>
                        <a:gd name="T11" fmla="*/ 81 h 102"/>
                        <a:gd name="T12" fmla="*/ 46 w 329"/>
                        <a:gd name="T13" fmla="*/ 90 h 102"/>
                        <a:gd name="T14" fmla="*/ 67 w 329"/>
                        <a:gd name="T15" fmla="*/ 95 h 102"/>
                        <a:gd name="T16" fmla="*/ 91 w 329"/>
                        <a:gd name="T17" fmla="*/ 100 h 102"/>
                        <a:gd name="T18" fmla="*/ 117 w 329"/>
                        <a:gd name="T19" fmla="*/ 102 h 102"/>
                        <a:gd name="T20" fmla="*/ 144 w 329"/>
                        <a:gd name="T21" fmla="*/ 102 h 102"/>
                        <a:gd name="T22" fmla="*/ 171 w 329"/>
                        <a:gd name="T23" fmla="*/ 102 h 102"/>
                        <a:gd name="T24" fmla="*/ 199 w 329"/>
                        <a:gd name="T25" fmla="*/ 100 h 102"/>
                        <a:gd name="T26" fmla="*/ 225 w 329"/>
                        <a:gd name="T27" fmla="*/ 98 h 102"/>
                        <a:gd name="T28" fmla="*/ 251 w 329"/>
                        <a:gd name="T29" fmla="*/ 94 h 102"/>
                        <a:gd name="T30" fmla="*/ 273 w 329"/>
                        <a:gd name="T31" fmla="*/ 90 h 102"/>
                        <a:gd name="T32" fmla="*/ 292 w 329"/>
                        <a:gd name="T33" fmla="*/ 85 h 102"/>
                        <a:gd name="T34" fmla="*/ 308 w 329"/>
                        <a:gd name="T35" fmla="*/ 79 h 102"/>
                        <a:gd name="T36" fmla="*/ 319 w 329"/>
                        <a:gd name="T37" fmla="*/ 71 h 102"/>
                        <a:gd name="T38" fmla="*/ 326 w 329"/>
                        <a:gd name="T39" fmla="*/ 61 h 102"/>
                        <a:gd name="T40" fmla="*/ 329 w 329"/>
                        <a:gd name="T41" fmla="*/ 50 h 102"/>
                        <a:gd name="T42" fmla="*/ 329 w 329"/>
                        <a:gd name="T43" fmla="*/ 39 h 102"/>
                        <a:gd name="T44" fmla="*/ 325 w 329"/>
                        <a:gd name="T45" fmla="*/ 28 h 102"/>
                        <a:gd name="T46" fmla="*/ 316 w 329"/>
                        <a:gd name="T47" fmla="*/ 18 h 102"/>
                        <a:gd name="T48" fmla="*/ 303 w 329"/>
                        <a:gd name="T49" fmla="*/ 8 h 102"/>
                        <a:gd name="T50" fmla="*/ 285 w 329"/>
                        <a:gd name="T51" fmla="*/ 0 h 102"/>
                        <a:gd name="T52" fmla="*/ 269 w 329"/>
                        <a:gd name="T53" fmla="*/ 18 h 102"/>
                        <a:gd name="T54" fmla="*/ 252 w 329"/>
                        <a:gd name="T55" fmla="*/ 31 h 102"/>
                        <a:gd name="T56" fmla="*/ 234 w 329"/>
                        <a:gd name="T57" fmla="*/ 39 h 102"/>
                        <a:gd name="T58" fmla="*/ 215 w 329"/>
                        <a:gd name="T59" fmla="*/ 43 h 102"/>
                        <a:gd name="T60" fmla="*/ 194 w 329"/>
                        <a:gd name="T61" fmla="*/ 45 h 102"/>
                        <a:gd name="T62" fmla="*/ 173 w 329"/>
                        <a:gd name="T63" fmla="*/ 43 h 102"/>
                        <a:gd name="T64" fmla="*/ 148 w 329"/>
                        <a:gd name="T65" fmla="*/ 41 h 102"/>
                        <a:gd name="T66" fmla="*/ 122 w 329"/>
                        <a:gd name="T67" fmla="*/ 40 h 102"/>
                        <a:gd name="T68" fmla="*/ 67 w 329"/>
                        <a:gd name="T69" fmla="*/ 30 h 102"/>
                        <a:gd name="T70" fmla="*/ 49 w 329"/>
                        <a:gd name="T71" fmla="*/ 3 h 102"/>
                        <a:gd name="T72" fmla="*/ 32 w 329"/>
                        <a:gd name="T73" fmla="*/ 10 h 102"/>
                        <a:gd name="T74" fmla="*/ 0 60000 65536"/>
                        <a:gd name="T75" fmla="*/ 0 60000 65536"/>
                        <a:gd name="T76" fmla="*/ 0 60000 65536"/>
                        <a:gd name="T77" fmla="*/ 0 60000 65536"/>
                        <a:gd name="T78" fmla="*/ 0 60000 65536"/>
                        <a:gd name="T79" fmla="*/ 0 60000 65536"/>
                        <a:gd name="T80" fmla="*/ 0 60000 65536"/>
                        <a:gd name="T81" fmla="*/ 0 60000 65536"/>
                        <a:gd name="T82" fmla="*/ 0 60000 65536"/>
                        <a:gd name="T83" fmla="*/ 0 60000 65536"/>
                        <a:gd name="T84" fmla="*/ 0 60000 65536"/>
                        <a:gd name="T85" fmla="*/ 0 60000 65536"/>
                        <a:gd name="T86" fmla="*/ 0 60000 65536"/>
                        <a:gd name="T87" fmla="*/ 0 60000 65536"/>
                        <a:gd name="T88" fmla="*/ 0 60000 65536"/>
                        <a:gd name="T89" fmla="*/ 0 60000 65536"/>
                        <a:gd name="T90" fmla="*/ 0 60000 65536"/>
                        <a:gd name="T91" fmla="*/ 0 60000 65536"/>
                        <a:gd name="T92" fmla="*/ 0 60000 65536"/>
                        <a:gd name="T93" fmla="*/ 0 60000 65536"/>
                        <a:gd name="T94" fmla="*/ 0 60000 65536"/>
                        <a:gd name="T95" fmla="*/ 0 60000 65536"/>
                        <a:gd name="T96" fmla="*/ 0 60000 65536"/>
                        <a:gd name="T97" fmla="*/ 0 60000 65536"/>
                        <a:gd name="T98" fmla="*/ 0 60000 65536"/>
                        <a:gd name="T99" fmla="*/ 0 60000 65536"/>
                        <a:gd name="T100" fmla="*/ 0 60000 65536"/>
                        <a:gd name="T101" fmla="*/ 0 60000 65536"/>
                        <a:gd name="T102" fmla="*/ 0 60000 65536"/>
                        <a:gd name="T103" fmla="*/ 0 60000 65536"/>
                        <a:gd name="T104" fmla="*/ 0 60000 65536"/>
                        <a:gd name="T105" fmla="*/ 0 60000 65536"/>
                        <a:gd name="T106" fmla="*/ 0 60000 65536"/>
                        <a:gd name="T107" fmla="*/ 0 60000 65536"/>
                        <a:gd name="T108" fmla="*/ 0 60000 65536"/>
                        <a:gd name="T109" fmla="*/ 0 60000 65536"/>
                        <a:gd name="T110" fmla="*/ 0 60000 65536"/>
                        <a:gd name="T111" fmla="*/ 0 w 329"/>
                        <a:gd name="T112" fmla="*/ 0 h 102"/>
                        <a:gd name="T113" fmla="*/ 329 w 329"/>
                        <a:gd name="T114" fmla="*/ 102 h 102"/>
                      </a:gdLst>
                      <a:ahLst/>
                      <a:cxnLst>
                        <a:cxn ang="T74">
                          <a:pos x="T0" y="T1"/>
                        </a:cxn>
                        <a:cxn ang="T75">
                          <a:pos x="T2" y="T3"/>
                        </a:cxn>
                        <a:cxn ang="T76">
                          <a:pos x="T4" y="T5"/>
                        </a:cxn>
                        <a:cxn ang="T77">
                          <a:pos x="T6" y="T7"/>
                        </a:cxn>
                        <a:cxn ang="T78">
                          <a:pos x="T8" y="T9"/>
                        </a:cxn>
                        <a:cxn ang="T79">
                          <a:pos x="T10" y="T11"/>
                        </a:cxn>
                        <a:cxn ang="T80">
                          <a:pos x="T12" y="T13"/>
                        </a:cxn>
                        <a:cxn ang="T81">
                          <a:pos x="T14" y="T15"/>
                        </a:cxn>
                        <a:cxn ang="T82">
                          <a:pos x="T16" y="T17"/>
                        </a:cxn>
                        <a:cxn ang="T83">
                          <a:pos x="T18" y="T19"/>
                        </a:cxn>
                        <a:cxn ang="T84">
                          <a:pos x="T20" y="T21"/>
                        </a:cxn>
                        <a:cxn ang="T85">
                          <a:pos x="T22" y="T23"/>
                        </a:cxn>
                        <a:cxn ang="T86">
                          <a:pos x="T24" y="T25"/>
                        </a:cxn>
                        <a:cxn ang="T87">
                          <a:pos x="T26" y="T27"/>
                        </a:cxn>
                        <a:cxn ang="T88">
                          <a:pos x="T28" y="T29"/>
                        </a:cxn>
                        <a:cxn ang="T89">
                          <a:pos x="T30" y="T31"/>
                        </a:cxn>
                        <a:cxn ang="T90">
                          <a:pos x="T32" y="T33"/>
                        </a:cxn>
                        <a:cxn ang="T91">
                          <a:pos x="T34" y="T35"/>
                        </a:cxn>
                        <a:cxn ang="T92">
                          <a:pos x="T36" y="T37"/>
                        </a:cxn>
                        <a:cxn ang="T93">
                          <a:pos x="T38" y="T39"/>
                        </a:cxn>
                        <a:cxn ang="T94">
                          <a:pos x="T40" y="T41"/>
                        </a:cxn>
                        <a:cxn ang="T95">
                          <a:pos x="T42" y="T43"/>
                        </a:cxn>
                        <a:cxn ang="T96">
                          <a:pos x="T44" y="T45"/>
                        </a:cxn>
                        <a:cxn ang="T97">
                          <a:pos x="T46" y="T47"/>
                        </a:cxn>
                        <a:cxn ang="T98">
                          <a:pos x="T48" y="T49"/>
                        </a:cxn>
                        <a:cxn ang="T99">
                          <a:pos x="T50" y="T51"/>
                        </a:cxn>
                        <a:cxn ang="T100">
                          <a:pos x="T52" y="T53"/>
                        </a:cxn>
                        <a:cxn ang="T101">
                          <a:pos x="T54" y="T55"/>
                        </a:cxn>
                        <a:cxn ang="T102">
                          <a:pos x="T56" y="T57"/>
                        </a:cxn>
                        <a:cxn ang="T103">
                          <a:pos x="T58" y="T59"/>
                        </a:cxn>
                        <a:cxn ang="T104">
                          <a:pos x="T60" y="T61"/>
                        </a:cxn>
                        <a:cxn ang="T105">
                          <a:pos x="T62" y="T63"/>
                        </a:cxn>
                        <a:cxn ang="T106">
                          <a:pos x="T64" y="T65"/>
                        </a:cxn>
                        <a:cxn ang="T107">
                          <a:pos x="T66" y="T67"/>
                        </a:cxn>
                        <a:cxn ang="T108">
                          <a:pos x="T68" y="T69"/>
                        </a:cxn>
                        <a:cxn ang="T109">
                          <a:pos x="T70" y="T71"/>
                        </a:cxn>
                        <a:cxn ang="T110">
                          <a:pos x="T72" y="T73"/>
                        </a:cxn>
                      </a:cxnLst>
                      <a:rect l="T111" t="T112" r="T113" b="T114"/>
                      <a:pathLst>
                        <a:path w="329" h="102">
                          <a:moveTo>
                            <a:pt x="32" y="10"/>
                          </a:moveTo>
                          <a:lnTo>
                            <a:pt x="1" y="26"/>
                          </a:lnTo>
                          <a:lnTo>
                            <a:pt x="0" y="43"/>
                          </a:lnTo>
                          <a:lnTo>
                            <a:pt x="3" y="60"/>
                          </a:lnTo>
                          <a:lnTo>
                            <a:pt x="14" y="71"/>
                          </a:lnTo>
                          <a:lnTo>
                            <a:pt x="27" y="81"/>
                          </a:lnTo>
                          <a:lnTo>
                            <a:pt x="46" y="90"/>
                          </a:lnTo>
                          <a:lnTo>
                            <a:pt x="67" y="95"/>
                          </a:lnTo>
                          <a:lnTo>
                            <a:pt x="91" y="100"/>
                          </a:lnTo>
                          <a:lnTo>
                            <a:pt x="117" y="102"/>
                          </a:lnTo>
                          <a:lnTo>
                            <a:pt x="144" y="102"/>
                          </a:lnTo>
                          <a:lnTo>
                            <a:pt x="171" y="102"/>
                          </a:lnTo>
                          <a:lnTo>
                            <a:pt x="199" y="100"/>
                          </a:lnTo>
                          <a:lnTo>
                            <a:pt x="225" y="98"/>
                          </a:lnTo>
                          <a:lnTo>
                            <a:pt x="251" y="94"/>
                          </a:lnTo>
                          <a:lnTo>
                            <a:pt x="273" y="90"/>
                          </a:lnTo>
                          <a:lnTo>
                            <a:pt x="292" y="85"/>
                          </a:lnTo>
                          <a:lnTo>
                            <a:pt x="308" y="79"/>
                          </a:lnTo>
                          <a:lnTo>
                            <a:pt x="319" y="71"/>
                          </a:lnTo>
                          <a:lnTo>
                            <a:pt x="326" y="61"/>
                          </a:lnTo>
                          <a:lnTo>
                            <a:pt x="329" y="50"/>
                          </a:lnTo>
                          <a:lnTo>
                            <a:pt x="329" y="39"/>
                          </a:lnTo>
                          <a:lnTo>
                            <a:pt x="325" y="28"/>
                          </a:lnTo>
                          <a:lnTo>
                            <a:pt x="316" y="18"/>
                          </a:lnTo>
                          <a:lnTo>
                            <a:pt x="303" y="8"/>
                          </a:lnTo>
                          <a:lnTo>
                            <a:pt x="285" y="0"/>
                          </a:lnTo>
                          <a:lnTo>
                            <a:pt x="269" y="18"/>
                          </a:lnTo>
                          <a:lnTo>
                            <a:pt x="252" y="31"/>
                          </a:lnTo>
                          <a:lnTo>
                            <a:pt x="234" y="39"/>
                          </a:lnTo>
                          <a:lnTo>
                            <a:pt x="215" y="43"/>
                          </a:lnTo>
                          <a:lnTo>
                            <a:pt x="194" y="45"/>
                          </a:lnTo>
                          <a:lnTo>
                            <a:pt x="173" y="43"/>
                          </a:lnTo>
                          <a:lnTo>
                            <a:pt x="148" y="41"/>
                          </a:lnTo>
                          <a:lnTo>
                            <a:pt x="122" y="40"/>
                          </a:lnTo>
                          <a:lnTo>
                            <a:pt x="67" y="30"/>
                          </a:lnTo>
                          <a:lnTo>
                            <a:pt x="49" y="3"/>
                          </a:lnTo>
                          <a:lnTo>
                            <a:pt x="32" y="10"/>
                          </a:lnTo>
                          <a:close/>
                        </a:path>
                      </a:pathLst>
                    </a:custGeom>
                    <a:solidFill>
                      <a:srgbClr val="E6E6E6">
                        <a:alpha val="56078"/>
                      </a:srgbClr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pPr fontAlgn="auto">
                        <a:spcBef>
                          <a:spcPts val="0"/>
                        </a:spcBef>
                        <a:spcAft>
                          <a:spcPts val="0"/>
                        </a:spcAft>
                        <a:defRPr/>
                      </a:pPr>
                      <a:endParaRPr lang="da-DK" kern="0">
                        <a:solidFill>
                          <a:sysClr val="windowText" lastClr="000000"/>
                        </a:solidFill>
                        <a:latin typeface="+mn-lt"/>
                        <a:cs typeface="+mn-cs"/>
                      </a:endParaRPr>
                    </a:p>
                  </p:txBody>
                </p:sp>
                <p:sp>
                  <p:nvSpPr>
                    <p:cNvPr id="297" name="Freeform 133"/>
                    <p:cNvSpPr>
                      <a:spLocks/>
                    </p:cNvSpPr>
                    <p:nvPr/>
                  </p:nvSpPr>
                  <p:spPr bwMode="auto">
                    <a:xfrm>
                      <a:off x="302864" y="4166446"/>
                      <a:ext cx="416417" cy="70646"/>
                    </a:xfrm>
                    <a:custGeom>
                      <a:avLst/>
                      <a:gdLst>
                        <a:gd name="T0" fmla="*/ 12 w 204"/>
                        <a:gd name="T1" fmla="*/ 0 h 37"/>
                        <a:gd name="T2" fmla="*/ 24 w 204"/>
                        <a:gd name="T3" fmla="*/ 6 h 37"/>
                        <a:gd name="T4" fmla="*/ 35 w 204"/>
                        <a:gd name="T5" fmla="*/ 12 h 37"/>
                        <a:gd name="T6" fmla="*/ 47 w 204"/>
                        <a:gd name="T7" fmla="*/ 15 h 37"/>
                        <a:gd name="T8" fmla="*/ 58 w 204"/>
                        <a:gd name="T9" fmla="*/ 17 h 37"/>
                        <a:gd name="T10" fmla="*/ 70 w 204"/>
                        <a:gd name="T11" fmla="*/ 20 h 37"/>
                        <a:gd name="T12" fmla="*/ 82 w 204"/>
                        <a:gd name="T13" fmla="*/ 21 h 37"/>
                        <a:gd name="T14" fmla="*/ 94 w 204"/>
                        <a:gd name="T15" fmla="*/ 22 h 37"/>
                        <a:gd name="T16" fmla="*/ 106 w 204"/>
                        <a:gd name="T17" fmla="*/ 21 h 37"/>
                        <a:gd name="T18" fmla="*/ 119 w 204"/>
                        <a:gd name="T19" fmla="*/ 20 h 37"/>
                        <a:gd name="T20" fmla="*/ 131 w 204"/>
                        <a:gd name="T21" fmla="*/ 19 h 37"/>
                        <a:gd name="T22" fmla="*/ 143 w 204"/>
                        <a:gd name="T23" fmla="*/ 16 h 37"/>
                        <a:gd name="T24" fmla="*/ 156 w 204"/>
                        <a:gd name="T25" fmla="*/ 14 h 37"/>
                        <a:gd name="T26" fmla="*/ 167 w 204"/>
                        <a:gd name="T27" fmla="*/ 12 h 37"/>
                        <a:gd name="T28" fmla="*/ 180 w 204"/>
                        <a:gd name="T29" fmla="*/ 8 h 37"/>
                        <a:gd name="T30" fmla="*/ 192 w 204"/>
                        <a:gd name="T31" fmla="*/ 6 h 37"/>
                        <a:gd name="T32" fmla="*/ 204 w 204"/>
                        <a:gd name="T33" fmla="*/ 2 h 37"/>
                        <a:gd name="T34" fmla="*/ 204 w 204"/>
                        <a:gd name="T35" fmla="*/ 14 h 37"/>
                        <a:gd name="T36" fmla="*/ 196 w 204"/>
                        <a:gd name="T37" fmla="*/ 17 h 37"/>
                        <a:gd name="T38" fmla="*/ 188 w 204"/>
                        <a:gd name="T39" fmla="*/ 21 h 37"/>
                        <a:gd name="T40" fmla="*/ 178 w 204"/>
                        <a:gd name="T41" fmla="*/ 24 h 37"/>
                        <a:gd name="T42" fmla="*/ 167 w 204"/>
                        <a:gd name="T43" fmla="*/ 27 h 37"/>
                        <a:gd name="T44" fmla="*/ 155 w 204"/>
                        <a:gd name="T45" fmla="*/ 30 h 37"/>
                        <a:gd name="T46" fmla="*/ 143 w 204"/>
                        <a:gd name="T47" fmla="*/ 32 h 37"/>
                        <a:gd name="T48" fmla="*/ 129 w 204"/>
                        <a:gd name="T49" fmla="*/ 35 h 37"/>
                        <a:gd name="T50" fmla="*/ 117 w 204"/>
                        <a:gd name="T51" fmla="*/ 37 h 37"/>
                        <a:gd name="T52" fmla="*/ 102 w 204"/>
                        <a:gd name="T53" fmla="*/ 37 h 37"/>
                        <a:gd name="T54" fmla="*/ 88 w 204"/>
                        <a:gd name="T55" fmla="*/ 37 h 37"/>
                        <a:gd name="T56" fmla="*/ 73 w 204"/>
                        <a:gd name="T57" fmla="*/ 36 h 37"/>
                        <a:gd name="T58" fmla="*/ 58 w 204"/>
                        <a:gd name="T59" fmla="*/ 34 h 37"/>
                        <a:gd name="T60" fmla="*/ 44 w 204"/>
                        <a:gd name="T61" fmla="*/ 29 h 37"/>
                        <a:gd name="T62" fmla="*/ 29 w 204"/>
                        <a:gd name="T63" fmla="*/ 24 h 37"/>
                        <a:gd name="T64" fmla="*/ 14 w 204"/>
                        <a:gd name="T65" fmla="*/ 17 h 37"/>
                        <a:gd name="T66" fmla="*/ 0 w 204"/>
                        <a:gd name="T67" fmla="*/ 8 h 37"/>
                        <a:gd name="T68" fmla="*/ 12 w 204"/>
                        <a:gd name="T69" fmla="*/ 0 h 37"/>
                        <a:gd name="T70" fmla="*/ 0 60000 65536"/>
                        <a:gd name="T71" fmla="*/ 0 60000 65536"/>
                        <a:gd name="T72" fmla="*/ 0 60000 65536"/>
                        <a:gd name="T73" fmla="*/ 0 60000 65536"/>
                        <a:gd name="T74" fmla="*/ 0 60000 65536"/>
                        <a:gd name="T75" fmla="*/ 0 60000 65536"/>
                        <a:gd name="T76" fmla="*/ 0 60000 65536"/>
                        <a:gd name="T77" fmla="*/ 0 60000 65536"/>
                        <a:gd name="T78" fmla="*/ 0 60000 65536"/>
                        <a:gd name="T79" fmla="*/ 0 60000 65536"/>
                        <a:gd name="T80" fmla="*/ 0 60000 65536"/>
                        <a:gd name="T81" fmla="*/ 0 60000 65536"/>
                        <a:gd name="T82" fmla="*/ 0 60000 65536"/>
                        <a:gd name="T83" fmla="*/ 0 60000 65536"/>
                        <a:gd name="T84" fmla="*/ 0 60000 65536"/>
                        <a:gd name="T85" fmla="*/ 0 60000 65536"/>
                        <a:gd name="T86" fmla="*/ 0 60000 65536"/>
                        <a:gd name="T87" fmla="*/ 0 60000 65536"/>
                        <a:gd name="T88" fmla="*/ 0 60000 65536"/>
                        <a:gd name="T89" fmla="*/ 0 60000 65536"/>
                        <a:gd name="T90" fmla="*/ 0 60000 65536"/>
                        <a:gd name="T91" fmla="*/ 0 60000 65536"/>
                        <a:gd name="T92" fmla="*/ 0 60000 65536"/>
                        <a:gd name="T93" fmla="*/ 0 60000 65536"/>
                        <a:gd name="T94" fmla="*/ 0 60000 65536"/>
                        <a:gd name="T95" fmla="*/ 0 60000 65536"/>
                        <a:gd name="T96" fmla="*/ 0 60000 65536"/>
                        <a:gd name="T97" fmla="*/ 0 60000 65536"/>
                        <a:gd name="T98" fmla="*/ 0 60000 65536"/>
                        <a:gd name="T99" fmla="*/ 0 60000 65536"/>
                        <a:gd name="T100" fmla="*/ 0 60000 65536"/>
                        <a:gd name="T101" fmla="*/ 0 60000 65536"/>
                        <a:gd name="T102" fmla="*/ 0 60000 65536"/>
                        <a:gd name="T103" fmla="*/ 0 60000 65536"/>
                        <a:gd name="T104" fmla="*/ 0 60000 65536"/>
                        <a:gd name="T105" fmla="*/ 0 w 204"/>
                        <a:gd name="T106" fmla="*/ 0 h 37"/>
                        <a:gd name="T107" fmla="*/ 204 w 204"/>
                        <a:gd name="T108" fmla="*/ 37 h 37"/>
                      </a:gdLst>
                      <a:ahLst/>
                      <a:cxnLst>
                        <a:cxn ang="T70">
                          <a:pos x="T0" y="T1"/>
                        </a:cxn>
                        <a:cxn ang="T71">
                          <a:pos x="T2" y="T3"/>
                        </a:cxn>
                        <a:cxn ang="T72">
                          <a:pos x="T4" y="T5"/>
                        </a:cxn>
                        <a:cxn ang="T73">
                          <a:pos x="T6" y="T7"/>
                        </a:cxn>
                        <a:cxn ang="T74">
                          <a:pos x="T8" y="T9"/>
                        </a:cxn>
                        <a:cxn ang="T75">
                          <a:pos x="T10" y="T11"/>
                        </a:cxn>
                        <a:cxn ang="T76">
                          <a:pos x="T12" y="T13"/>
                        </a:cxn>
                        <a:cxn ang="T77">
                          <a:pos x="T14" y="T15"/>
                        </a:cxn>
                        <a:cxn ang="T78">
                          <a:pos x="T16" y="T17"/>
                        </a:cxn>
                        <a:cxn ang="T79">
                          <a:pos x="T18" y="T19"/>
                        </a:cxn>
                        <a:cxn ang="T80">
                          <a:pos x="T20" y="T21"/>
                        </a:cxn>
                        <a:cxn ang="T81">
                          <a:pos x="T22" y="T23"/>
                        </a:cxn>
                        <a:cxn ang="T82">
                          <a:pos x="T24" y="T25"/>
                        </a:cxn>
                        <a:cxn ang="T83">
                          <a:pos x="T26" y="T27"/>
                        </a:cxn>
                        <a:cxn ang="T84">
                          <a:pos x="T28" y="T29"/>
                        </a:cxn>
                        <a:cxn ang="T85">
                          <a:pos x="T30" y="T31"/>
                        </a:cxn>
                        <a:cxn ang="T86">
                          <a:pos x="T32" y="T33"/>
                        </a:cxn>
                        <a:cxn ang="T87">
                          <a:pos x="T34" y="T35"/>
                        </a:cxn>
                        <a:cxn ang="T88">
                          <a:pos x="T36" y="T37"/>
                        </a:cxn>
                        <a:cxn ang="T89">
                          <a:pos x="T38" y="T39"/>
                        </a:cxn>
                        <a:cxn ang="T90">
                          <a:pos x="T40" y="T41"/>
                        </a:cxn>
                        <a:cxn ang="T91">
                          <a:pos x="T42" y="T43"/>
                        </a:cxn>
                        <a:cxn ang="T92">
                          <a:pos x="T44" y="T45"/>
                        </a:cxn>
                        <a:cxn ang="T93">
                          <a:pos x="T46" y="T47"/>
                        </a:cxn>
                        <a:cxn ang="T94">
                          <a:pos x="T48" y="T49"/>
                        </a:cxn>
                        <a:cxn ang="T95">
                          <a:pos x="T50" y="T51"/>
                        </a:cxn>
                        <a:cxn ang="T96">
                          <a:pos x="T52" y="T53"/>
                        </a:cxn>
                        <a:cxn ang="T97">
                          <a:pos x="T54" y="T55"/>
                        </a:cxn>
                        <a:cxn ang="T98">
                          <a:pos x="T56" y="T57"/>
                        </a:cxn>
                        <a:cxn ang="T99">
                          <a:pos x="T58" y="T59"/>
                        </a:cxn>
                        <a:cxn ang="T100">
                          <a:pos x="T60" y="T61"/>
                        </a:cxn>
                        <a:cxn ang="T101">
                          <a:pos x="T62" y="T63"/>
                        </a:cxn>
                        <a:cxn ang="T102">
                          <a:pos x="T64" y="T65"/>
                        </a:cxn>
                        <a:cxn ang="T103">
                          <a:pos x="T66" y="T67"/>
                        </a:cxn>
                        <a:cxn ang="T104">
                          <a:pos x="T68" y="T69"/>
                        </a:cxn>
                      </a:cxnLst>
                      <a:rect l="T105" t="T106" r="T107" b="T108"/>
                      <a:pathLst>
                        <a:path w="204" h="37">
                          <a:moveTo>
                            <a:pt x="12" y="0"/>
                          </a:moveTo>
                          <a:lnTo>
                            <a:pt x="24" y="6"/>
                          </a:lnTo>
                          <a:lnTo>
                            <a:pt x="35" y="12"/>
                          </a:lnTo>
                          <a:lnTo>
                            <a:pt x="47" y="15"/>
                          </a:lnTo>
                          <a:lnTo>
                            <a:pt x="58" y="17"/>
                          </a:lnTo>
                          <a:lnTo>
                            <a:pt x="70" y="20"/>
                          </a:lnTo>
                          <a:lnTo>
                            <a:pt x="82" y="21"/>
                          </a:lnTo>
                          <a:lnTo>
                            <a:pt x="94" y="22"/>
                          </a:lnTo>
                          <a:lnTo>
                            <a:pt x="106" y="21"/>
                          </a:lnTo>
                          <a:lnTo>
                            <a:pt x="119" y="20"/>
                          </a:lnTo>
                          <a:lnTo>
                            <a:pt x="131" y="19"/>
                          </a:lnTo>
                          <a:lnTo>
                            <a:pt x="143" y="16"/>
                          </a:lnTo>
                          <a:lnTo>
                            <a:pt x="156" y="14"/>
                          </a:lnTo>
                          <a:lnTo>
                            <a:pt x="167" y="12"/>
                          </a:lnTo>
                          <a:lnTo>
                            <a:pt x="180" y="8"/>
                          </a:lnTo>
                          <a:lnTo>
                            <a:pt x="192" y="6"/>
                          </a:lnTo>
                          <a:lnTo>
                            <a:pt x="204" y="2"/>
                          </a:lnTo>
                          <a:lnTo>
                            <a:pt x="204" y="14"/>
                          </a:lnTo>
                          <a:lnTo>
                            <a:pt x="196" y="17"/>
                          </a:lnTo>
                          <a:lnTo>
                            <a:pt x="188" y="21"/>
                          </a:lnTo>
                          <a:lnTo>
                            <a:pt x="178" y="24"/>
                          </a:lnTo>
                          <a:lnTo>
                            <a:pt x="167" y="27"/>
                          </a:lnTo>
                          <a:lnTo>
                            <a:pt x="155" y="30"/>
                          </a:lnTo>
                          <a:lnTo>
                            <a:pt x="143" y="32"/>
                          </a:lnTo>
                          <a:lnTo>
                            <a:pt x="129" y="35"/>
                          </a:lnTo>
                          <a:lnTo>
                            <a:pt x="117" y="37"/>
                          </a:lnTo>
                          <a:lnTo>
                            <a:pt x="102" y="37"/>
                          </a:lnTo>
                          <a:lnTo>
                            <a:pt x="88" y="37"/>
                          </a:lnTo>
                          <a:lnTo>
                            <a:pt x="73" y="36"/>
                          </a:lnTo>
                          <a:lnTo>
                            <a:pt x="58" y="34"/>
                          </a:lnTo>
                          <a:lnTo>
                            <a:pt x="44" y="29"/>
                          </a:lnTo>
                          <a:lnTo>
                            <a:pt x="29" y="24"/>
                          </a:lnTo>
                          <a:lnTo>
                            <a:pt x="14" y="17"/>
                          </a:lnTo>
                          <a:lnTo>
                            <a:pt x="0" y="8"/>
                          </a:lnTo>
                          <a:lnTo>
                            <a:pt x="12" y="0"/>
                          </a:lnTo>
                          <a:close/>
                        </a:path>
                      </a:pathLst>
                    </a:custGeom>
                    <a:solidFill>
                      <a:srgbClr val="E6E6E6">
                        <a:alpha val="56078"/>
                      </a:srgbClr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pPr fontAlgn="auto">
                        <a:spcBef>
                          <a:spcPts val="0"/>
                        </a:spcBef>
                        <a:spcAft>
                          <a:spcPts val="0"/>
                        </a:spcAft>
                        <a:defRPr/>
                      </a:pPr>
                      <a:endParaRPr lang="da-DK" kern="0">
                        <a:solidFill>
                          <a:sysClr val="windowText" lastClr="000000"/>
                        </a:solidFill>
                        <a:latin typeface="+mn-lt"/>
                        <a:cs typeface="+mn-cs"/>
                      </a:endParaRPr>
                    </a:p>
                  </p:txBody>
                </p:sp>
                <p:sp>
                  <p:nvSpPr>
                    <p:cNvPr id="298" name="Freeform 135"/>
                    <p:cNvSpPr>
                      <a:spLocks/>
                    </p:cNvSpPr>
                    <p:nvPr/>
                  </p:nvSpPr>
                  <p:spPr bwMode="auto">
                    <a:xfrm>
                      <a:off x="139910" y="4254758"/>
                      <a:ext cx="706113" cy="176614"/>
                    </a:xfrm>
                    <a:custGeom>
                      <a:avLst/>
                      <a:gdLst>
                        <a:gd name="T0" fmla="*/ 40 w 351"/>
                        <a:gd name="T1" fmla="*/ 0 h 100"/>
                        <a:gd name="T2" fmla="*/ 19 w 351"/>
                        <a:gd name="T3" fmla="*/ 9 h 100"/>
                        <a:gd name="T4" fmla="*/ 6 w 351"/>
                        <a:gd name="T5" fmla="*/ 20 h 100"/>
                        <a:gd name="T6" fmla="*/ 0 w 351"/>
                        <a:gd name="T7" fmla="*/ 30 h 100"/>
                        <a:gd name="T8" fmla="*/ 0 w 351"/>
                        <a:gd name="T9" fmla="*/ 42 h 100"/>
                        <a:gd name="T10" fmla="*/ 7 w 351"/>
                        <a:gd name="T11" fmla="*/ 53 h 100"/>
                        <a:gd name="T12" fmla="*/ 17 w 351"/>
                        <a:gd name="T13" fmla="*/ 65 h 100"/>
                        <a:gd name="T14" fmla="*/ 32 w 351"/>
                        <a:gd name="T15" fmla="*/ 75 h 100"/>
                        <a:gd name="T16" fmla="*/ 50 w 351"/>
                        <a:gd name="T17" fmla="*/ 85 h 100"/>
                        <a:gd name="T18" fmla="*/ 66 w 351"/>
                        <a:gd name="T19" fmla="*/ 89 h 100"/>
                        <a:gd name="T20" fmla="*/ 82 w 351"/>
                        <a:gd name="T21" fmla="*/ 92 h 100"/>
                        <a:gd name="T22" fmla="*/ 97 w 351"/>
                        <a:gd name="T23" fmla="*/ 95 h 100"/>
                        <a:gd name="T24" fmla="*/ 113 w 351"/>
                        <a:gd name="T25" fmla="*/ 96 h 100"/>
                        <a:gd name="T26" fmla="*/ 128 w 351"/>
                        <a:gd name="T27" fmla="*/ 98 h 100"/>
                        <a:gd name="T28" fmla="*/ 144 w 351"/>
                        <a:gd name="T29" fmla="*/ 99 h 100"/>
                        <a:gd name="T30" fmla="*/ 159 w 351"/>
                        <a:gd name="T31" fmla="*/ 99 h 100"/>
                        <a:gd name="T32" fmla="*/ 174 w 351"/>
                        <a:gd name="T33" fmla="*/ 100 h 100"/>
                        <a:gd name="T34" fmla="*/ 189 w 351"/>
                        <a:gd name="T35" fmla="*/ 100 h 100"/>
                        <a:gd name="T36" fmla="*/ 205 w 351"/>
                        <a:gd name="T37" fmla="*/ 100 h 100"/>
                        <a:gd name="T38" fmla="*/ 220 w 351"/>
                        <a:gd name="T39" fmla="*/ 99 h 100"/>
                        <a:gd name="T40" fmla="*/ 236 w 351"/>
                        <a:gd name="T41" fmla="*/ 99 h 100"/>
                        <a:gd name="T42" fmla="*/ 251 w 351"/>
                        <a:gd name="T43" fmla="*/ 98 h 100"/>
                        <a:gd name="T44" fmla="*/ 267 w 351"/>
                        <a:gd name="T45" fmla="*/ 97 h 100"/>
                        <a:gd name="T46" fmla="*/ 284 w 351"/>
                        <a:gd name="T47" fmla="*/ 95 h 100"/>
                        <a:gd name="T48" fmla="*/ 300 w 351"/>
                        <a:gd name="T49" fmla="*/ 94 h 100"/>
                        <a:gd name="T50" fmla="*/ 323 w 351"/>
                        <a:gd name="T51" fmla="*/ 81 h 100"/>
                        <a:gd name="T52" fmla="*/ 339 w 351"/>
                        <a:gd name="T53" fmla="*/ 68 h 100"/>
                        <a:gd name="T54" fmla="*/ 349 w 351"/>
                        <a:gd name="T55" fmla="*/ 56 h 100"/>
                        <a:gd name="T56" fmla="*/ 351 w 351"/>
                        <a:gd name="T57" fmla="*/ 43 h 100"/>
                        <a:gd name="T58" fmla="*/ 348 w 351"/>
                        <a:gd name="T59" fmla="*/ 31 h 100"/>
                        <a:gd name="T60" fmla="*/ 338 w 351"/>
                        <a:gd name="T61" fmla="*/ 21 h 100"/>
                        <a:gd name="T62" fmla="*/ 320 w 351"/>
                        <a:gd name="T63" fmla="*/ 12 h 100"/>
                        <a:gd name="T64" fmla="*/ 296 w 351"/>
                        <a:gd name="T65" fmla="*/ 5 h 100"/>
                        <a:gd name="T66" fmla="*/ 298 w 351"/>
                        <a:gd name="T67" fmla="*/ 15 h 100"/>
                        <a:gd name="T68" fmla="*/ 294 w 351"/>
                        <a:gd name="T69" fmla="*/ 23 h 100"/>
                        <a:gd name="T70" fmla="*/ 284 w 351"/>
                        <a:gd name="T71" fmla="*/ 30 h 100"/>
                        <a:gd name="T72" fmla="*/ 272 w 351"/>
                        <a:gd name="T73" fmla="*/ 37 h 100"/>
                        <a:gd name="T74" fmla="*/ 258 w 351"/>
                        <a:gd name="T75" fmla="*/ 38 h 100"/>
                        <a:gd name="T76" fmla="*/ 245 w 351"/>
                        <a:gd name="T77" fmla="*/ 39 h 100"/>
                        <a:gd name="T78" fmla="*/ 234 w 351"/>
                        <a:gd name="T79" fmla="*/ 41 h 100"/>
                        <a:gd name="T80" fmla="*/ 222 w 351"/>
                        <a:gd name="T81" fmla="*/ 42 h 100"/>
                        <a:gd name="T82" fmla="*/ 211 w 351"/>
                        <a:gd name="T83" fmla="*/ 43 h 100"/>
                        <a:gd name="T84" fmla="*/ 199 w 351"/>
                        <a:gd name="T85" fmla="*/ 43 h 100"/>
                        <a:gd name="T86" fmla="*/ 188 w 351"/>
                        <a:gd name="T87" fmla="*/ 44 h 100"/>
                        <a:gd name="T88" fmla="*/ 178 w 351"/>
                        <a:gd name="T89" fmla="*/ 44 h 100"/>
                        <a:gd name="T90" fmla="*/ 166 w 351"/>
                        <a:gd name="T91" fmla="*/ 44 h 100"/>
                        <a:gd name="T92" fmla="*/ 155 w 351"/>
                        <a:gd name="T93" fmla="*/ 44 h 100"/>
                        <a:gd name="T94" fmla="*/ 143 w 351"/>
                        <a:gd name="T95" fmla="*/ 44 h 100"/>
                        <a:gd name="T96" fmla="*/ 133 w 351"/>
                        <a:gd name="T97" fmla="*/ 43 h 100"/>
                        <a:gd name="T98" fmla="*/ 120 w 351"/>
                        <a:gd name="T99" fmla="*/ 42 h 100"/>
                        <a:gd name="T100" fmla="*/ 108 w 351"/>
                        <a:gd name="T101" fmla="*/ 41 h 100"/>
                        <a:gd name="T102" fmla="*/ 96 w 351"/>
                        <a:gd name="T103" fmla="*/ 39 h 100"/>
                        <a:gd name="T104" fmla="*/ 82 w 351"/>
                        <a:gd name="T105" fmla="*/ 37 h 100"/>
                        <a:gd name="T106" fmla="*/ 73 w 351"/>
                        <a:gd name="T107" fmla="*/ 32 h 100"/>
                        <a:gd name="T108" fmla="*/ 65 w 351"/>
                        <a:gd name="T109" fmla="*/ 28 h 100"/>
                        <a:gd name="T110" fmla="*/ 58 w 351"/>
                        <a:gd name="T111" fmla="*/ 23 h 100"/>
                        <a:gd name="T112" fmla="*/ 52 w 351"/>
                        <a:gd name="T113" fmla="*/ 19 h 100"/>
                        <a:gd name="T114" fmla="*/ 47 w 351"/>
                        <a:gd name="T115" fmla="*/ 14 h 100"/>
                        <a:gd name="T116" fmla="*/ 44 w 351"/>
                        <a:gd name="T117" fmla="*/ 11 h 100"/>
                        <a:gd name="T118" fmla="*/ 42 w 351"/>
                        <a:gd name="T119" fmla="*/ 5 h 100"/>
                        <a:gd name="T120" fmla="*/ 40 w 351"/>
                        <a:gd name="T121" fmla="*/ 0 h 100"/>
                        <a:gd name="T122" fmla="*/ 0 60000 65536"/>
                        <a:gd name="T123" fmla="*/ 0 60000 65536"/>
                        <a:gd name="T124" fmla="*/ 0 60000 65536"/>
                        <a:gd name="T125" fmla="*/ 0 60000 65536"/>
                        <a:gd name="T126" fmla="*/ 0 60000 65536"/>
                        <a:gd name="T127" fmla="*/ 0 60000 65536"/>
                        <a:gd name="T128" fmla="*/ 0 60000 65536"/>
                        <a:gd name="T129" fmla="*/ 0 60000 65536"/>
                        <a:gd name="T130" fmla="*/ 0 60000 65536"/>
                        <a:gd name="T131" fmla="*/ 0 60000 65536"/>
                        <a:gd name="T132" fmla="*/ 0 60000 65536"/>
                        <a:gd name="T133" fmla="*/ 0 60000 65536"/>
                        <a:gd name="T134" fmla="*/ 0 60000 65536"/>
                        <a:gd name="T135" fmla="*/ 0 60000 65536"/>
                        <a:gd name="T136" fmla="*/ 0 60000 65536"/>
                        <a:gd name="T137" fmla="*/ 0 60000 65536"/>
                        <a:gd name="T138" fmla="*/ 0 60000 65536"/>
                        <a:gd name="T139" fmla="*/ 0 60000 65536"/>
                        <a:gd name="T140" fmla="*/ 0 60000 65536"/>
                        <a:gd name="T141" fmla="*/ 0 60000 65536"/>
                        <a:gd name="T142" fmla="*/ 0 60000 65536"/>
                        <a:gd name="T143" fmla="*/ 0 60000 65536"/>
                        <a:gd name="T144" fmla="*/ 0 60000 65536"/>
                        <a:gd name="T145" fmla="*/ 0 60000 65536"/>
                        <a:gd name="T146" fmla="*/ 0 60000 65536"/>
                        <a:gd name="T147" fmla="*/ 0 60000 65536"/>
                        <a:gd name="T148" fmla="*/ 0 60000 65536"/>
                        <a:gd name="T149" fmla="*/ 0 60000 65536"/>
                        <a:gd name="T150" fmla="*/ 0 60000 65536"/>
                        <a:gd name="T151" fmla="*/ 0 60000 65536"/>
                        <a:gd name="T152" fmla="*/ 0 60000 65536"/>
                        <a:gd name="T153" fmla="*/ 0 60000 65536"/>
                        <a:gd name="T154" fmla="*/ 0 60000 65536"/>
                        <a:gd name="T155" fmla="*/ 0 60000 65536"/>
                        <a:gd name="T156" fmla="*/ 0 60000 65536"/>
                        <a:gd name="T157" fmla="*/ 0 60000 65536"/>
                        <a:gd name="T158" fmla="*/ 0 60000 65536"/>
                        <a:gd name="T159" fmla="*/ 0 60000 65536"/>
                        <a:gd name="T160" fmla="*/ 0 60000 65536"/>
                        <a:gd name="T161" fmla="*/ 0 60000 65536"/>
                        <a:gd name="T162" fmla="*/ 0 60000 65536"/>
                        <a:gd name="T163" fmla="*/ 0 60000 65536"/>
                        <a:gd name="T164" fmla="*/ 0 60000 65536"/>
                        <a:gd name="T165" fmla="*/ 0 60000 65536"/>
                        <a:gd name="T166" fmla="*/ 0 60000 65536"/>
                        <a:gd name="T167" fmla="*/ 0 60000 65536"/>
                        <a:gd name="T168" fmla="*/ 0 60000 65536"/>
                        <a:gd name="T169" fmla="*/ 0 60000 65536"/>
                        <a:gd name="T170" fmla="*/ 0 60000 65536"/>
                        <a:gd name="T171" fmla="*/ 0 60000 65536"/>
                        <a:gd name="T172" fmla="*/ 0 60000 65536"/>
                        <a:gd name="T173" fmla="*/ 0 60000 65536"/>
                        <a:gd name="T174" fmla="*/ 0 60000 65536"/>
                        <a:gd name="T175" fmla="*/ 0 60000 65536"/>
                        <a:gd name="T176" fmla="*/ 0 60000 65536"/>
                        <a:gd name="T177" fmla="*/ 0 60000 65536"/>
                        <a:gd name="T178" fmla="*/ 0 60000 65536"/>
                        <a:gd name="T179" fmla="*/ 0 60000 65536"/>
                        <a:gd name="T180" fmla="*/ 0 60000 65536"/>
                        <a:gd name="T181" fmla="*/ 0 60000 65536"/>
                        <a:gd name="T182" fmla="*/ 0 60000 65536"/>
                        <a:gd name="T183" fmla="*/ 0 w 351"/>
                        <a:gd name="T184" fmla="*/ 0 h 100"/>
                        <a:gd name="T185" fmla="*/ 351 w 351"/>
                        <a:gd name="T186" fmla="*/ 100 h 100"/>
                      </a:gdLst>
                      <a:ahLst/>
                      <a:cxnLst>
                        <a:cxn ang="T122">
                          <a:pos x="T0" y="T1"/>
                        </a:cxn>
                        <a:cxn ang="T123">
                          <a:pos x="T2" y="T3"/>
                        </a:cxn>
                        <a:cxn ang="T124">
                          <a:pos x="T4" y="T5"/>
                        </a:cxn>
                        <a:cxn ang="T125">
                          <a:pos x="T6" y="T7"/>
                        </a:cxn>
                        <a:cxn ang="T126">
                          <a:pos x="T8" y="T9"/>
                        </a:cxn>
                        <a:cxn ang="T127">
                          <a:pos x="T10" y="T11"/>
                        </a:cxn>
                        <a:cxn ang="T128">
                          <a:pos x="T12" y="T13"/>
                        </a:cxn>
                        <a:cxn ang="T129">
                          <a:pos x="T14" y="T15"/>
                        </a:cxn>
                        <a:cxn ang="T130">
                          <a:pos x="T16" y="T17"/>
                        </a:cxn>
                        <a:cxn ang="T131">
                          <a:pos x="T18" y="T19"/>
                        </a:cxn>
                        <a:cxn ang="T132">
                          <a:pos x="T20" y="T21"/>
                        </a:cxn>
                        <a:cxn ang="T133">
                          <a:pos x="T22" y="T23"/>
                        </a:cxn>
                        <a:cxn ang="T134">
                          <a:pos x="T24" y="T25"/>
                        </a:cxn>
                        <a:cxn ang="T135">
                          <a:pos x="T26" y="T27"/>
                        </a:cxn>
                        <a:cxn ang="T136">
                          <a:pos x="T28" y="T29"/>
                        </a:cxn>
                        <a:cxn ang="T137">
                          <a:pos x="T30" y="T31"/>
                        </a:cxn>
                        <a:cxn ang="T138">
                          <a:pos x="T32" y="T33"/>
                        </a:cxn>
                        <a:cxn ang="T139">
                          <a:pos x="T34" y="T35"/>
                        </a:cxn>
                        <a:cxn ang="T140">
                          <a:pos x="T36" y="T37"/>
                        </a:cxn>
                        <a:cxn ang="T141">
                          <a:pos x="T38" y="T39"/>
                        </a:cxn>
                        <a:cxn ang="T142">
                          <a:pos x="T40" y="T41"/>
                        </a:cxn>
                        <a:cxn ang="T143">
                          <a:pos x="T42" y="T43"/>
                        </a:cxn>
                        <a:cxn ang="T144">
                          <a:pos x="T44" y="T45"/>
                        </a:cxn>
                        <a:cxn ang="T145">
                          <a:pos x="T46" y="T47"/>
                        </a:cxn>
                        <a:cxn ang="T146">
                          <a:pos x="T48" y="T49"/>
                        </a:cxn>
                        <a:cxn ang="T147">
                          <a:pos x="T50" y="T51"/>
                        </a:cxn>
                        <a:cxn ang="T148">
                          <a:pos x="T52" y="T53"/>
                        </a:cxn>
                        <a:cxn ang="T149">
                          <a:pos x="T54" y="T55"/>
                        </a:cxn>
                        <a:cxn ang="T150">
                          <a:pos x="T56" y="T57"/>
                        </a:cxn>
                        <a:cxn ang="T151">
                          <a:pos x="T58" y="T59"/>
                        </a:cxn>
                        <a:cxn ang="T152">
                          <a:pos x="T60" y="T61"/>
                        </a:cxn>
                        <a:cxn ang="T153">
                          <a:pos x="T62" y="T63"/>
                        </a:cxn>
                        <a:cxn ang="T154">
                          <a:pos x="T64" y="T65"/>
                        </a:cxn>
                        <a:cxn ang="T155">
                          <a:pos x="T66" y="T67"/>
                        </a:cxn>
                        <a:cxn ang="T156">
                          <a:pos x="T68" y="T69"/>
                        </a:cxn>
                        <a:cxn ang="T157">
                          <a:pos x="T70" y="T71"/>
                        </a:cxn>
                        <a:cxn ang="T158">
                          <a:pos x="T72" y="T73"/>
                        </a:cxn>
                        <a:cxn ang="T159">
                          <a:pos x="T74" y="T75"/>
                        </a:cxn>
                        <a:cxn ang="T160">
                          <a:pos x="T76" y="T77"/>
                        </a:cxn>
                        <a:cxn ang="T161">
                          <a:pos x="T78" y="T79"/>
                        </a:cxn>
                        <a:cxn ang="T162">
                          <a:pos x="T80" y="T81"/>
                        </a:cxn>
                        <a:cxn ang="T163">
                          <a:pos x="T82" y="T83"/>
                        </a:cxn>
                        <a:cxn ang="T164">
                          <a:pos x="T84" y="T85"/>
                        </a:cxn>
                        <a:cxn ang="T165">
                          <a:pos x="T86" y="T87"/>
                        </a:cxn>
                        <a:cxn ang="T166">
                          <a:pos x="T88" y="T89"/>
                        </a:cxn>
                        <a:cxn ang="T167">
                          <a:pos x="T90" y="T91"/>
                        </a:cxn>
                        <a:cxn ang="T168">
                          <a:pos x="T92" y="T93"/>
                        </a:cxn>
                        <a:cxn ang="T169">
                          <a:pos x="T94" y="T95"/>
                        </a:cxn>
                        <a:cxn ang="T170">
                          <a:pos x="T96" y="T97"/>
                        </a:cxn>
                        <a:cxn ang="T171">
                          <a:pos x="T98" y="T99"/>
                        </a:cxn>
                        <a:cxn ang="T172">
                          <a:pos x="T100" y="T101"/>
                        </a:cxn>
                        <a:cxn ang="T173">
                          <a:pos x="T102" y="T103"/>
                        </a:cxn>
                        <a:cxn ang="T174">
                          <a:pos x="T104" y="T105"/>
                        </a:cxn>
                        <a:cxn ang="T175">
                          <a:pos x="T106" y="T107"/>
                        </a:cxn>
                        <a:cxn ang="T176">
                          <a:pos x="T108" y="T109"/>
                        </a:cxn>
                        <a:cxn ang="T177">
                          <a:pos x="T110" y="T111"/>
                        </a:cxn>
                        <a:cxn ang="T178">
                          <a:pos x="T112" y="T113"/>
                        </a:cxn>
                        <a:cxn ang="T179">
                          <a:pos x="T114" y="T115"/>
                        </a:cxn>
                        <a:cxn ang="T180">
                          <a:pos x="T116" y="T117"/>
                        </a:cxn>
                        <a:cxn ang="T181">
                          <a:pos x="T118" y="T119"/>
                        </a:cxn>
                        <a:cxn ang="T182">
                          <a:pos x="T120" y="T121"/>
                        </a:cxn>
                      </a:cxnLst>
                      <a:rect l="T183" t="T184" r="T185" b="T186"/>
                      <a:pathLst>
                        <a:path w="351" h="100">
                          <a:moveTo>
                            <a:pt x="40" y="0"/>
                          </a:moveTo>
                          <a:lnTo>
                            <a:pt x="19" y="9"/>
                          </a:lnTo>
                          <a:lnTo>
                            <a:pt x="6" y="20"/>
                          </a:lnTo>
                          <a:lnTo>
                            <a:pt x="0" y="30"/>
                          </a:lnTo>
                          <a:lnTo>
                            <a:pt x="0" y="42"/>
                          </a:lnTo>
                          <a:lnTo>
                            <a:pt x="7" y="53"/>
                          </a:lnTo>
                          <a:lnTo>
                            <a:pt x="17" y="65"/>
                          </a:lnTo>
                          <a:lnTo>
                            <a:pt x="32" y="75"/>
                          </a:lnTo>
                          <a:lnTo>
                            <a:pt x="50" y="85"/>
                          </a:lnTo>
                          <a:lnTo>
                            <a:pt x="66" y="89"/>
                          </a:lnTo>
                          <a:lnTo>
                            <a:pt x="82" y="92"/>
                          </a:lnTo>
                          <a:lnTo>
                            <a:pt x="97" y="95"/>
                          </a:lnTo>
                          <a:lnTo>
                            <a:pt x="113" y="96"/>
                          </a:lnTo>
                          <a:lnTo>
                            <a:pt x="128" y="98"/>
                          </a:lnTo>
                          <a:lnTo>
                            <a:pt x="144" y="99"/>
                          </a:lnTo>
                          <a:lnTo>
                            <a:pt x="159" y="99"/>
                          </a:lnTo>
                          <a:lnTo>
                            <a:pt x="174" y="100"/>
                          </a:lnTo>
                          <a:lnTo>
                            <a:pt x="189" y="100"/>
                          </a:lnTo>
                          <a:lnTo>
                            <a:pt x="205" y="100"/>
                          </a:lnTo>
                          <a:lnTo>
                            <a:pt x="220" y="99"/>
                          </a:lnTo>
                          <a:lnTo>
                            <a:pt x="236" y="99"/>
                          </a:lnTo>
                          <a:lnTo>
                            <a:pt x="251" y="98"/>
                          </a:lnTo>
                          <a:lnTo>
                            <a:pt x="267" y="97"/>
                          </a:lnTo>
                          <a:lnTo>
                            <a:pt x="284" y="95"/>
                          </a:lnTo>
                          <a:lnTo>
                            <a:pt x="300" y="94"/>
                          </a:lnTo>
                          <a:lnTo>
                            <a:pt x="323" y="81"/>
                          </a:lnTo>
                          <a:lnTo>
                            <a:pt x="339" y="68"/>
                          </a:lnTo>
                          <a:lnTo>
                            <a:pt x="349" y="56"/>
                          </a:lnTo>
                          <a:lnTo>
                            <a:pt x="351" y="43"/>
                          </a:lnTo>
                          <a:lnTo>
                            <a:pt x="348" y="31"/>
                          </a:lnTo>
                          <a:lnTo>
                            <a:pt x="338" y="21"/>
                          </a:lnTo>
                          <a:lnTo>
                            <a:pt x="320" y="12"/>
                          </a:lnTo>
                          <a:lnTo>
                            <a:pt x="296" y="5"/>
                          </a:lnTo>
                          <a:lnTo>
                            <a:pt x="298" y="15"/>
                          </a:lnTo>
                          <a:lnTo>
                            <a:pt x="294" y="23"/>
                          </a:lnTo>
                          <a:lnTo>
                            <a:pt x="284" y="30"/>
                          </a:lnTo>
                          <a:lnTo>
                            <a:pt x="272" y="37"/>
                          </a:lnTo>
                          <a:lnTo>
                            <a:pt x="258" y="38"/>
                          </a:lnTo>
                          <a:lnTo>
                            <a:pt x="245" y="39"/>
                          </a:lnTo>
                          <a:lnTo>
                            <a:pt x="234" y="41"/>
                          </a:lnTo>
                          <a:lnTo>
                            <a:pt x="222" y="42"/>
                          </a:lnTo>
                          <a:lnTo>
                            <a:pt x="211" y="43"/>
                          </a:lnTo>
                          <a:lnTo>
                            <a:pt x="199" y="43"/>
                          </a:lnTo>
                          <a:lnTo>
                            <a:pt x="188" y="44"/>
                          </a:lnTo>
                          <a:lnTo>
                            <a:pt x="178" y="44"/>
                          </a:lnTo>
                          <a:lnTo>
                            <a:pt x="166" y="44"/>
                          </a:lnTo>
                          <a:lnTo>
                            <a:pt x="155" y="44"/>
                          </a:lnTo>
                          <a:lnTo>
                            <a:pt x="143" y="44"/>
                          </a:lnTo>
                          <a:lnTo>
                            <a:pt x="133" y="43"/>
                          </a:lnTo>
                          <a:lnTo>
                            <a:pt x="120" y="42"/>
                          </a:lnTo>
                          <a:lnTo>
                            <a:pt x="108" y="41"/>
                          </a:lnTo>
                          <a:lnTo>
                            <a:pt x="96" y="39"/>
                          </a:lnTo>
                          <a:lnTo>
                            <a:pt x="82" y="37"/>
                          </a:lnTo>
                          <a:lnTo>
                            <a:pt x="73" y="32"/>
                          </a:lnTo>
                          <a:lnTo>
                            <a:pt x="65" y="28"/>
                          </a:lnTo>
                          <a:lnTo>
                            <a:pt x="58" y="23"/>
                          </a:lnTo>
                          <a:lnTo>
                            <a:pt x="52" y="19"/>
                          </a:lnTo>
                          <a:lnTo>
                            <a:pt x="47" y="14"/>
                          </a:lnTo>
                          <a:lnTo>
                            <a:pt x="44" y="11"/>
                          </a:lnTo>
                          <a:lnTo>
                            <a:pt x="42" y="5"/>
                          </a:lnTo>
                          <a:lnTo>
                            <a:pt x="40" y="0"/>
                          </a:lnTo>
                          <a:close/>
                        </a:path>
                      </a:pathLst>
                    </a:custGeom>
                    <a:solidFill>
                      <a:srgbClr val="E6E6E6">
                        <a:alpha val="56078"/>
                      </a:srgbClr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pPr fontAlgn="auto">
                        <a:spcBef>
                          <a:spcPts val="0"/>
                        </a:spcBef>
                        <a:spcAft>
                          <a:spcPts val="0"/>
                        </a:spcAft>
                        <a:defRPr/>
                      </a:pPr>
                      <a:endParaRPr lang="da-DK" kern="0">
                        <a:solidFill>
                          <a:sysClr val="windowText" lastClr="000000"/>
                        </a:solidFill>
                        <a:latin typeface="+mn-lt"/>
                        <a:cs typeface="+mn-cs"/>
                      </a:endParaRPr>
                    </a:p>
                  </p:txBody>
                </p:sp>
                <p:sp>
                  <p:nvSpPr>
                    <p:cNvPr id="299" name="Freeform 147"/>
                    <p:cNvSpPr>
                      <a:spLocks/>
                    </p:cNvSpPr>
                    <p:nvPr/>
                  </p:nvSpPr>
                  <p:spPr bwMode="auto">
                    <a:xfrm>
                      <a:off x="103700" y="5067182"/>
                      <a:ext cx="778534" cy="194270"/>
                    </a:xfrm>
                    <a:custGeom>
                      <a:avLst/>
                      <a:gdLst>
                        <a:gd name="T0" fmla="*/ 24 w 382"/>
                        <a:gd name="T1" fmla="*/ 4 h 96"/>
                        <a:gd name="T2" fmla="*/ 68 w 382"/>
                        <a:gd name="T3" fmla="*/ 40 h 96"/>
                        <a:gd name="T4" fmla="*/ 89 w 382"/>
                        <a:gd name="T5" fmla="*/ 44 h 96"/>
                        <a:gd name="T6" fmla="*/ 108 w 382"/>
                        <a:gd name="T7" fmla="*/ 48 h 96"/>
                        <a:gd name="T8" fmla="*/ 127 w 382"/>
                        <a:gd name="T9" fmla="*/ 53 h 96"/>
                        <a:gd name="T10" fmla="*/ 144 w 382"/>
                        <a:gd name="T11" fmla="*/ 55 h 96"/>
                        <a:gd name="T12" fmla="*/ 160 w 382"/>
                        <a:gd name="T13" fmla="*/ 57 h 96"/>
                        <a:gd name="T14" fmla="*/ 176 w 382"/>
                        <a:gd name="T15" fmla="*/ 59 h 96"/>
                        <a:gd name="T16" fmla="*/ 192 w 382"/>
                        <a:gd name="T17" fmla="*/ 59 h 96"/>
                        <a:gd name="T18" fmla="*/ 207 w 382"/>
                        <a:gd name="T19" fmla="*/ 59 h 96"/>
                        <a:gd name="T20" fmla="*/ 222 w 382"/>
                        <a:gd name="T21" fmla="*/ 58 h 96"/>
                        <a:gd name="T22" fmla="*/ 237 w 382"/>
                        <a:gd name="T23" fmla="*/ 57 h 96"/>
                        <a:gd name="T24" fmla="*/ 253 w 382"/>
                        <a:gd name="T25" fmla="*/ 54 h 96"/>
                        <a:gd name="T26" fmla="*/ 270 w 382"/>
                        <a:gd name="T27" fmla="*/ 50 h 96"/>
                        <a:gd name="T28" fmla="*/ 286 w 382"/>
                        <a:gd name="T29" fmla="*/ 46 h 96"/>
                        <a:gd name="T30" fmla="*/ 304 w 382"/>
                        <a:gd name="T31" fmla="*/ 39 h 96"/>
                        <a:gd name="T32" fmla="*/ 323 w 382"/>
                        <a:gd name="T33" fmla="*/ 32 h 96"/>
                        <a:gd name="T34" fmla="*/ 342 w 382"/>
                        <a:gd name="T35" fmla="*/ 23 h 96"/>
                        <a:gd name="T36" fmla="*/ 348 w 382"/>
                        <a:gd name="T37" fmla="*/ 10 h 96"/>
                        <a:gd name="T38" fmla="*/ 352 w 382"/>
                        <a:gd name="T39" fmla="*/ 3 h 96"/>
                        <a:gd name="T40" fmla="*/ 356 w 382"/>
                        <a:gd name="T41" fmla="*/ 0 h 96"/>
                        <a:gd name="T42" fmla="*/ 359 w 382"/>
                        <a:gd name="T43" fmla="*/ 1 h 96"/>
                        <a:gd name="T44" fmla="*/ 363 w 382"/>
                        <a:gd name="T45" fmla="*/ 4 h 96"/>
                        <a:gd name="T46" fmla="*/ 367 w 382"/>
                        <a:gd name="T47" fmla="*/ 11 h 96"/>
                        <a:gd name="T48" fmla="*/ 374 w 382"/>
                        <a:gd name="T49" fmla="*/ 20 h 96"/>
                        <a:gd name="T50" fmla="*/ 382 w 382"/>
                        <a:gd name="T51" fmla="*/ 32 h 96"/>
                        <a:gd name="T52" fmla="*/ 366 w 382"/>
                        <a:gd name="T53" fmla="*/ 55 h 96"/>
                        <a:gd name="T54" fmla="*/ 349 w 382"/>
                        <a:gd name="T55" fmla="*/ 65 h 96"/>
                        <a:gd name="T56" fmla="*/ 329 w 382"/>
                        <a:gd name="T57" fmla="*/ 73 h 96"/>
                        <a:gd name="T58" fmla="*/ 310 w 382"/>
                        <a:gd name="T59" fmla="*/ 80 h 96"/>
                        <a:gd name="T60" fmla="*/ 288 w 382"/>
                        <a:gd name="T61" fmla="*/ 86 h 96"/>
                        <a:gd name="T62" fmla="*/ 266 w 382"/>
                        <a:gd name="T63" fmla="*/ 91 h 96"/>
                        <a:gd name="T64" fmla="*/ 243 w 382"/>
                        <a:gd name="T65" fmla="*/ 94 h 96"/>
                        <a:gd name="T66" fmla="*/ 219 w 382"/>
                        <a:gd name="T67" fmla="*/ 96 h 96"/>
                        <a:gd name="T68" fmla="*/ 196 w 382"/>
                        <a:gd name="T69" fmla="*/ 96 h 96"/>
                        <a:gd name="T70" fmla="*/ 172 w 382"/>
                        <a:gd name="T71" fmla="*/ 96 h 96"/>
                        <a:gd name="T72" fmla="*/ 147 w 382"/>
                        <a:gd name="T73" fmla="*/ 95 h 96"/>
                        <a:gd name="T74" fmla="*/ 124 w 382"/>
                        <a:gd name="T75" fmla="*/ 92 h 96"/>
                        <a:gd name="T76" fmla="*/ 101 w 382"/>
                        <a:gd name="T77" fmla="*/ 88 h 96"/>
                        <a:gd name="T78" fmla="*/ 78 w 382"/>
                        <a:gd name="T79" fmla="*/ 84 h 96"/>
                        <a:gd name="T80" fmla="*/ 58 w 382"/>
                        <a:gd name="T81" fmla="*/ 79 h 96"/>
                        <a:gd name="T82" fmla="*/ 37 w 382"/>
                        <a:gd name="T83" fmla="*/ 72 h 96"/>
                        <a:gd name="T84" fmla="*/ 18 w 382"/>
                        <a:gd name="T85" fmla="*/ 65 h 96"/>
                        <a:gd name="T86" fmla="*/ 12 w 382"/>
                        <a:gd name="T87" fmla="*/ 56 h 96"/>
                        <a:gd name="T88" fmla="*/ 6 w 382"/>
                        <a:gd name="T89" fmla="*/ 47 h 96"/>
                        <a:gd name="T90" fmla="*/ 2 w 382"/>
                        <a:gd name="T91" fmla="*/ 38 h 96"/>
                        <a:gd name="T92" fmla="*/ 0 w 382"/>
                        <a:gd name="T93" fmla="*/ 28 h 96"/>
                        <a:gd name="T94" fmla="*/ 0 w 382"/>
                        <a:gd name="T95" fmla="*/ 20 h 96"/>
                        <a:gd name="T96" fmla="*/ 5 w 382"/>
                        <a:gd name="T97" fmla="*/ 13 h 96"/>
                        <a:gd name="T98" fmla="*/ 12 w 382"/>
                        <a:gd name="T99" fmla="*/ 8 h 96"/>
                        <a:gd name="T100" fmla="*/ 24 w 382"/>
                        <a:gd name="T101" fmla="*/ 4 h 96"/>
                        <a:gd name="T102" fmla="*/ 0 60000 65536"/>
                        <a:gd name="T103" fmla="*/ 0 60000 65536"/>
                        <a:gd name="T104" fmla="*/ 0 60000 65536"/>
                        <a:gd name="T105" fmla="*/ 0 60000 65536"/>
                        <a:gd name="T106" fmla="*/ 0 60000 65536"/>
                        <a:gd name="T107" fmla="*/ 0 60000 65536"/>
                        <a:gd name="T108" fmla="*/ 0 60000 65536"/>
                        <a:gd name="T109" fmla="*/ 0 60000 65536"/>
                        <a:gd name="T110" fmla="*/ 0 60000 65536"/>
                        <a:gd name="T111" fmla="*/ 0 60000 65536"/>
                        <a:gd name="T112" fmla="*/ 0 60000 65536"/>
                        <a:gd name="T113" fmla="*/ 0 60000 65536"/>
                        <a:gd name="T114" fmla="*/ 0 60000 65536"/>
                        <a:gd name="T115" fmla="*/ 0 60000 65536"/>
                        <a:gd name="T116" fmla="*/ 0 60000 65536"/>
                        <a:gd name="T117" fmla="*/ 0 60000 65536"/>
                        <a:gd name="T118" fmla="*/ 0 60000 65536"/>
                        <a:gd name="T119" fmla="*/ 0 60000 65536"/>
                        <a:gd name="T120" fmla="*/ 0 60000 65536"/>
                        <a:gd name="T121" fmla="*/ 0 60000 65536"/>
                        <a:gd name="T122" fmla="*/ 0 60000 65536"/>
                        <a:gd name="T123" fmla="*/ 0 60000 65536"/>
                        <a:gd name="T124" fmla="*/ 0 60000 65536"/>
                        <a:gd name="T125" fmla="*/ 0 60000 65536"/>
                        <a:gd name="T126" fmla="*/ 0 60000 65536"/>
                        <a:gd name="T127" fmla="*/ 0 60000 65536"/>
                        <a:gd name="T128" fmla="*/ 0 60000 65536"/>
                        <a:gd name="T129" fmla="*/ 0 60000 65536"/>
                        <a:gd name="T130" fmla="*/ 0 60000 65536"/>
                        <a:gd name="T131" fmla="*/ 0 60000 65536"/>
                        <a:gd name="T132" fmla="*/ 0 60000 65536"/>
                        <a:gd name="T133" fmla="*/ 0 60000 65536"/>
                        <a:gd name="T134" fmla="*/ 0 60000 65536"/>
                        <a:gd name="T135" fmla="*/ 0 60000 65536"/>
                        <a:gd name="T136" fmla="*/ 0 60000 65536"/>
                        <a:gd name="T137" fmla="*/ 0 60000 65536"/>
                        <a:gd name="T138" fmla="*/ 0 60000 65536"/>
                        <a:gd name="T139" fmla="*/ 0 60000 65536"/>
                        <a:gd name="T140" fmla="*/ 0 60000 65536"/>
                        <a:gd name="T141" fmla="*/ 0 60000 65536"/>
                        <a:gd name="T142" fmla="*/ 0 60000 65536"/>
                        <a:gd name="T143" fmla="*/ 0 60000 65536"/>
                        <a:gd name="T144" fmla="*/ 0 60000 65536"/>
                        <a:gd name="T145" fmla="*/ 0 60000 65536"/>
                        <a:gd name="T146" fmla="*/ 0 60000 65536"/>
                        <a:gd name="T147" fmla="*/ 0 60000 65536"/>
                        <a:gd name="T148" fmla="*/ 0 60000 65536"/>
                        <a:gd name="T149" fmla="*/ 0 60000 65536"/>
                        <a:gd name="T150" fmla="*/ 0 60000 65536"/>
                        <a:gd name="T151" fmla="*/ 0 60000 65536"/>
                        <a:gd name="T152" fmla="*/ 0 60000 65536"/>
                        <a:gd name="T153" fmla="*/ 0 w 382"/>
                        <a:gd name="T154" fmla="*/ 0 h 96"/>
                        <a:gd name="T155" fmla="*/ 382 w 382"/>
                        <a:gd name="T156" fmla="*/ 96 h 96"/>
                      </a:gdLst>
                      <a:ahLst/>
                      <a:cxnLst>
                        <a:cxn ang="T102">
                          <a:pos x="T0" y="T1"/>
                        </a:cxn>
                        <a:cxn ang="T103">
                          <a:pos x="T2" y="T3"/>
                        </a:cxn>
                        <a:cxn ang="T104">
                          <a:pos x="T4" y="T5"/>
                        </a:cxn>
                        <a:cxn ang="T105">
                          <a:pos x="T6" y="T7"/>
                        </a:cxn>
                        <a:cxn ang="T106">
                          <a:pos x="T8" y="T9"/>
                        </a:cxn>
                        <a:cxn ang="T107">
                          <a:pos x="T10" y="T11"/>
                        </a:cxn>
                        <a:cxn ang="T108">
                          <a:pos x="T12" y="T13"/>
                        </a:cxn>
                        <a:cxn ang="T109">
                          <a:pos x="T14" y="T15"/>
                        </a:cxn>
                        <a:cxn ang="T110">
                          <a:pos x="T16" y="T17"/>
                        </a:cxn>
                        <a:cxn ang="T111">
                          <a:pos x="T18" y="T19"/>
                        </a:cxn>
                        <a:cxn ang="T112">
                          <a:pos x="T20" y="T21"/>
                        </a:cxn>
                        <a:cxn ang="T113">
                          <a:pos x="T22" y="T23"/>
                        </a:cxn>
                        <a:cxn ang="T114">
                          <a:pos x="T24" y="T25"/>
                        </a:cxn>
                        <a:cxn ang="T115">
                          <a:pos x="T26" y="T27"/>
                        </a:cxn>
                        <a:cxn ang="T116">
                          <a:pos x="T28" y="T29"/>
                        </a:cxn>
                        <a:cxn ang="T117">
                          <a:pos x="T30" y="T31"/>
                        </a:cxn>
                        <a:cxn ang="T118">
                          <a:pos x="T32" y="T33"/>
                        </a:cxn>
                        <a:cxn ang="T119">
                          <a:pos x="T34" y="T35"/>
                        </a:cxn>
                        <a:cxn ang="T120">
                          <a:pos x="T36" y="T37"/>
                        </a:cxn>
                        <a:cxn ang="T121">
                          <a:pos x="T38" y="T39"/>
                        </a:cxn>
                        <a:cxn ang="T122">
                          <a:pos x="T40" y="T41"/>
                        </a:cxn>
                        <a:cxn ang="T123">
                          <a:pos x="T42" y="T43"/>
                        </a:cxn>
                        <a:cxn ang="T124">
                          <a:pos x="T44" y="T45"/>
                        </a:cxn>
                        <a:cxn ang="T125">
                          <a:pos x="T46" y="T47"/>
                        </a:cxn>
                        <a:cxn ang="T126">
                          <a:pos x="T48" y="T49"/>
                        </a:cxn>
                        <a:cxn ang="T127">
                          <a:pos x="T50" y="T51"/>
                        </a:cxn>
                        <a:cxn ang="T128">
                          <a:pos x="T52" y="T53"/>
                        </a:cxn>
                        <a:cxn ang="T129">
                          <a:pos x="T54" y="T55"/>
                        </a:cxn>
                        <a:cxn ang="T130">
                          <a:pos x="T56" y="T57"/>
                        </a:cxn>
                        <a:cxn ang="T131">
                          <a:pos x="T58" y="T59"/>
                        </a:cxn>
                        <a:cxn ang="T132">
                          <a:pos x="T60" y="T61"/>
                        </a:cxn>
                        <a:cxn ang="T133">
                          <a:pos x="T62" y="T63"/>
                        </a:cxn>
                        <a:cxn ang="T134">
                          <a:pos x="T64" y="T65"/>
                        </a:cxn>
                        <a:cxn ang="T135">
                          <a:pos x="T66" y="T67"/>
                        </a:cxn>
                        <a:cxn ang="T136">
                          <a:pos x="T68" y="T69"/>
                        </a:cxn>
                        <a:cxn ang="T137">
                          <a:pos x="T70" y="T71"/>
                        </a:cxn>
                        <a:cxn ang="T138">
                          <a:pos x="T72" y="T73"/>
                        </a:cxn>
                        <a:cxn ang="T139">
                          <a:pos x="T74" y="T75"/>
                        </a:cxn>
                        <a:cxn ang="T140">
                          <a:pos x="T76" y="T77"/>
                        </a:cxn>
                        <a:cxn ang="T141">
                          <a:pos x="T78" y="T79"/>
                        </a:cxn>
                        <a:cxn ang="T142">
                          <a:pos x="T80" y="T81"/>
                        </a:cxn>
                        <a:cxn ang="T143">
                          <a:pos x="T82" y="T83"/>
                        </a:cxn>
                        <a:cxn ang="T144">
                          <a:pos x="T84" y="T85"/>
                        </a:cxn>
                        <a:cxn ang="T145">
                          <a:pos x="T86" y="T87"/>
                        </a:cxn>
                        <a:cxn ang="T146">
                          <a:pos x="T88" y="T89"/>
                        </a:cxn>
                        <a:cxn ang="T147">
                          <a:pos x="T90" y="T91"/>
                        </a:cxn>
                        <a:cxn ang="T148">
                          <a:pos x="T92" y="T93"/>
                        </a:cxn>
                        <a:cxn ang="T149">
                          <a:pos x="T94" y="T95"/>
                        </a:cxn>
                        <a:cxn ang="T150">
                          <a:pos x="T96" y="T97"/>
                        </a:cxn>
                        <a:cxn ang="T151">
                          <a:pos x="T98" y="T99"/>
                        </a:cxn>
                        <a:cxn ang="T152">
                          <a:pos x="T100" y="T101"/>
                        </a:cxn>
                      </a:cxnLst>
                      <a:rect l="T153" t="T154" r="T155" b="T156"/>
                      <a:pathLst>
                        <a:path w="382" h="96">
                          <a:moveTo>
                            <a:pt x="24" y="4"/>
                          </a:moveTo>
                          <a:lnTo>
                            <a:pt x="68" y="40"/>
                          </a:lnTo>
                          <a:lnTo>
                            <a:pt x="89" y="44"/>
                          </a:lnTo>
                          <a:lnTo>
                            <a:pt x="108" y="48"/>
                          </a:lnTo>
                          <a:lnTo>
                            <a:pt x="127" y="53"/>
                          </a:lnTo>
                          <a:lnTo>
                            <a:pt x="144" y="55"/>
                          </a:lnTo>
                          <a:lnTo>
                            <a:pt x="160" y="57"/>
                          </a:lnTo>
                          <a:lnTo>
                            <a:pt x="176" y="59"/>
                          </a:lnTo>
                          <a:lnTo>
                            <a:pt x="192" y="59"/>
                          </a:lnTo>
                          <a:lnTo>
                            <a:pt x="207" y="59"/>
                          </a:lnTo>
                          <a:lnTo>
                            <a:pt x="222" y="58"/>
                          </a:lnTo>
                          <a:lnTo>
                            <a:pt x="237" y="57"/>
                          </a:lnTo>
                          <a:lnTo>
                            <a:pt x="253" y="54"/>
                          </a:lnTo>
                          <a:lnTo>
                            <a:pt x="270" y="50"/>
                          </a:lnTo>
                          <a:lnTo>
                            <a:pt x="286" y="46"/>
                          </a:lnTo>
                          <a:lnTo>
                            <a:pt x="304" y="39"/>
                          </a:lnTo>
                          <a:lnTo>
                            <a:pt x="323" y="32"/>
                          </a:lnTo>
                          <a:lnTo>
                            <a:pt x="342" y="23"/>
                          </a:lnTo>
                          <a:lnTo>
                            <a:pt x="348" y="10"/>
                          </a:lnTo>
                          <a:lnTo>
                            <a:pt x="352" y="3"/>
                          </a:lnTo>
                          <a:lnTo>
                            <a:pt x="356" y="0"/>
                          </a:lnTo>
                          <a:lnTo>
                            <a:pt x="359" y="1"/>
                          </a:lnTo>
                          <a:lnTo>
                            <a:pt x="363" y="4"/>
                          </a:lnTo>
                          <a:lnTo>
                            <a:pt x="367" y="11"/>
                          </a:lnTo>
                          <a:lnTo>
                            <a:pt x="374" y="20"/>
                          </a:lnTo>
                          <a:lnTo>
                            <a:pt x="382" y="32"/>
                          </a:lnTo>
                          <a:lnTo>
                            <a:pt x="366" y="55"/>
                          </a:lnTo>
                          <a:lnTo>
                            <a:pt x="349" y="65"/>
                          </a:lnTo>
                          <a:lnTo>
                            <a:pt x="329" y="73"/>
                          </a:lnTo>
                          <a:lnTo>
                            <a:pt x="310" y="80"/>
                          </a:lnTo>
                          <a:lnTo>
                            <a:pt x="288" y="86"/>
                          </a:lnTo>
                          <a:lnTo>
                            <a:pt x="266" y="91"/>
                          </a:lnTo>
                          <a:lnTo>
                            <a:pt x="243" y="94"/>
                          </a:lnTo>
                          <a:lnTo>
                            <a:pt x="219" y="96"/>
                          </a:lnTo>
                          <a:lnTo>
                            <a:pt x="196" y="96"/>
                          </a:lnTo>
                          <a:lnTo>
                            <a:pt x="172" y="96"/>
                          </a:lnTo>
                          <a:lnTo>
                            <a:pt x="147" y="95"/>
                          </a:lnTo>
                          <a:lnTo>
                            <a:pt x="124" y="92"/>
                          </a:lnTo>
                          <a:lnTo>
                            <a:pt x="101" y="88"/>
                          </a:lnTo>
                          <a:lnTo>
                            <a:pt x="78" y="84"/>
                          </a:lnTo>
                          <a:lnTo>
                            <a:pt x="58" y="79"/>
                          </a:lnTo>
                          <a:lnTo>
                            <a:pt x="37" y="72"/>
                          </a:lnTo>
                          <a:lnTo>
                            <a:pt x="18" y="65"/>
                          </a:lnTo>
                          <a:lnTo>
                            <a:pt x="12" y="56"/>
                          </a:lnTo>
                          <a:lnTo>
                            <a:pt x="6" y="47"/>
                          </a:lnTo>
                          <a:lnTo>
                            <a:pt x="2" y="38"/>
                          </a:lnTo>
                          <a:lnTo>
                            <a:pt x="0" y="28"/>
                          </a:lnTo>
                          <a:lnTo>
                            <a:pt x="0" y="20"/>
                          </a:lnTo>
                          <a:lnTo>
                            <a:pt x="5" y="13"/>
                          </a:lnTo>
                          <a:lnTo>
                            <a:pt x="12" y="8"/>
                          </a:lnTo>
                          <a:lnTo>
                            <a:pt x="24" y="4"/>
                          </a:lnTo>
                          <a:close/>
                        </a:path>
                      </a:pathLst>
                    </a:custGeom>
                    <a:solidFill>
                      <a:srgbClr val="FFFFFF">
                        <a:alpha val="56078"/>
                      </a:srgbClr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pPr fontAlgn="auto">
                        <a:spcBef>
                          <a:spcPts val="0"/>
                        </a:spcBef>
                        <a:spcAft>
                          <a:spcPts val="0"/>
                        </a:spcAft>
                        <a:defRPr/>
                      </a:pPr>
                      <a:endParaRPr lang="da-DK" kern="0">
                        <a:solidFill>
                          <a:sysClr val="windowText" lastClr="000000"/>
                        </a:solidFill>
                        <a:latin typeface="+mn-lt"/>
                        <a:cs typeface="+mn-cs"/>
                      </a:endParaRPr>
                    </a:p>
                  </p:txBody>
                </p:sp>
                <p:sp>
                  <p:nvSpPr>
                    <p:cNvPr id="300" name="Freeform 148"/>
                    <p:cNvSpPr>
                      <a:spLocks/>
                    </p:cNvSpPr>
                    <p:nvPr/>
                  </p:nvSpPr>
                  <p:spPr bwMode="auto">
                    <a:xfrm>
                      <a:off x="13179" y="5243796"/>
                      <a:ext cx="995787" cy="353228"/>
                    </a:xfrm>
                    <a:custGeom>
                      <a:avLst/>
                      <a:gdLst>
                        <a:gd name="T0" fmla="*/ 7 w 483"/>
                        <a:gd name="T1" fmla="*/ 102 h 184"/>
                        <a:gd name="T2" fmla="*/ 18 w 483"/>
                        <a:gd name="T3" fmla="*/ 116 h 184"/>
                        <a:gd name="T4" fmla="*/ 34 w 483"/>
                        <a:gd name="T5" fmla="*/ 130 h 184"/>
                        <a:gd name="T6" fmla="*/ 55 w 483"/>
                        <a:gd name="T7" fmla="*/ 143 h 184"/>
                        <a:gd name="T8" fmla="*/ 80 w 483"/>
                        <a:gd name="T9" fmla="*/ 155 h 184"/>
                        <a:gd name="T10" fmla="*/ 109 w 483"/>
                        <a:gd name="T11" fmla="*/ 165 h 184"/>
                        <a:gd name="T12" fmla="*/ 141 w 483"/>
                        <a:gd name="T13" fmla="*/ 173 h 184"/>
                        <a:gd name="T14" fmla="*/ 176 w 483"/>
                        <a:gd name="T15" fmla="*/ 179 h 184"/>
                        <a:gd name="T16" fmla="*/ 211 w 483"/>
                        <a:gd name="T17" fmla="*/ 182 h 184"/>
                        <a:gd name="T18" fmla="*/ 248 w 483"/>
                        <a:gd name="T19" fmla="*/ 184 h 184"/>
                        <a:gd name="T20" fmla="*/ 285 w 483"/>
                        <a:gd name="T21" fmla="*/ 183 h 184"/>
                        <a:gd name="T22" fmla="*/ 323 w 483"/>
                        <a:gd name="T23" fmla="*/ 180 h 184"/>
                        <a:gd name="T24" fmla="*/ 359 w 483"/>
                        <a:gd name="T25" fmla="*/ 173 h 184"/>
                        <a:gd name="T26" fmla="*/ 393 w 483"/>
                        <a:gd name="T27" fmla="*/ 164 h 184"/>
                        <a:gd name="T28" fmla="*/ 427 w 483"/>
                        <a:gd name="T29" fmla="*/ 151 h 184"/>
                        <a:gd name="T30" fmla="*/ 455 w 483"/>
                        <a:gd name="T31" fmla="*/ 135 h 184"/>
                        <a:gd name="T32" fmla="*/ 482 w 483"/>
                        <a:gd name="T33" fmla="*/ 115 h 184"/>
                        <a:gd name="T34" fmla="*/ 483 w 483"/>
                        <a:gd name="T35" fmla="*/ 93 h 184"/>
                        <a:gd name="T36" fmla="*/ 483 w 483"/>
                        <a:gd name="T37" fmla="*/ 77 h 184"/>
                        <a:gd name="T38" fmla="*/ 482 w 483"/>
                        <a:gd name="T39" fmla="*/ 65 h 184"/>
                        <a:gd name="T40" fmla="*/ 478 w 483"/>
                        <a:gd name="T41" fmla="*/ 54 h 184"/>
                        <a:gd name="T42" fmla="*/ 473 w 483"/>
                        <a:gd name="T43" fmla="*/ 44 h 184"/>
                        <a:gd name="T44" fmla="*/ 463 w 483"/>
                        <a:gd name="T45" fmla="*/ 34 h 184"/>
                        <a:gd name="T46" fmla="*/ 451 w 483"/>
                        <a:gd name="T47" fmla="*/ 22 h 184"/>
                        <a:gd name="T48" fmla="*/ 435 w 483"/>
                        <a:gd name="T49" fmla="*/ 7 h 184"/>
                        <a:gd name="T50" fmla="*/ 416 w 483"/>
                        <a:gd name="T51" fmla="*/ 23 h 184"/>
                        <a:gd name="T52" fmla="*/ 396 w 483"/>
                        <a:gd name="T53" fmla="*/ 37 h 184"/>
                        <a:gd name="T54" fmla="*/ 375 w 483"/>
                        <a:gd name="T55" fmla="*/ 50 h 184"/>
                        <a:gd name="T56" fmla="*/ 353 w 483"/>
                        <a:gd name="T57" fmla="*/ 59 h 184"/>
                        <a:gd name="T58" fmla="*/ 330 w 483"/>
                        <a:gd name="T59" fmla="*/ 67 h 184"/>
                        <a:gd name="T60" fmla="*/ 307 w 483"/>
                        <a:gd name="T61" fmla="*/ 73 h 184"/>
                        <a:gd name="T62" fmla="*/ 284 w 483"/>
                        <a:gd name="T63" fmla="*/ 76 h 184"/>
                        <a:gd name="T64" fmla="*/ 260 w 483"/>
                        <a:gd name="T65" fmla="*/ 78 h 184"/>
                        <a:gd name="T66" fmla="*/ 235 w 483"/>
                        <a:gd name="T67" fmla="*/ 78 h 184"/>
                        <a:gd name="T68" fmla="*/ 211 w 483"/>
                        <a:gd name="T69" fmla="*/ 76 h 184"/>
                        <a:gd name="T70" fmla="*/ 187 w 483"/>
                        <a:gd name="T71" fmla="*/ 73 h 184"/>
                        <a:gd name="T72" fmla="*/ 163 w 483"/>
                        <a:gd name="T73" fmla="*/ 68 h 184"/>
                        <a:gd name="T74" fmla="*/ 140 w 483"/>
                        <a:gd name="T75" fmla="*/ 61 h 184"/>
                        <a:gd name="T76" fmla="*/ 116 w 483"/>
                        <a:gd name="T77" fmla="*/ 53 h 184"/>
                        <a:gd name="T78" fmla="*/ 94 w 483"/>
                        <a:gd name="T79" fmla="*/ 44 h 184"/>
                        <a:gd name="T80" fmla="*/ 72 w 483"/>
                        <a:gd name="T81" fmla="*/ 32 h 184"/>
                        <a:gd name="T82" fmla="*/ 66 w 483"/>
                        <a:gd name="T83" fmla="*/ 0 h 184"/>
                        <a:gd name="T84" fmla="*/ 56 w 483"/>
                        <a:gd name="T85" fmla="*/ 5 h 184"/>
                        <a:gd name="T86" fmla="*/ 42 w 483"/>
                        <a:gd name="T87" fmla="*/ 12 h 184"/>
                        <a:gd name="T88" fmla="*/ 29 w 483"/>
                        <a:gd name="T89" fmla="*/ 20 h 184"/>
                        <a:gd name="T90" fmla="*/ 17 w 483"/>
                        <a:gd name="T91" fmla="*/ 30 h 184"/>
                        <a:gd name="T92" fmla="*/ 7 w 483"/>
                        <a:gd name="T93" fmla="*/ 43 h 184"/>
                        <a:gd name="T94" fmla="*/ 2 w 483"/>
                        <a:gd name="T95" fmla="*/ 59 h 184"/>
                        <a:gd name="T96" fmla="*/ 0 w 483"/>
                        <a:gd name="T97" fmla="*/ 78 h 184"/>
                        <a:gd name="T98" fmla="*/ 7 w 483"/>
                        <a:gd name="T99" fmla="*/ 102 h 184"/>
                        <a:gd name="T100" fmla="*/ 0 60000 65536"/>
                        <a:gd name="T101" fmla="*/ 0 60000 65536"/>
                        <a:gd name="T102" fmla="*/ 0 60000 65536"/>
                        <a:gd name="T103" fmla="*/ 0 60000 65536"/>
                        <a:gd name="T104" fmla="*/ 0 60000 65536"/>
                        <a:gd name="T105" fmla="*/ 0 60000 65536"/>
                        <a:gd name="T106" fmla="*/ 0 60000 65536"/>
                        <a:gd name="T107" fmla="*/ 0 60000 65536"/>
                        <a:gd name="T108" fmla="*/ 0 60000 65536"/>
                        <a:gd name="T109" fmla="*/ 0 60000 65536"/>
                        <a:gd name="T110" fmla="*/ 0 60000 65536"/>
                        <a:gd name="T111" fmla="*/ 0 60000 65536"/>
                        <a:gd name="T112" fmla="*/ 0 60000 65536"/>
                        <a:gd name="T113" fmla="*/ 0 60000 65536"/>
                        <a:gd name="T114" fmla="*/ 0 60000 65536"/>
                        <a:gd name="T115" fmla="*/ 0 60000 65536"/>
                        <a:gd name="T116" fmla="*/ 0 60000 65536"/>
                        <a:gd name="T117" fmla="*/ 0 60000 65536"/>
                        <a:gd name="T118" fmla="*/ 0 60000 65536"/>
                        <a:gd name="T119" fmla="*/ 0 60000 65536"/>
                        <a:gd name="T120" fmla="*/ 0 60000 65536"/>
                        <a:gd name="T121" fmla="*/ 0 60000 65536"/>
                        <a:gd name="T122" fmla="*/ 0 60000 65536"/>
                        <a:gd name="T123" fmla="*/ 0 60000 65536"/>
                        <a:gd name="T124" fmla="*/ 0 60000 65536"/>
                        <a:gd name="T125" fmla="*/ 0 60000 65536"/>
                        <a:gd name="T126" fmla="*/ 0 60000 65536"/>
                        <a:gd name="T127" fmla="*/ 0 60000 65536"/>
                        <a:gd name="T128" fmla="*/ 0 60000 65536"/>
                        <a:gd name="T129" fmla="*/ 0 60000 65536"/>
                        <a:gd name="T130" fmla="*/ 0 60000 65536"/>
                        <a:gd name="T131" fmla="*/ 0 60000 65536"/>
                        <a:gd name="T132" fmla="*/ 0 60000 65536"/>
                        <a:gd name="T133" fmla="*/ 0 60000 65536"/>
                        <a:gd name="T134" fmla="*/ 0 60000 65536"/>
                        <a:gd name="T135" fmla="*/ 0 60000 65536"/>
                        <a:gd name="T136" fmla="*/ 0 60000 65536"/>
                        <a:gd name="T137" fmla="*/ 0 60000 65536"/>
                        <a:gd name="T138" fmla="*/ 0 60000 65536"/>
                        <a:gd name="T139" fmla="*/ 0 60000 65536"/>
                        <a:gd name="T140" fmla="*/ 0 60000 65536"/>
                        <a:gd name="T141" fmla="*/ 0 60000 65536"/>
                        <a:gd name="T142" fmla="*/ 0 60000 65536"/>
                        <a:gd name="T143" fmla="*/ 0 60000 65536"/>
                        <a:gd name="T144" fmla="*/ 0 60000 65536"/>
                        <a:gd name="T145" fmla="*/ 0 60000 65536"/>
                        <a:gd name="T146" fmla="*/ 0 60000 65536"/>
                        <a:gd name="T147" fmla="*/ 0 60000 65536"/>
                        <a:gd name="T148" fmla="*/ 0 60000 65536"/>
                        <a:gd name="T149" fmla="*/ 0 60000 65536"/>
                        <a:gd name="T150" fmla="*/ 0 w 483"/>
                        <a:gd name="T151" fmla="*/ 0 h 184"/>
                        <a:gd name="T152" fmla="*/ 483 w 483"/>
                        <a:gd name="T153" fmla="*/ 184 h 184"/>
                      </a:gdLst>
                      <a:ahLst/>
                      <a:cxnLst>
                        <a:cxn ang="T100">
                          <a:pos x="T0" y="T1"/>
                        </a:cxn>
                        <a:cxn ang="T101">
                          <a:pos x="T2" y="T3"/>
                        </a:cxn>
                        <a:cxn ang="T102">
                          <a:pos x="T4" y="T5"/>
                        </a:cxn>
                        <a:cxn ang="T103">
                          <a:pos x="T6" y="T7"/>
                        </a:cxn>
                        <a:cxn ang="T104">
                          <a:pos x="T8" y="T9"/>
                        </a:cxn>
                        <a:cxn ang="T105">
                          <a:pos x="T10" y="T11"/>
                        </a:cxn>
                        <a:cxn ang="T106">
                          <a:pos x="T12" y="T13"/>
                        </a:cxn>
                        <a:cxn ang="T107">
                          <a:pos x="T14" y="T15"/>
                        </a:cxn>
                        <a:cxn ang="T108">
                          <a:pos x="T16" y="T17"/>
                        </a:cxn>
                        <a:cxn ang="T109">
                          <a:pos x="T18" y="T19"/>
                        </a:cxn>
                        <a:cxn ang="T110">
                          <a:pos x="T20" y="T21"/>
                        </a:cxn>
                        <a:cxn ang="T111">
                          <a:pos x="T22" y="T23"/>
                        </a:cxn>
                        <a:cxn ang="T112">
                          <a:pos x="T24" y="T25"/>
                        </a:cxn>
                        <a:cxn ang="T113">
                          <a:pos x="T26" y="T27"/>
                        </a:cxn>
                        <a:cxn ang="T114">
                          <a:pos x="T28" y="T29"/>
                        </a:cxn>
                        <a:cxn ang="T115">
                          <a:pos x="T30" y="T31"/>
                        </a:cxn>
                        <a:cxn ang="T116">
                          <a:pos x="T32" y="T33"/>
                        </a:cxn>
                        <a:cxn ang="T117">
                          <a:pos x="T34" y="T35"/>
                        </a:cxn>
                        <a:cxn ang="T118">
                          <a:pos x="T36" y="T37"/>
                        </a:cxn>
                        <a:cxn ang="T119">
                          <a:pos x="T38" y="T39"/>
                        </a:cxn>
                        <a:cxn ang="T120">
                          <a:pos x="T40" y="T41"/>
                        </a:cxn>
                        <a:cxn ang="T121">
                          <a:pos x="T42" y="T43"/>
                        </a:cxn>
                        <a:cxn ang="T122">
                          <a:pos x="T44" y="T45"/>
                        </a:cxn>
                        <a:cxn ang="T123">
                          <a:pos x="T46" y="T47"/>
                        </a:cxn>
                        <a:cxn ang="T124">
                          <a:pos x="T48" y="T49"/>
                        </a:cxn>
                        <a:cxn ang="T125">
                          <a:pos x="T50" y="T51"/>
                        </a:cxn>
                        <a:cxn ang="T126">
                          <a:pos x="T52" y="T53"/>
                        </a:cxn>
                        <a:cxn ang="T127">
                          <a:pos x="T54" y="T55"/>
                        </a:cxn>
                        <a:cxn ang="T128">
                          <a:pos x="T56" y="T57"/>
                        </a:cxn>
                        <a:cxn ang="T129">
                          <a:pos x="T58" y="T59"/>
                        </a:cxn>
                        <a:cxn ang="T130">
                          <a:pos x="T60" y="T61"/>
                        </a:cxn>
                        <a:cxn ang="T131">
                          <a:pos x="T62" y="T63"/>
                        </a:cxn>
                        <a:cxn ang="T132">
                          <a:pos x="T64" y="T65"/>
                        </a:cxn>
                        <a:cxn ang="T133">
                          <a:pos x="T66" y="T67"/>
                        </a:cxn>
                        <a:cxn ang="T134">
                          <a:pos x="T68" y="T69"/>
                        </a:cxn>
                        <a:cxn ang="T135">
                          <a:pos x="T70" y="T71"/>
                        </a:cxn>
                        <a:cxn ang="T136">
                          <a:pos x="T72" y="T73"/>
                        </a:cxn>
                        <a:cxn ang="T137">
                          <a:pos x="T74" y="T75"/>
                        </a:cxn>
                        <a:cxn ang="T138">
                          <a:pos x="T76" y="T77"/>
                        </a:cxn>
                        <a:cxn ang="T139">
                          <a:pos x="T78" y="T79"/>
                        </a:cxn>
                        <a:cxn ang="T140">
                          <a:pos x="T80" y="T81"/>
                        </a:cxn>
                        <a:cxn ang="T141">
                          <a:pos x="T82" y="T83"/>
                        </a:cxn>
                        <a:cxn ang="T142">
                          <a:pos x="T84" y="T85"/>
                        </a:cxn>
                        <a:cxn ang="T143">
                          <a:pos x="T86" y="T87"/>
                        </a:cxn>
                        <a:cxn ang="T144">
                          <a:pos x="T88" y="T89"/>
                        </a:cxn>
                        <a:cxn ang="T145">
                          <a:pos x="T90" y="T91"/>
                        </a:cxn>
                        <a:cxn ang="T146">
                          <a:pos x="T92" y="T93"/>
                        </a:cxn>
                        <a:cxn ang="T147">
                          <a:pos x="T94" y="T95"/>
                        </a:cxn>
                        <a:cxn ang="T148">
                          <a:pos x="T96" y="T97"/>
                        </a:cxn>
                        <a:cxn ang="T149">
                          <a:pos x="T98" y="T99"/>
                        </a:cxn>
                      </a:cxnLst>
                      <a:rect l="T150" t="T151" r="T152" b="T153"/>
                      <a:pathLst>
                        <a:path w="483" h="184">
                          <a:moveTo>
                            <a:pt x="7" y="102"/>
                          </a:moveTo>
                          <a:lnTo>
                            <a:pt x="18" y="116"/>
                          </a:lnTo>
                          <a:lnTo>
                            <a:pt x="34" y="130"/>
                          </a:lnTo>
                          <a:lnTo>
                            <a:pt x="55" y="143"/>
                          </a:lnTo>
                          <a:lnTo>
                            <a:pt x="80" y="155"/>
                          </a:lnTo>
                          <a:lnTo>
                            <a:pt x="109" y="165"/>
                          </a:lnTo>
                          <a:lnTo>
                            <a:pt x="141" y="173"/>
                          </a:lnTo>
                          <a:lnTo>
                            <a:pt x="176" y="179"/>
                          </a:lnTo>
                          <a:lnTo>
                            <a:pt x="211" y="182"/>
                          </a:lnTo>
                          <a:lnTo>
                            <a:pt x="248" y="184"/>
                          </a:lnTo>
                          <a:lnTo>
                            <a:pt x="285" y="183"/>
                          </a:lnTo>
                          <a:lnTo>
                            <a:pt x="323" y="180"/>
                          </a:lnTo>
                          <a:lnTo>
                            <a:pt x="359" y="173"/>
                          </a:lnTo>
                          <a:lnTo>
                            <a:pt x="393" y="164"/>
                          </a:lnTo>
                          <a:lnTo>
                            <a:pt x="427" y="151"/>
                          </a:lnTo>
                          <a:lnTo>
                            <a:pt x="455" y="135"/>
                          </a:lnTo>
                          <a:lnTo>
                            <a:pt x="482" y="115"/>
                          </a:lnTo>
                          <a:lnTo>
                            <a:pt x="483" y="93"/>
                          </a:lnTo>
                          <a:lnTo>
                            <a:pt x="483" y="77"/>
                          </a:lnTo>
                          <a:lnTo>
                            <a:pt x="482" y="65"/>
                          </a:lnTo>
                          <a:lnTo>
                            <a:pt x="478" y="54"/>
                          </a:lnTo>
                          <a:lnTo>
                            <a:pt x="473" y="44"/>
                          </a:lnTo>
                          <a:lnTo>
                            <a:pt x="463" y="34"/>
                          </a:lnTo>
                          <a:lnTo>
                            <a:pt x="451" y="22"/>
                          </a:lnTo>
                          <a:lnTo>
                            <a:pt x="435" y="7"/>
                          </a:lnTo>
                          <a:lnTo>
                            <a:pt x="416" y="23"/>
                          </a:lnTo>
                          <a:lnTo>
                            <a:pt x="396" y="37"/>
                          </a:lnTo>
                          <a:lnTo>
                            <a:pt x="375" y="50"/>
                          </a:lnTo>
                          <a:lnTo>
                            <a:pt x="353" y="59"/>
                          </a:lnTo>
                          <a:lnTo>
                            <a:pt x="330" y="67"/>
                          </a:lnTo>
                          <a:lnTo>
                            <a:pt x="307" y="73"/>
                          </a:lnTo>
                          <a:lnTo>
                            <a:pt x="284" y="76"/>
                          </a:lnTo>
                          <a:lnTo>
                            <a:pt x="260" y="78"/>
                          </a:lnTo>
                          <a:lnTo>
                            <a:pt x="235" y="78"/>
                          </a:lnTo>
                          <a:lnTo>
                            <a:pt x="211" y="76"/>
                          </a:lnTo>
                          <a:lnTo>
                            <a:pt x="187" y="73"/>
                          </a:lnTo>
                          <a:lnTo>
                            <a:pt x="163" y="68"/>
                          </a:lnTo>
                          <a:lnTo>
                            <a:pt x="140" y="61"/>
                          </a:lnTo>
                          <a:lnTo>
                            <a:pt x="116" y="53"/>
                          </a:lnTo>
                          <a:lnTo>
                            <a:pt x="94" y="44"/>
                          </a:lnTo>
                          <a:lnTo>
                            <a:pt x="72" y="32"/>
                          </a:lnTo>
                          <a:lnTo>
                            <a:pt x="66" y="0"/>
                          </a:lnTo>
                          <a:lnTo>
                            <a:pt x="56" y="5"/>
                          </a:lnTo>
                          <a:lnTo>
                            <a:pt x="42" y="12"/>
                          </a:lnTo>
                          <a:lnTo>
                            <a:pt x="29" y="20"/>
                          </a:lnTo>
                          <a:lnTo>
                            <a:pt x="17" y="30"/>
                          </a:lnTo>
                          <a:lnTo>
                            <a:pt x="7" y="43"/>
                          </a:lnTo>
                          <a:lnTo>
                            <a:pt x="2" y="59"/>
                          </a:lnTo>
                          <a:lnTo>
                            <a:pt x="0" y="78"/>
                          </a:lnTo>
                          <a:lnTo>
                            <a:pt x="7" y="102"/>
                          </a:lnTo>
                          <a:close/>
                        </a:path>
                      </a:pathLst>
                    </a:custGeom>
                    <a:solidFill>
                      <a:srgbClr val="E6E6E6">
                        <a:alpha val="56078"/>
                      </a:srgbClr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pPr fontAlgn="auto">
                        <a:spcBef>
                          <a:spcPts val="0"/>
                        </a:spcBef>
                        <a:spcAft>
                          <a:spcPts val="0"/>
                        </a:spcAft>
                        <a:defRPr/>
                      </a:pPr>
                      <a:endParaRPr lang="da-DK" kern="0">
                        <a:solidFill>
                          <a:sysClr val="windowText" lastClr="000000"/>
                        </a:solidFill>
                        <a:latin typeface="+mn-lt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87" name="Gruppe 814"/>
                  <p:cNvGrpSpPr/>
                  <p:nvPr/>
                </p:nvGrpSpPr>
                <p:grpSpPr>
                  <a:xfrm>
                    <a:off x="265107" y="3675076"/>
                    <a:ext cx="743434" cy="2078044"/>
                    <a:chOff x="3656013" y="3433763"/>
                    <a:chExt cx="684213" cy="1912498"/>
                  </a:xfrm>
                  <a:solidFill>
                    <a:srgbClr val="FFFFFF">
                      <a:alpha val="9000"/>
                    </a:srgbClr>
                  </a:solidFill>
                </p:grpSpPr>
                <p:sp>
                  <p:nvSpPr>
                    <p:cNvPr id="288" name="Freeform 316"/>
                    <p:cNvSpPr>
                      <a:spLocks/>
                    </p:cNvSpPr>
                    <p:nvPr/>
                  </p:nvSpPr>
                  <p:spPr bwMode="auto">
                    <a:xfrm>
                      <a:off x="3824288" y="3986213"/>
                      <a:ext cx="365125" cy="65088"/>
                    </a:xfrm>
                    <a:custGeom>
                      <a:avLst/>
                      <a:gdLst/>
                      <a:ahLst/>
                      <a:cxnLst>
                        <a:cxn ang="0">
                          <a:pos x="13" y="0"/>
                        </a:cxn>
                        <a:cxn ang="0">
                          <a:pos x="26" y="6"/>
                        </a:cxn>
                        <a:cxn ang="0">
                          <a:pos x="39" y="13"/>
                        </a:cxn>
                        <a:cxn ang="0">
                          <a:pos x="52" y="16"/>
                        </a:cxn>
                        <a:cxn ang="0">
                          <a:pos x="65" y="19"/>
                        </a:cxn>
                        <a:cxn ang="0">
                          <a:pos x="78" y="22"/>
                        </a:cxn>
                        <a:cxn ang="0">
                          <a:pos x="93" y="23"/>
                        </a:cxn>
                        <a:cxn ang="0">
                          <a:pos x="106" y="24"/>
                        </a:cxn>
                        <a:cxn ang="0">
                          <a:pos x="120" y="23"/>
                        </a:cxn>
                        <a:cxn ang="0">
                          <a:pos x="134" y="22"/>
                        </a:cxn>
                        <a:cxn ang="0">
                          <a:pos x="147" y="20"/>
                        </a:cxn>
                        <a:cxn ang="0">
                          <a:pos x="161" y="18"/>
                        </a:cxn>
                        <a:cxn ang="0">
                          <a:pos x="176" y="15"/>
                        </a:cxn>
                        <a:cxn ang="0">
                          <a:pos x="189" y="13"/>
                        </a:cxn>
                        <a:cxn ang="0">
                          <a:pos x="203" y="9"/>
                        </a:cxn>
                        <a:cxn ang="0">
                          <a:pos x="216" y="6"/>
                        </a:cxn>
                        <a:cxn ang="0">
                          <a:pos x="230" y="2"/>
                        </a:cxn>
                        <a:cxn ang="0">
                          <a:pos x="230" y="15"/>
                        </a:cxn>
                        <a:cxn ang="0">
                          <a:pos x="221" y="19"/>
                        </a:cxn>
                        <a:cxn ang="0">
                          <a:pos x="212" y="23"/>
                        </a:cxn>
                        <a:cxn ang="0">
                          <a:pos x="200" y="27"/>
                        </a:cxn>
                        <a:cxn ang="0">
                          <a:pos x="189" y="29"/>
                        </a:cxn>
                        <a:cxn ang="0">
                          <a:pos x="174" y="33"/>
                        </a:cxn>
                        <a:cxn ang="0">
                          <a:pos x="161" y="36"/>
                        </a:cxn>
                        <a:cxn ang="0">
                          <a:pos x="146" y="39"/>
                        </a:cxn>
                        <a:cxn ang="0">
                          <a:pos x="132" y="41"/>
                        </a:cxn>
                        <a:cxn ang="0">
                          <a:pos x="115" y="41"/>
                        </a:cxn>
                        <a:cxn ang="0">
                          <a:pos x="99" y="41"/>
                        </a:cxn>
                        <a:cxn ang="0">
                          <a:pos x="82" y="40"/>
                        </a:cxn>
                        <a:cxn ang="0">
                          <a:pos x="65" y="37"/>
                        </a:cxn>
                        <a:cxn ang="0">
                          <a:pos x="50" y="32"/>
                        </a:cxn>
                        <a:cxn ang="0">
                          <a:pos x="33" y="27"/>
                        </a:cxn>
                        <a:cxn ang="0">
                          <a:pos x="16" y="19"/>
                        </a:cxn>
                        <a:cxn ang="0">
                          <a:pos x="0" y="9"/>
                        </a:cxn>
                        <a:cxn ang="0">
                          <a:pos x="13" y="0"/>
                        </a:cxn>
                      </a:cxnLst>
                      <a:rect l="0" t="0" r="r" b="b"/>
                      <a:pathLst>
                        <a:path w="230" h="41">
                          <a:moveTo>
                            <a:pt x="13" y="0"/>
                          </a:moveTo>
                          <a:lnTo>
                            <a:pt x="26" y="6"/>
                          </a:lnTo>
                          <a:lnTo>
                            <a:pt x="39" y="13"/>
                          </a:lnTo>
                          <a:lnTo>
                            <a:pt x="52" y="16"/>
                          </a:lnTo>
                          <a:lnTo>
                            <a:pt x="65" y="19"/>
                          </a:lnTo>
                          <a:lnTo>
                            <a:pt x="78" y="22"/>
                          </a:lnTo>
                          <a:lnTo>
                            <a:pt x="93" y="23"/>
                          </a:lnTo>
                          <a:lnTo>
                            <a:pt x="106" y="24"/>
                          </a:lnTo>
                          <a:lnTo>
                            <a:pt x="120" y="23"/>
                          </a:lnTo>
                          <a:lnTo>
                            <a:pt x="134" y="22"/>
                          </a:lnTo>
                          <a:lnTo>
                            <a:pt x="147" y="20"/>
                          </a:lnTo>
                          <a:lnTo>
                            <a:pt x="161" y="18"/>
                          </a:lnTo>
                          <a:lnTo>
                            <a:pt x="176" y="15"/>
                          </a:lnTo>
                          <a:lnTo>
                            <a:pt x="189" y="13"/>
                          </a:lnTo>
                          <a:lnTo>
                            <a:pt x="203" y="9"/>
                          </a:lnTo>
                          <a:lnTo>
                            <a:pt x="216" y="6"/>
                          </a:lnTo>
                          <a:lnTo>
                            <a:pt x="230" y="2"/>
                          </a:lnTo>
                          <a:lnTo>
                            <a:pt x="230" y="15"/>
                          </a:lnTo>
                          <a:lnTo>
                            <a:pt x="221" y="19"/>
                          </a:lnTo>
                          <a:lnTo>
                            <a:pt x="212" y="23"/>
                          </a:lnTo>
                          <a:lnTo>
                            <a:pt x="200" y="27"/>
                          </a:lnTo>
                          <a:lnTo>
                            <a:pt x="189" y="29"/>
                          </a:lnTo>
                          <a:lnTo>
                            <a:pt x="174" y="33"/>
                          </a:lnTo>
                          <a:lnTo>
                            <a:pt x="161" y="36"/>
                          </a:lnTo>
                          <a:lnTo>
                            <a:pt x="146" y="39"/>
                          </a:lnTo>
                          <a:lnTo>
                            <a:pt x="132" y="41"/>
                          </a:lnTo>
                          <a:lnTo>
                            <a:pt x="115" y="41"/>
                          </a:lnTo>
                          <a:lnTo>
                            <a:pt x="99" y="41"/>
                          </a:lnTo>
                          <a:lnTo>
                            <a:pt x="82" y="40"/>
                          </a:lnTo>
                          <a:lnTo>
                            <a:pt x="65" y="37"/>
                          </a:lnTo>
                          <a:lnTo>
                            <a:pt x="50" y="32"/>
                          </a:lnTo>
                          <a:lnTo>
                            <a:pt x="33" y="27"/>
                          </a:lnTo>
                          <a:lnTo>
                            <a:pt x="16" y="19"/>
                          </a:lnTo>
                          <a:lnTo>
                            <a:pt x="0" y="9"/>
                          </a:lnTo>
                          <a:lnTo>
                            <a:pt x="13" y="0"/>
                          </a:lnTo>
                          <a:close/>
                        </a:path>
                      </a:pathLst>
                    </a:custGeom>
                    <a:grpFill/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pPr fontAlgn="auto">
                        <a:spcBef>
                          <a:spcPts val="0"/>
                        </a:spcBef>
                        <a:spcAft>
                          <a:spcPts val="0"/>
                        </a:spcAft>
                        <a:defRPr/>
                      </a:pPr>
                      <a:endParaRPr lang="da-DK" kern="0">
                        <a:solidFill>
                          <a:sysClr val="windowText" lastClr="000000"/>
                        </a:solidFill>
                        <a:latin typeface="+mn-lt"/>
                        <a:ea typeface="ＭＳ Ｐゴシック" pitchFamily="-97" charset="-128"/>
                        <a:cs typeface="+mn-cs"/>
                      </a:endParaRPr>
                    </a:p>
                  </p:txBody>
                </p:sp>
                <p:sp>
                  <p:nvSpPr>
                    <p:cNvPr id="289" name="Freeform 330"/>
                    <p:cNvSpPr>
                      <a:spLocks/>
                    </p:cNvSpPr>
                    <p:nvPr/>
                  </p:nvSpPr>
                  <p:spPr bwMode="auto">
                    <a:xfrm>
                      <a:off x="3656013" y="4872038"/>
                      <a:ext cx="684213" cy="173038"/>
                    </a:xfrm>
                    <a:custGeom>
                      <a:avLst/>
                      <a:gdLst/>
                      <a:ahLst/>
                      <a:cxnLst>
                        <a:cxn ang="0">
                          <a:pos x="27" y="5"/>
                        </a:cxn>
                        <a:cxn ang="0">
                          <a:pos x="77" y="45"/>
                        </a:cxn>
                        <a:cxn ang="0">
                          <a:pos x="100" y="51"/>
                        </a:cxn>
                        <a:cxn ang="0">
                          <a:pos x="122" y="54"/>
                        </a:cxn>
                        <a:cxn ang="0">
                          <a:pos x="143" y="60"/>
                        </a:cxn>
                        <a:cxn ang="0">
                          <a:pos x="162" y="62"/>
                        </a:cxn>
                        <a:cxn ang="0">
                          <a:pos x="180" y="65"/>
                        </a:cxn>
                        <a:cxn ang="0">
                          <a:pos x="199" y="67"/>
                        </a:cxn>
                        <a:cxn ang="0">
                          <a:pos x="217" y="67"/>
                        </a:cxn>
                        <a:cxn ang="0">
                          <a:pos x="234" y="67"/>
                        </a:cxn>
                        <a:cxn ang="0">
                          <a:pos x="251" y="66"/>
                        </a:cxn>
                        <a:cxn ang="0">
                          <a:pos x="267" y="65"/>
                        </a:cxn>
                        <a:cxn ang="0">
                          <a:pos x="286" y="61"/>
                        </a:cxn>
                        <a:cxn ang="0">
                          <a:pos x="304" y="57"/>
                        </a:cxn>
                        <a:cxn ang="0">
                          <a:pos x="322" y="52"/>
                        </a:cxn>
                        <a:cxn ang="0">
                          <a:pos x="343" y="44"/>
                        </a:cxn>
                        <a:cxn ang="0">
                          <a:pos x="363" y="36"/>
                        </a:cxn>
                        <a:cxn ang="0">
                          <a:pos x="386" y="26"/>
                        </a:cxn>
                        <a:cxn ang="0">
                          <a:pos x="392" y="12"/>
                        </a:cxn>
                        <a:cxn ang="0">
                          <a:pos x="397" y="4"/>
                        </a:cxn>
                        <a:cxn ang="0">
                          <a:pos x="401" y="0"/>
                        </a:cxn>
                        <a:cxn ang="0">
                          <a:pos x="405" y="1"/>
                        </a:cxn>
                        <a:cxn ang="0">
                          <a:pos x="409" y="5"/>
                        </a:cxn>
                        <a:cxn ang="0">
                          <a:pos x="414" y="13"/>
                        </a:cxn>
                        <a:cxn ang="0">
                          <a:pos x="422" y="23"/>
                        </a:cxn>
                        <a:cxn ang="0">
                          <a:pos x="431" y="36"/>
                        </a:cxn>
                        <a:cxn ang="0">
                          <a:pos x="413" y="62"/>
                        </a:cxn>
                        <a:cxn ang="0">
                          <a:pos x="393" y="74"/>
                        </a:cxn>
                        <a:cxn ang="0">
                          <a:pos x="371" y="83"/>
                        </a:cxn>
                        <a:cxn ang="0">
                          <a:pos x="349" y="91"/>
                        </a:cxn>
                        <a:cxn ang="0">
                          <a:pos x="325" y="97"/>
                        </a:cxn>
                        <a:cxn ang="0">
                          <a:pos x="300" y="103"/>
                        </a:cxn>
                        <a:cxn ang="0">
                          <a:pos x="274" y="106"/>
                        </a:cxn>
                        <a:cxn ang="0">
                          <a:pos x="247" y="109"/>
                        </a:cxn>
                        <a:cxn ang="0">
                          <a:pos x="221" y="109"/>
                        </a:cxn>
                        <a:cxn ang="0">
                          <a:pos x="193" y="109"/>
                        </a:cxn>
                        <a:cxn ang="0">
                          <a:pos x="166" y="108"/>
                        </a:cxn>
                        <a:cxn ang="0">
                          <a:pos x="140" y="104"/>
                        </a:cxn>
                        <a:cxn ang="0">
                          <a:pos x="114" y="100"/>
                        </a:cxn>
                        <a:cxn ang="0">
                          <a:pos x="88" y="95"/>
                        </a:cxn>
                        <a:cxn ang="0">
                          <a:pos x="65" y="90"/>
                        </a:cxn>
                        <a:cxn ang="0">
                          <a:pos x="42" y="82"/>
                        </a:cxn>
                        <a:cxn ang="0">
                          <a:pos x="21" y="74"/>
                        </a:cxn>
                        <a:cxn ang="0">
                          <a:pos x="13" y="64"/>
                        </a:cxn>
                        <a:cxn ang="0">
                          <a:pos x="7" y="53"/>
                        </a:cxn>
                        <a:cxn ang="0">
                          <a:pos x="3" y="43"/>
                        </a:cxn>
                        <a:cxn ang="0">
                          <a:pos x="0" y="32"/>
                        </a:cxn>
                        <a:cxn ang="0">
                          <a:pos x="0" y="23"/>
                        </a:cxn>
                        <a:cxn ang="0">
                          <a:pos x="5" y="16"/>
                        </a:cxn>
                        <a:cxn ang="0">
                          <a:pos x="13" y="9"/>
                        </a:cxn>
                        <a:cxn ang="0">
                          <a:pos x="27" y="5"/>
                        </a:cxn>
                      </a:cxnLst>
                      <a:rect l="0" t="0" r="r" b="b"/>
                      <a:pathLst>
                        <a:path w="431" h="109">
                          <a:moveTo>
                            <a:pt x="27" y="5"/>
                          </a:moveTo>
                          <a:lnTo>
                            <a:pt x="77" y="45"/>
                          </a:lnTo>
                          <a:lnTo>
                            <a:pt x="100" y="51"/>
                          </a:lnTo>
                          <a:lnTo>
                            <a:pt x="122" y="54"/>
                          </a:lnTo>
                          <a:lnTo>
                            <a:pt x="143" y="60"/>
                          </a:lnTo>
                          <a:lnTo>
                            <a:pt x="162" y="62"/>
                          </a:lnTo>
                          <a:lnTo>
                            <a:pt x="180" y="65"/>
                          </a:lnTo>
                          <a:lnTo>
                            <a:pt x="199" y="67"/>
                          </a:lnTo>
                          <a:lnTo>
                            <a:pt x="217" y="67"/>
                          </a:lnTo>
                          <a:lnTo>
                            <a:pt x="234" y="67"/>
                          </a:lnTo>
                          <a:lnTo>
                            <a:pt x="251" y="66"/>
                          </a:lnTo>
                          <a:lnTo>
                            <a:pt x="267" y="65"/>
                          </a:lnTo>
                          <a:lnTo>
                            <a:pt x="286" y="61"/>
                          </a:lnTo>
                          <a:lnTo>
                            <a:pt x="304" y="57"/>
                          </a:lnTo>
                          <a:lnTo>
                            <a:pt x="322" y="52"/>
                          </a:lnTo>
                          <a:lnTo>
                            <a:pt x="343" y="44"/>
                          </a:lnTo>
                          <a:lnTo>
                            <a:pt x="363" y="36"/>
                          </a:lnTo>
                          <a:lnTo>
                            <a:pt x="386" y="26"/>
                          </a:lnTo>
                          <a:lnTo>
                            <a:pt x="392" y="12"/>
                          </a:lnTo>
                          <a:lnTo>
                            <a:pt x="397" y="4"/>
                          </a:lnTo>
                          <a:lnTo>
                            <a:pt x="401" y="0"/>
                          </a:lnTo>
                          <a:lnTo>
                            <a:pt x="405" y="1"/>
                          </a:lnTo>
                          <a:lnTo>
                            <a:pt x="409" y="5"/>
                          </a:lnTo>
                          <a:lnTo>
                            <a:pt x="414" y="13"/>
                          </a:lnTo>
                          <a:lnTo>
                            <a:pt x="422" y="23"/>
                          </a:lnTo>
                          <a:lnTo>
                            <a:pt x="431" y="36"/>
                          </a:lnTo>
                          <a:lnTo>
                            <a:pt x="413" y="62"/>
                          </a:lnTo>
                          <a:lnTo>
                            <a:pt x="393" y="74"/>
                          </a:lnTo>
                          <a:lnTo>
                            <a:pt x="371" y="83"/>
                          </a:lnTo>
                          <a:lnTo>
                            <a:pt x="349" y="91"/>
                          </a:lnTo>
                          <a:lnTo>
                            <a:pt x="325" y="97"/>
                          </a:lnTo>
                          <a:lnTo>
                            <a:pt x="300" y="103"/>
                          </a:lnTo>
                          <a:lnTo>
                            <a:pt x="274" y="106"/>
                          </a:lnTo>
                          <a:lnTo>
                            <a:pt x="247" y="109"/>
                          </a:lnTo>
                          <a:lnTo>
                            <a:pt x="221" y="109"/>
                          </a:lnTo>
                          <a:lnTo>
                            <a:pt x="193" y="109"/>
                          </a:lnTo>
                          <a:lnTo>
                            <a:pt x="166" y="108"/>
                          </a:lnTo>
                          <a:lnTo>
                            <a:pt x="140" y="104"/>
                          </a:lnTo>
                          <a:lnTo>
                            <a:pt x="114" y="100"/>
                          </a:lnTo>
                          <a:lnTo>
                            <a:pt x="88" y="95"/>
                          </a:lnTo>
                          <a:lnTo>
                            <a:pt x="65" y="90"/>
                          </a:lnTo>
                          <a:lnTo>
                            <a:pt x="42" y="82"/>
                          </a:lnTo>
                          <a:lnTo>
                            <a:pt x="21" y="74"/>
                          </a:lnTo>
                          <a:lnTo>
                            <a:pt x="13" y="64"/>
                          </a:lnTo>
                          <a:lnTo>
                            <a:pt x="7" y="53"/>
                          </a:lnTo>
                          <a:lnTo>
                            <a:pt x="3" y="43"/>
                          </a:lnTo>
                          <a:lnTo>
                            <a:pt x="0" y="32"/>
                          </a:lnTo>
                          <a:lnTo>
                            <a:pt x="0" y="23"/>
                          </a:lnTo>
                          <a:lnTo>
                            <a:pt x="5" y="16"/>
                          </a:lnTo>
                          <a:lnTo>
                            <a:pt x="13" y="9"/>
                          </a:lnTo>
                          <a:lnTo>
                            <a:pt x="27" y="5"/>
                          </a:lnTo>
                          <a:close/>
                        </a:path>
                      </a:pathLst>
                    </a:custGeom>
                    <a:grpFill/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pPr fontAlgn="auto">
                        <a:spcBef>
                          <a:spcPts val="0"/>
                        </a:spcBef>
                        <a:spcAft>
                          <a:spcPts val="0"/>
                        </a:spcAft>
                        <a:defRPr/>
                      </a:pPr>
                      <a:endParaRPr lang="da-DK" kern="0">
                        <a:solidFill>
                          <a:sysClr val="windowText" lastClr="000000"/>
                        </a:solidFill>
                        <a:latin typeface="+mn-lt"/>
                        <a:ea typeface="ＭＳ Ｐゴシック" pitchFamily="-97" charset="-128"/>
                        <a:cs typeface="+mn-cs"/>
                      </a:endParaRPr>
                    </a:p>
                  </p:txBody>
                </p:sp>
                <p:sp>
                  <p:nvSpPr>
                    <p:cNvPr id="290" name="Freeform 336"/>
                    <p:cNvSpPr>
                      <a:spLocks/>
                    </p:cNvSpPr>
                    <p:nvPr/>
                  </p:nvSpPr>
                  <p:spPr bwMode="auto">
                    <a:xfrm>
                      <a:off x="3781425" y="5231961"/>
                      <a:ext cx="490538" cy="114300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29"/>
                        </a:cxn>
                        <a:cxn ang="0">
                          <a:pos x="3" y="37"/>
                        </a:cxn>
                        <a:cxn ang="0">
                          <a:pos x="7" y="45"/>
                        </a:cxn>
                        <a:cxn ang="0">
                          <a:pos x="11" y="53"/>
                        </a:cxn>
                        <a:cxn ang="0">
                          <a:pos x="15" y="61"/>
                        </a:cxn>
                        <a:cxn ang="0">
                          <a:pos x="22" y="62"/>
                        </a:cxn>
                        <a:cxn ang="0">
                          <a:pos x="29" y="63"/>
                        </a:cxn>
                        <a:cxn ang="0">
                          <a:pos x="37" y="65"/>
                        </a:cxn>
                        <a:cxn ang="0">
                          <a:pos x="44" y="66"/>
                        </a:cxn>
                        <a:cxn ang="0">
                          <a:pos x="51" y="67"/>
                        </a:cxn>
                        <a:cxn ang="0">
                          <a:pos x="59" y="68"/>
                        </a:cxn>
                        <a:cxn ang="0">
                          <a:pos x="65" y="71"/>
                        </a:cxn>
                        <a:cxn ang="0">
                          <a:pos x="73" y="72"/>
                        </a:cxn>
                        <a:cxn ang="0">
                          <a:pos x="91" y="72"/>
                        </a:cxn>
                        <a:cxn ang="0">
                          <a:pos x="109" y="71"/>
                        </a:cxn>
                        <a:cxn ang="0">
                          <a:pos x="127" y="71"/>
                        </a:cxn>
                        <a:cxn ang="0">
                          <a:pos x="146" y="70"/>
                        </a:cxn>
                        <a:cxn ang="0">
                          <a:pos x="164" y="70"/>
                        </a:cxn>
                        <a:cxn ang="0">
                          <a:pos x="183" y="68"/>
                        </a:cxn>
                        <a:cxn ang="0">
                          <a:pos x="201" y="68"/>
                        </a:cxn>
                        <a:cxn ang="0">
                          <a:pos x="220" y="67"/>
                        </a:cxn>
                        <a:cxn ang="0">
                          <a:pos x="231" y="65"/>
                        </a:cxn>
                        <a:cxn ang="0">
                          <a:pos x="242" y="61"/>
                        </a:cxn>
                        <a:cxn ang="0">
                          <a:pos x="253" y="58"/>
                        </a:cxn>
                        <a:cxn ang="0">
                          <a:pos x="265" y="54"/>
                        </a:cxn>
                        <a:cxn ang="0">
                          <a:pos x="275" y="52"/>
                        </a:cxn>
                        <a:cxn ang="0">
                          <a:pos x="287" y="48"/>
                        </a:cxn>
                        <a:cxn ang="0">
                          <a:pos x="297" y="45"/>
                        </a:cxn>
                        <a:cxn ang="0">
                          <a:pos x="309" y="41"/>
                        </a:cxn>
                        <a:cxn ang="0">
                          <a:pos x="309" y="26"/>
                        </a:cxn>
                        <a:cxn ang="0">
                          <a:pos x="307" y="13"/>
                        </a:cxn>
                        <a:cxn ang="0">
                          <a:pos x="303" y="5"/>
                        </a:cxn>
                        <a:cxn ang="0">
                          <a:pos x="297" y="1"/>
                        </a:cxn>
                        <a:cxn ang="0">
                          <a:pos x="290" y="0"/>
                        </a:cxn>
                        <a:cxn ang="0">
                          <a:pos x="279" y="0"/>
                        </a:cxn>
                        <a:cxn ang="0">
                          <a:pos x="268" y="4"/>
                        </a:cxn>
                        <a:cxn ang="0">
                          <a:pos x="252" y="9"/>
                        </a:cxn>
                        <a:cxn ang="0">
                          <a:pos x="242" y="9"/>
                        </a:cxn>
                        <a:cxn ang="0">
                          <a:pos x="231" y="10"/>
                        </a:cxn>
                        <a:cxn ang="0">
                          <a:pos x="221" y="10"/>
                        </a:cxn>
                        <a:cxn ang="0">
                          <a:pos x="211" y="10"/>
                        </a:cxn>
                        <a:cxn ang="0">
                          <a:pos x="200" y="10"/>
                        </a:cxn>
                        <a:cxn ang="0">
                          <a:pos x="188" y="10"/>
                        </a:cxn>
                        <a:cxn ang="0">
                          <a:pos x="178" y="11"/>
                        </a:cxn>
                        <a:cxn ang="0">
                          <a:pos x="168" y="11"/>
                        </a:cxn>
                        <a:cxn ang="0">
                          <a:pos x="140" y="10"/>
                        </a:cxn>
                        <a:cxn ang="0">
                          <a:pos x="116" y="9"/>
                        </a:cxn>
                        <a:cxn ang="0">
                          <a:pos x="96" y="6"/>
                        </a:cxn>
                        <a:cxn ang="0">
                          <a:pos x="77" y="5"/>
                        </a:cxn>
                        <a:cxn ang="0">
                          <a:pos x="60" y="6"/>
                        </a:cxn>
                        <a:cxn ang="0">
                          <a:pos x="42" y="9"/>
                        </a:cxn>
                        <a:cxn ang="0">
                          <a:pos x="22" y="16"/>
                        </a:cxn>
                        <a:cxn ang="0">
                          <a:pos x="0" y="29"/>
                        </a:cxn>
                      </a:cxnLst>
                      <a:rect l="0" t="0" r="r" b="b"/>
                      <a:pathLst>
                        <a:path w="309" h="72">
                          <a:moveTo>
                            <a:pt x="0" y="29"/>
                          </a:moveTo>
                          <a:lnTo>
                            <a:pt x="3" y="37"/>
                          </a:lnTo>
                          <a:lnTo>
                            <a:pt x="7" y="45"/>
                          </a:lnTo>
                          <a:lnTo>
                            <a:pt x="11" y="53"/>
                          </a:lnTo>
                          <a:lnTo>
                            <a:pt x="15" y="61"/>
                          </a:lnTo>
                          <a:lnTo>
                            <a:pt x="22" y="62"/>
                          </a:lnTo>
                          <a:lnTo>
                            <a:pt x="29" y="63"/>
                          </a:lnTo>
                          <a:lnTo>
                            <a:pt x="37" y="65"/>
                          </a:lnTo>
                          <a:lnTo>
                            <a:pt x="44" y="66"/>
                          </a:lnTo>
                          <a:lnTo>
                            <a:pt x="51" y="67"/>
                          </a:lnTo>
                          <a:lnTo>
                            <a:pt x="59" y="68"/>
                          </a:lnTo>
                          <a:lnTo>
                            <a:pt x="65" y="71"/>
                          </a:lnTo>
                          <a:lnTo>
                            <a:pt x="73" y="72"/>
                          </a:lnTo>
                          <a:lnTo>
                            <a:pt x="91" y="72"/>
                          </a:lnTo>
                          <a:lnTo>
                            <a:pt x="109" y="71"/>
                          </a:lnTo>
                          <a:lnTo>
                            <a:pt x="127" y="71"/>
                          </a:lnTo>
                          <a:lnTo>
                            <a:pt x="146" y="70"/>
                          </a:lnTo>
                          <a:lnTo>
                            <a:pt x="164" y="70"/>
                          </a:lnTo>
                          <a:lnTo>
                            <a:pt x="183" y="68"/>
                          </a:lnTo>
                          <a:lnTo>
                            <a:pt x="201" y="68"/>
                          </a:lnTo>
                          <a:lnTo>
                            <a:pt x="220" y="67"/>
                          </a:lnTo>
                          <a:lnTo>
                            <a:pt x="231" y="65"/>
                          </a:lnTo>
                          <a:lnTo>
                            <a:pt x="242" y="61"/>
                          </a:lnTo>
                          <a:lnTo>
                            <a:pt x="253" y="58"/>
                          </a:lnTo>
                          <a:lnTo>
                            <a:pt x="265" y="54"/>
                          </a:lnTo>
                          <a:lnTo>
                            <a:pt x="275" y="52"/>
                          </a:lnTo>
                          <a:lnTo>
                            <a:pt x="287" y="48"/>
                          </a:lnTo>
                          <a:lnTo>
                            <a:pt x="297" y="45"/>
                          </a:lnTo>
                          <a:lnTo>
                            <a:pt x="309" y="41"/>
                          </a:lnTo>
                          <a:lnTo>
                            <a:pt x="309" y="26"/>
                          </a:lnTo>
                          <a:lnTo>
                            <a:pt x="307" y="13"/>
                          </a:lnTo>
                          <a:lnTo>
                            <a:pt x="303" y="5"/>
                          </a:lnTo>
                          <a:lnTo>
                            <a:pt x="297" y="1"/>
                          </a:lnTo>
                          <a:lnTo>
                            <a:pt x="290" y="0"/>
                          </a:lnTo>
                          <a:lnTo>
                            <a:pt x="279" y="0"/>
                          </a:lnTo>
                          <a:lnTo>
                            <a:pt x="268" y="4"/>
                          </a:lnTo>
                          <a:lnTo>
                            <a:pt x="252" y="9"/>
                          </a:lnTo>
                          <a:lnTo>
                            <a:pt x="242" y="9"/>
                          </a:lnTo>
                          <a:lnTo>
                            <a:pt x="231" y="10"/>
                          </a:lnTo>
                          <a:lnTo>
                            <a:pt x="221" y="10"/>
                          </a:lnTo>
                          <a:lnTo>
                            <a:pt x="211" y="10"/>
                          </a:lnTo>
                          <a:lnTo>
                            <a:pt x="200" y="10"/>
                          </a:lnTo>
                          <a:lnTo>
                            <a:pt x="188" y="10"/>
                          </a:lnTo>
                          <a:lnTo>
                            <a:pt x="178" y="11"/>
                          </a:lnTo>
                          <a:lnTo>
                            <a:pt x="168" y="11"/>
                          </a:lnTo>
                          <a:lnTo>
                            <a:pt x="140" y="10"/>
                          </a:lnTo>
                          <a:lnTo>
                            <a:pt x="116" y="9"/>
                          </a:lnTo>
                          <a:lnTo>
                            <a:pt x="96" y="6"/>
                          </a:lnTo>
                          <a:lnTo>
                            <a:pt x="77" y="5"/>
                          </a:lnTo>
                          <a:lnTo>
                            <a:pt x="60" y="6"/>
                          </a:lnTo>
                          <a:lnTo>
                            <a:pt x="42" y="9"/>
                          </a:lnTo>
                          <a:lnTo>
                            <a:pt x="22" y="16"/>
                          </a:lnTo>
                          <a:lnTo>
                            <a:pt x="0" y="29"/>
                          </a:lnTo>
                          <a:close/>
                        </a:path>
                      </a:pathLst>
                    </a:custGeom>
                    <a:grpFill/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pPr fontAlgn="auto">
                        <a:spcBef>
                          <a:spcPts val="0"/>
                        </a:spcBef>
                        <a:spcAft>
                          <a:spcPts val="0"/>
                        </a:spcAft>
                        <a:defRPr/>
                      </a:pPr>
                      <a:endParaRPr lang="da-DK" kern="0">
                        <a:solidFill>
                          <a:sysClr val="windowText" lastClr="000000"/>
                        </a:solidFill>
                        <a:latin typeface="+mn-lt"/>
                        <a:ea typeface="ＭＳ Ｐゴシック" pitchFamily="-97" charset="-128"/>
                        <a:cs typeface="+mn-cs"/>
                      </a:endParaRPr>
                    </a:p>
                  </p:txBody>
                </p:sp>
                <p:sp>
                  <p:nvSpPr>
                    <p:cNvPr id="291" name="Freeform 353"/>
                    <p:cNvSpPr>
                      <a:spLocks/>
                    </p:cNvSpPr>
                    <p:nvPr/>
                  </p:nvSpPr>
                  <p:spPr bwMode="auto">
                    <a:xfrm>
                      <a:off x="3932238" y="4217988"/>
                      <a:ext cx="177800" cy="39688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11"/>
                        </a:cxn>
                        <a:cxn ang="0">
                          <a:pos x="5" y="17"/>
                        </a:cxn>
                        <a:cxn ang="0">
                          <a:pos x="26" y="25"/>
                        </a:cxn>
                        <a:cxn ang="0">
                          <a:pos x="80" y="20"/>
                        </a:cxn>
                        <a:cxn ang="0">
                          <a:pos x="112" y="13"/>
                        </a:cxn>
                        <a:cxn ang="0">
                          <a:pos x="110" y="4"/>
                        </a:cxn>
                        <a:cxn ang="0">
                          <a:pos x="108" y="0"/>
                        </a:cxn>
                        <a:cxn ang="0">
                          <a:pos x="103" y="2"/>
                        </a:cxn>
                        <a:cxn ang="0">
                          <a:pos x="92" y="4"/>
                        </a:cxn>
                        <a:cxn ang="0">
                          <a:pos x="61" y="6"/>
                        </a:cxn>
                        <a:cxn ang="0">
                          <a:pos x="51" y="6"/>
                        </a:cxn>
                        <a:cxn ang="0">
                          <a:pos x="43" y="4"/>
                        </a:cxn>
                        <a:cxn ang="0">
                          <a:pos x="35" y="4"/>
                        </a:cxn>
                        <a:cxn ang="0">
                          <a:pos x="29" y="3"/>
                        </a:cxn>
                        <a:cxn ang="0">
                          <a:pos x="22" y="3"/>
                        </a:cxn>
                        <a:cxn ang="0">
                          <a:pos x="14" y="4"/>
                        </a:cxn>
                        <a:cxn ang="0">
                          <a:pos x="8" y="7"/>
                        </a:cxn>
                        <a:cxn ang="0">
                          <a:pos x="0" y="11"/>
                        </a:cxn>
                      </a:cxnLst>
                      <a:rect l="0" t="0" r="r" b="b"/>
                      <a:pathLst>
                        <a:path w="112" h="25">
                          <a:moveTo>
                            <a:pt x="0" y="11"/>
                          </a:moveTo>
                          <a:lnTo>
                            <a:pt x="5" y="17"/>
                          </a:lnTo>
                          <a:lnTo>
                            <a:pt x="26" y="25"/>
                          </a:lnTo>
                          <a:lnTo>
                            <a:pt x="80" y="20"/>
                          </a:lnTo>
                          <a:lnTo>
                            <a:pt x="112" y="13"/>
                          </a:lnTo>
                          <a:lnTo>
                            <a:pt x="110" y="4"/>
                          </a:lnTo>
                          <a:lnTo>
                            <a:pt x="108" y="0"/>
                          </a:lnTo>
                          <a:lnTo>
                            <a:pt x="103" y="2"/>
                          </a:lnTo>
                          <a:lnTo>
                            <a:pt x="92" y="4"/>
                          </a:lnTo>
                          <a:lnTo>
                            <a:pt x="61" y="6"/>
                          </a:lnTo>
                          <a:lnTo>
                            <a:pt x="51" y="6"/>
                          </a:lnTo>
                          <a:lnTo>
                            <a:pt x="43" y="4"/>
                          </a:lnTo>
                          <a:lnTo>
                            <a:pt x="35" y="4"/>
                          </a:lnTo>
                          <a:lnTo>
                            <a:pt x="29" y="3"/>
                          </a:lnTo>
                          <a:lnTo>
                            <a:pt x="22" y="3"/>
                          </a:lnTo>
                          <a:lnTo>
                            <a:pt x="14" y="4"/>
                          </a:lnTo>
                          <a:lnTo>
                            <a:pt x="8" y="7"/>
                          </a:lnTo>
                          <a:lnTo>
                            <a:pt x="0" y="11"/>
                          </a:lnTo>
                          <a:close/>
                        </a:path>
                      </a:pathLst>
                    </a:custGeom>
                    <a:grpFill/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pPr fontAlgn="auto">
                        <a:spcBef>
                          <a:spcPts val="0"/>
                        </a:spcBef>
                        <a:spcAft>
                          <a:spcPts val="0"/>
                        </a:spcAft>
                        <a:defRPr/>
                      </a:pPr>
                      <a:endParaRPr lang="da-DK" kern="0">
                        <a:solidFill>
                          <a:sysClr val="windowText" lastClr="000000"/>
                        </a:solidFill>
                        <a:latin typeface="+mn-lt"/>
                        <a:ea typeface="ＭＳ Ｐゴシック" pitchFamily="-97" charset="-128"/>
                        <a:cs typeface="+mn-cs"/>
                      </a:endParaRPr>
                    </a:p>
                  </p:txBody>
                </p:sp>
                <p:sp>
                  <p:nvSpPr>
                    <p:cNvPr id="292" name="Freeform 363"/>
                    <p:cNvSpPr>
                      <a:spLocks/>
                    </p:cNvSpPr>
                    <p:nvPr/>
                  </p:nvSpPr>
                  <p:spPr bwMode="auto">
                    <a:xfrm>
                      <a:off x="3944938" y="3713163"/>
                      <a:ext cx="193675" cy="42863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12"/>
                        </a:cxn>
                        <a:cxn ang="0">
                          <a:pos x="1" y="14"/>
                        </a:cxn>
                        <a:cxn ang="0">
                          <a:pos x="2" y="16"/>
                        </a:cxn>
                        <a:cxn ang="0">
                          <a:pos x="4" y="18"/>
                        </a:cxn>
                        <a:cxn ang="0">
                          <a:pos x="5" y="21"/>
                        </a:cxn>
                        <a:cxn ang="0">
                          <a:pos x="11" y="22"/>
                        </a:cxn>
                        <a:cxn ang="0">
                          <a:pos x="17" y="24"/>
                        </a:cxn>
                        <a:cxn ang="0">
                          <a:pos x="23" y="26"/>
                        </a:cxn>
                        <a:cxn ang="0">
                          <a:pos x="28" y="27"/>
                        </a:cxn>
                        <a:cxn ang="0">
                          <a:pos x="36" y="27"/>
                        </a:cxn>
                        <a:cxn ang="0">
                          <a:pos x="43" y="26"/>
                        </a:cxn>
                        <a:cxn ang="0">
                          <a:pos x="50" y="26"/>
                        </a:cxn>
                        <a:cxn ang="0">
                          <a:pos x="58" y="25"/>
                        </a:cxn>
                        <a:cxn ang="0">
                          <a:pos x="65" y="25"/>
                        </a:cxn>
                        <a:cxn ang="0">
                          <a:pos x="72" y="25"/>
                        </a:cxn>
                        <a:cxn ang="0">
                          <a:pos x="79" y="24"/>
                        </a:cxn>
                        <a:cxn ang="0">
                          <a:pos x="87" y="24"/>
                        </a:cxn>
                        <a:cxn ang="0">
                          <a:pos x="96" y="21"/>
                        </a:cxn>
                        <a:cxn ang="0">
                          <a:pos x="105" y="20"/>
                        </a:cxn>
                        <a:cxn ang="0">
                          <a:pos x="113" y="17"/>
                        </a:cxn>
                        <a:cxn ang="0">
                          <a:pos x="122" y="16"/>
                        </a:cxn>
                        <a:cxn ang="0">
                          <a:pos x="120" y="5"/>
                        </a:cxn>
                        <a:cxn ang="0">
                          <a:pos x="118" y="0"/>
                        </a:cxn>
                        <a:cxn ang="0">
                          <a:pos x="111" y="2"/>
                        </a:cxn>
                        <a:cxn ang="0">
                          <a:pos x="100" y="4"/>
                        </a:cxn>
                        <a:cxn ang="0">
                          <a:pos x="92" y="5"/>
                        </a:cxn>
                        <a:cxn ang="0">
                          <a:pos x="83" y="5"/>
                        </a:cxn>
                        <a:cxn ang="0">
                          <a:pos x="75" y="5"/>
                        </a:cxn>
                        <a:cxn ang="0">
                          <a:pos x="66" y="5"/>
                        </a:cxn>
                        <a:cxn ang="0">
                          <a:pos x="56" y="5"/>
                        </a:cxn>
                        <a:cxn ang="0">
                          <a:pos x="47" y="4"/>
                        </a:cxn>
                        <a:cxn ang="0">
                          <a:pos x="37" y="4"/>
                        </a:cxn>
                        <a:cxn ang="0">
                          <a:pos x="31" y="3"/>
                        </a:cxn>
                        <a:cxn ang="0">
                          <a:pos x="23" y="4"/>
                        </a:cxn>
                        <a:cxn ang="0">
                          <a:pos x="17" y="5"/>
                        </a:cxn>
                        <a:cxn ang="0">
                          <a:pos x="9" y="8"/>
                        </a:cxn>
                        <a:cxn ang="0">
                          <a:pos x="0" y="12"/>
                        </a:cxn>
                      </a:cxnLst>
                      <a:rect l="0" t="0" r="r" b="b"/>
                      <a:pathLst>
                        <a:path w="122" h="27">
                          <a:moveTo>
                            <a:pt x="0" y="12"/>
                          </a:moveTo>
                          <a:lnTo>
                            <a:pt x="1" y="14"/>
                          </a:lnTo>
                          <a:lnTo>
                            <a:pt x="2" y="16"/>
                          </a:lnTo>
                          <a:lnTo>
                            <a:pt x="4" y="18"/>
                          </a:lnTo>
                          <a:lnTo>
                            <a:pt x="5" y="21"/>
                          </a:lnTo>
                          <a:lnTo>
                            <a:pt x="11" y="22"/>
                          </a:lnTo>
                          <a:lnTo>
                            <a:pt x="17" y="24"/>
                          </a:lnTo>
                          <a:lnTo>
                            <a:pt x="23" y="26"/>
                          </a:lnTo>
                          <a:lnTo>
                            <a:pt x="28" y="27"/>
                          </a:lnTo>
                          <a:lnTo>
                            <a:pt x="36" y="27"/>
                          </a:lnTo>
                          <a:lnTo>
                            <a:pt x="43" y="26"/>
                          </a:lnTo>
                          <a:lnTo>
                            <a:pt x="50" y="26"/>
                          </a:lnTo>
                          <a:lnTo>
                            <a:pt x="58" y="25"/>
                          </a:lnTo>
                          <a:lnTo>
                            <a:pt x="65" y="25"/>
                          </a:lnTo>
                          <a:lnTo>
                            <a:pt x="72" y="25"/>
                          </a:lnTo>
                          <a:lnTo>
                            <a:pt x="79" y="24"/>
                          </a:lnTo>
                          <a:lnTo>
                            <a:pt x="87" y="24"/>
                          </a:lnTo>
                          <a:lnTo>
                            <a:pt x="96" y="21"/>
                          </a:lnTo>
                          <a:lnTo>
                            <a:pt x="105" y="20"/>
                          </a:lnTo>
                          <a:lnTo>
                            <a:pt x="113" y="17"/>
                          </a:lnTo>
                          <a:lnTo>
                            <a:pt x="122" y="16"/>
                          </a:lnTo>
                          <a:lnTo>
                            <a:pt x="120" y="5"/>
                          </a:lnTo>
                          <a:lnTo>
                            <a:pt x="118" y="0"/>
                          </a:lnTo>
                          <a:lnTo>
                            <a:pt x="111" y="2"/>
                          </a:lnTo>
                          <a:lnTo>
                            <a:pt x="100" y="4"/>
                          </a:lnTo>
                          <a:lnTo>
                            <a:pt x="92" y="5"/>
                          </a:lnTo>
                          <a:lnTo>
                            <a:pt x="83" y="5"/>
                          </a:lnTo>
                          <a:lnTo>
                            <a:pt x="75" y="5"/>
                          </a:lnTo>
                          <a:lnTo>
                            <a:pt x="66" y="5"/>
                          </a:lnTo>
                          <a:lnTo>
                            <a:pt x="56" y="5"/>
                          </a:lnTo>
                          <a:lnTo>
                            <a:pt x="47" y="4"/>
                          </a:lnTo>
                          <a:lnTo>
                            <a:pt x="37" y="4"/>
                          </a:lnTo>
                          <a:lnTo>
                            <a:pt x="31" y="3"/>
                          </a:lnTo>
                          <a:lnTo>
                            <a:pt x="23" y="4"/>
                          </a:lnTo>
                          <a:lnTo>
                            <a:pt x="17" y="5"/>
                          </a:lnTo>
                          <a:lnTo>
                            <a:pt x="9" y="8"/>
                          </a:lnTo>
                          <a:lnTo>
                            <a:pt x="0" y="12"/>
                          </a:lnTo>
                          <a:close/>
                        </a:path>
                      </a:pathLst>
                    </a:custGeom>
                    <a:grpFill/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pPr fontAlgn="auto">
                        <a:spcBef>
                          <a:spcPts val="0"/>
                        </a:spcBef>
                        <a:spcAft>
                          <a:spcPts val="0"/>
                        </a:spcAft>
                        <a:defRPr/>
                      </a:pPr>
                      <a:endParaRPr lang="da-DK" kern="0">
                        <a:solidFill>
                          <a:sysClr val="windowText" lastClr="000000"/>
                        </a:solidFill>
                        <a:latin typeface="+mn-lt"/>
                        <a:ea typeface="ＭＳ Ｐゴシック" pitchFamily="-97" charset="-128"/>
                        <a:cs typeface="+mn-cs"/>
                      </a:endParaRPr>
                    </a:p>
                  </p:txBody>
                </p:sp>
                <p:sp>
                  <p:nvSpPr>
                    <p:cNvPr id="293" name="Freeform 367"/>
                    <p:cNvSpPr>
                      <a:spLocks/>
                    </p:cNvSpPr>
                    <p:nvPr/>
                  </p:nvSpPr>
                  <p:spPr bwMode="auto">
                    <a:xfrm>
                      <a:off x="3932238" y="3433763"/>
                      <a:ext cx="168275" cy="127000"/>
                    </a:xfrm>
                    <a:custGeom>
                      <a:avLst/>
                      <a:gdLst/>
                      <a:ahLst/>
                      <a:cxnLst>
                        <a:cxn ang="0">
                          <a:pos x="53" y="0"/>
                        </a:cxn>
                        <a:cxn ang="0">
                          <a:pos x="64" y="1"/>
                        </a:cxn>
                        <a:cxn ang="0">
                          <a:pos x="74" y="2"/>
                        </a:cxn>
                        <a:cxn ang="0">
                          <a:pos x="83" y="6"/>
                        </a:cxn>
                        <a:cxn ang="0">
                          <a:pos x="91" y="11"/>
                        </a:cxn>
                        <a:cxn ang="0">
                          <a:pos x="97" y="18"/>
                        </a:cxn>
                        <a:cxn ang="0">
                          <a:pos x="103" y="24"/>
                        </a:cxn>
                        <a:cxn ang="0">
                          <a:pos x="105" y="32"/>
                        </a:cxn>
                        <a:cxn ang="0">
                          <a:pos x="106" y="40"/>
                        </a:cxn>
                        <a:cxn ang="0">
                          <a:pos x="105" y="48"/>
                        </a:cxn>
                        <a:cxn ang="0">
                          <a:pos x="103" y="55"/>
                        </a:cxn>
                        <a:cxn ang="0">
                          <a:pos x="97" y="62"/>
                        </a:cxn>
                        <a:cxn ang="0">
                          <a:pos x="91" y="68"/>
                        </a:cxn>
                        <a:cxn ang="0">
                          <a:pos x="83" y="74"/>
                        </a:cxn>
                        <a:cxn ang="0">
                          <a:pos x="74" y="78"/>
                        </a:cxn>
                        <a:cxn ang="0">
                          <a:pos x="64" y="79"/>
                        </a:cxn>
                        <a:cxn ang="0">
                          <a:pos x="53" y="80"/>
                        </a:cxn>
                        <a:cxn ang="0">
                          <a:pos x="43" y="79"/>
                        </a:cxn>
                        <a:cxn ang="0">
                          <a:pos x="32" y="78"/>
                        </a:cxn>
                        <a:cxn ang="0">
                          <a:pos x="23" y="74"/>
                        </a:cxn>
                        <a:cxn ang="0">
                          <a:pos x="16" y="68"/>
                        </a:cxn>
                        <a:cxn ang="0">
                          <a:pos x="9" y="62"/>
                        </a:cxn>
                        <a:cxn ang="0">
                          <a:pos x="4" y="55"/>
                        </a:cxn>
                        <a:cxn ang="0">
                          <a:pos x="1" y="48"/>
                        </a:cxn>
                        <a:cxn ang="0">
                          <a:pos x="0" y="40"/>
                        </a:cxn>
                        <a:cxn ang="0">
                          <a:pos x="1" y="32"/>
                        </a:cxn>
                        <a:cxn ang="0">
                          <a:pos x="4" y="24"/>
                        </a:cxn>
                        <a:cxn ang="0">
                          <a:pos x="9" y="18"/>
                        </a:cxn>
                        <a:cxn ang="0">
                          <a:pos x="16" y="11"/>
                        </a:cxn>
                        <a:cxn ang="0">
                          <a:pos x="23" y="6"/>
                        </a:cxn>
                        <a:cxn ang="0">
                          <a:pos x="32" y="2"/>
                        </a:cxn>
                        <a:cxn ang="0">
                          <a:pos x="43" y="1"/>
                        </a:cxn>
                        <a:cxn ang="0">
                          <a:pos x="53" y="0"/>
                        </a:cxn>
                      </a:cxnLst>
                      <a:rect l="0" t="0" r="r" b="b"/>
                      <a:pathLst>
                        <a:path w="106" h="80">
                          <a:moveTo>
                            <a:pt x="53" y="0"/>
                          </a:moveTo>
                          <a:lnTo>
                            <a:pt x="64" y="1"/>
                          </a:lnTo>
                          <a:lnTo>
                            <a:pt x="74" y="2"/>
                          </a:lnTo>
                          <a:lnTo>
                            <a:pt x="83" y="6"/>
                          </a:lnTo>
                          <a:lnTo>
                            <a:pt x="91" y="11"/>
                          </a:lnTo>
                          <a:lnTo>
                            <a:pt x="97" y="18"/>
                          </a:lnTo>
                          <a:lnTo>
                            <a:pt x="103" y="24"/>
                          </a:lnTo>
                          <a:lnTo>
                            <a:pt x="105" y="32"/>
                          </a:lnTo>
                          <a:lnTo>
                            <a:pt x="106" y="40"/>
                          </a:lnTo>
                          <a:lnTo>
                            <a:pt x="105" y="48"/>
                          </a:lnTo>
                          <a:lnTo>
                            <a:pt x="103" y="55"/>
                          </a:lnTo>
                          <a:lnTo>
                            <a:pt x="97" y="62"/>
                          </a:lnTo>
                          <a:lnTo>
                            <a:pt x="91" y="68"/>
                          </a:lnTo>
                          <a:lnTo>
                            <a:pt x="83" y="74"/>
                          </a:lnTo>
                          <a:lnTo>
                            <a:pt x="74" y="78"/>
                          </a:lnTo>
                          <a:lnTo>
                            <a:pt x="64" y="79"/>
                          </a:lnTo>
                          <a:lnTo>
                            <a:pt x="53" y="80"/>
                          </a:lnTo>
                          <a:lnTo>
                            <a:pt x="43" y="79"/>
                          </a:lnTo>
                          <a:lnTo>
                            <a:pt x="32" y="78"/>
                          </a:lnTo>
                          <a:lnTo>
                            <a:pt x="23" y="74"/>
                          </a:lnTo>
                          <a:lnTo>
                            <a:pt x="16" y="68"/>
                          </a:lnTo>
                          <a:lnTo>
                            <a:pt x="9" y="62"/>
                          </a:lnTo>
                          <a:lnTo>
                            <a:pt x="4" y="55"/>
                          </a:lnTo>
                          <a:lnTo>
                            <a:pt x="1" y="48"/>
                          </a:lnTo>
                          <a:lnTo>
                            <a:pt x="0" y="40"/>
                          </a:lnTo>
                          <a:lnTo>
                            <a:pt x="1" y="32"/>
                          </a:lnTo>
                          <a:lnTo>
                            <a:pt x="4" y="24"/>
                          </a:lnTo>
                          <a:lnTo>
                            <a:pt x="9" y="18"/>
                          </a:lnTo>
                          <a:lnTo>
                            <a:pt x="16" y="11"/>
                          </a:lnTo>
                          <a:lnTo>
                            <a:pt x="23" y="6"/>
                          </a:lnTo>
                          <a:lnTo>
                            <a:pt x="32" y="2"/>
                          </a:lnTo>
                          <a:lnTo>
                            <a:pt x="43" y="1"/>
                          </a:lnTo>
                          <a:lnTo>
                            <a:pt x="53" y="0"/>
                          </a:lnTo>
                          <a:close/>
                        </a:path>
                      </a:pathLst>
                    </a:custGeom>
                    <a:solidFill>
                      <a:srgbClr val="E6E6E6">
                        <a:alpha val="56000"/>
                      </a:srgbClr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pPr fontAlgn="auto">
                        <a:spcBef>
                          <a:spcPts val="0"/>
                        </a:spcBef>
                        <a:spcAft>
                          <a:spcPts val="0"/>
                        </a:spcAft>
                        <a:defRPr/>
                      </a:pPr>
                      <a:endParaRPr lang="da-DK" kern="0">
                        <a:solidFill>
                          <a:sysClr val="windowText" lastClr="000000"/>
                        </a:solidFill>
                        <a:latin typeface="+mn-lt"/>
                        <a:ea typeface="ＭＳ Ｐゴシック" pitchFamily="-97" charset="-128"/>
                        <a:cs typeface="+mn-cs"/>
                      </a:endParaRPr>
                    </a:p>
                  </p:txBody>
                </p:sp>
              </p:grpSp>
            </p:grpSp>
          </p:grpSp>
          <p:sp>
            <p:nvSpPr>
              <p:cNvPr id="283" name="Kors 457"/>
              <p:cNvSpPr/>
              <p:nvPr/>
            </p:nvSpPr>
            <p:spPr>
              <a:xfrm>
                <a:off x="3072815" y="3547015"/>
                <a:ext cx="338099" cy="349205"/>
              </a:xfrm>
              <a:prstGeom prst="plus">
                <a:avLst>
                  <a:gd name="adj" fmla="val 35909"/>
                </a:avLst>
              </a:prstGeom>
              <a:gradFill flip="none" rotWithShape="1">
                <a:gsLst>
                  <a:gs pos="100000">
                    <a:srgbClr val="E6E6E6"/>
                  </a:gs>
                  <a:gs pos="69000">
                    <a:srgbClr val="E6E6E6">
                      <a:lumMod val="90000"/>
                    </a:srgbClr>
                  </a:gs>
                  <a:gs pos="0">
                    <a:srgbClr val="E6E6E6">
                      <a:lumMod val="75000"/>
                    </a:srgbClr>
                  </a:gs>
                </a:gsLst>
                <a:lin ang="0" scaled="1"/>
                <a:tileRect/>
              </a:gradFill>
              <a:ln w="9525" cap="flat" cmpd="sng" algn="ctr">
                <a:noFill/>
                <a:prstDash val="solid"/>
              </a:ln>
              <a:effectLst/>
            </p:spPr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>
                  <a:solidFill>
                    <a:sysClr val="window" lastClr="FFFFFF"/>
                  </a:solidFill>
                  <a:latin typeface="Calibri"/>
                  <a:cs typeface="+mn-cs"/>
                </a:endParaRPr>
              </a:p>
            </p:txBody>
          </p:sp>
        </p:grpSp>
        <p:grpSp>
          <p:nvGrpSpPr>
            <p:cNvPr id="123" name="Gruppe 116"/>
            <p:cNvGrpSpPr>
              <a:grpSpLocks/>
            </p:cNvGrpSpPr>
            <p:nvPr/>
          </p:nvGrpSpPr>
          <p:grpSpPr bwMode="auto">
            <a:xfrm flipH="1">
              <a:off x="6008688" y="4184650"/>
              <a:ext cx="757237" cy="1022350"/>
              <a:chOff x="4405313" y="4356100"/>
              <a:chExt cx="1204961" cy="1625600"/>
            </a:xfrm>
          </p:grpSpPr>
          <p:sp>
            <p:nvSpPr>
              <p:cNvPr id="271" name="Ellipse 476"/>
              <p:cNvSpPr/>
              <p:nvPr/>
            </p:nvSpPr>
            <p:spPr bwMode="auto">
              <a:xfrm>
                <a:off x="4405313" y="5643518"/>
                <a:ext cx="1204961" cy="338182"/>
              </a:xfrm>
              <a:prstGeom prst="ellipse">
                <a:avLst/>
              </a:prstGeom>
              <a:gradFill flip="none" rotWithShape="1">
                <a:gsLst>
                  <a:gs pos="24000">
                    <a:sysClr val="windowText" lastClr="000000">
                      <a:alpha val="42000"/>
                    </a:sysClr>
                  </a:gs>
                  <a:gs pos="100000">
                    <a:sysClr val="window" lastClr="FFFFFF">
                      <a:alpha val="0"/>
                    </a:sysClr>
                  </a:gs>
                </a:gsLst>
                <a:path path="shape">
                  <a:fillToRect l="50000" t="50000" r="50000" b="50000"/>
                </a:path>
                <a:tileRect/>
              </a:gradFill>
              <a:ln w="9525" cap="flat" cmpd="sng" algn="ctr">
                <a:noFill/>
                <a:prstDash val="solid"/>
              </a:ln>
              <a:effectLst/>
            </p:spPr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 dirty="0" err="1">
                  <a:solidFill>
                    <a:sysClr val="window" lastClr="FFFFFF"/>
                  </a:solidFill>
                  <a:latin typeface="Calibri"/>
                  <a:ea typeface="ＭＳ Ｐゴシック" pitchFamily="-97" charset="-128"/>
                  <a:cs typeface="+mn-cs"/>
                </a:endParaRPr>
              </a:p>
            </p:txBody>
          </p:sp>
          <p:grpSp>
            <p:nvGrpSpPr>
              <p:cNvPr id="272" name="Gruppe 1207"/>
              <p:cNvGrpSpPr>
                <a:grpSpLocks/>
              </p:cNvGrpSpPr>
              <p:nvPr/>
            </p:nvGrpSpPr>
            <p:grpSpPr bwMode="auto">
              <a:xfrm>
                <a:off x="4647821" y="4356100"/>
                <a:ext cx="790677" cy="1542301"/>
                <a:chOff x="7156071" y="3771900"/>
                <a:chExt cx="790677" cy="1542301"/>
              </a:xfrm>
            </p:grpSpPr>
            <p:sp>
              <p:nvSpPr>
                <p:cNvPr id="273" name="Freeform 484"/>
                <p:cNvSpPr>
                  <a:spLocks/>
                </p:cNvSpPr>
                <p:nvPr/>
              </p:nvSpPr>
              <p:spPr bwMode="auto">
                <a:xfrm>
                  <a:off x="7173186" y="3773366"/>
                  <a:ext cx="677259" cy="1609917"/>
                </a:xfrm>
                <a:custGeom>
                  <a:avLst/>
                  <a:gdLst/>
                  <a:ahLst/>
                  <a:cxnLst>
                    <a:cxn ang="0">
                      <a:pos x="948" y="1490"/>
                    </a:cxn>
                    <a:cxn ang="0">
                      <a:pos x="872" y="1429"/>
                    </a:cxn>
                    <a:cxn ang="0">
                      <a:pos x="881" y="1364"/>
                    </a:cxn>
                    <a:cxn ang="0">
                      <a:pos x="845" y="1330"/>
                    </a:cxn>
                    <a:cxn ang="0">
                      <a:pos x="917" y="1158"/>
                    </a:cxn>
                    <a:cxn ang="0">
                      <a:pos x="885" y="919"/>
                    </a:cxn>
                    <a:cxn ang="0">
                      <a:pos x="812" y="804"/>
                    </a:cxn>
                    <a:cxn ang="0">
                      <a:pos x="719" y="691"/>
                    </a:cxn>
                    <a:cxn ang="0">
                      <a:pos x="626" y="570"/>
                    </a:cxn>
                    <a:cxn ang="0">
                      <a:pos x="571" y="487"/>
                    </a:cxn>
                    <a:cxn ang="0">
                      <a:pos x="589" y="454"/>
                    </a:cxn>
                    <a:cxn ang="0">
                      <a:pos x="639" y="416"/>
                    </a:cxn>
                    <a:cxn ang="0">
                      <a:pos x="705" y="413"/>
                    </a:cxn>
                    <a:cxn ang="0">
                      <a:pos x="779" y="466"/>
                    </a:cxn>
                    <a:cxn ang="0">
                      <a:pos x="829" y="427"/>
                    </a:cxn>
                    <a:cxn ang="0">
                      <a:pos x="922" y="357"/>
                    </a:cxn>
                    <a:cxn ang="0">
                      <a:pos x="937" y="275"/>
                    </a:cxn>
                    <a:cxn ang="0">
                      <a:pos x="891" y="236"/>
                    </a:cxn>
                    <a:cxn ang="0">
                      <a:pos x="862" y="198"/>
                    </a:cxn>
                    <a:cxn ang="0">
                      <a:pos x="834" y="162"/>
                    </a:cxn>
                    <a:cxn ang="0">
                      <a:pos x="756" y="149"/>
                    </a:cxn>
                    <a:cxn ang="0">
                      <a:pos x="659" y="142"/>
                    </a:cxn>
                    <a:cxn ang="0">
                      <a:pos x="589" y="140"/>
                    </a:cxn>
                    <a:cxn ang="0">
                      <a:pos x="567" y="123"/>
                    </a:cxn>
                    <a:cxn ang="0">
                      <a:pos x="514" y="105"/>
                    </a:cxn>
                    <a:cxn ang="0">
                      <a:pos x="445" y="99"/>
                    </a:cxn>
                    <a:cxn ang="0">
                      <a:pos x="395" y="99"/>
                    </a:cxn>
                    <a:cxn ang="0">
                      <a:pos x="295" y="0"/>
                    </a:cxn>
                    <a:cxn ang="0">
                      <a:pos x="251" y="7"/>
                    </a:cxn>
                    <a:cxn ang="0">
                      <a:pos x="189" y="34"/>
                    </a:cxn>
                    <a:cxn ang="0">
                      <a:pos x="118" y="87"/>
                    </a:cxn>
                    <a:cxn ang="0">
                      <a:pos x="53" y="179"/>
                    </a:cxn>
                    <a:cxn ang="0">
                      <a:pos x="6" y="337"/>
                    </a:cxn>
                    <a:cxn ang="0">
                      <a:pos x="12" y="537"/>
                    </a:cxn>
                    <a:cxn ang="0">
                      <a:pos x="87" y="728"/>
                    </a:cxn>
                    <a:cxn ang="0">
                      <a:pos x="181" y="944"/>
                    </a:cxn>
                    <a:cxn ang="0">
                      <a:pos x="145" y="1138"/>
                    </a:cxn>
                    <a:cxn ang="0">
                      <a:pos x="60" y="1218"/>
                    </a:cxn>
                    <a:cxn ang="0">
                      <a:pos x="34" y="1265"/>
                    </a:cxn>
                    <a:cxn ang="0">
                      <a:pos x="43" y="1300"/>
                    </a:cxn>
                    <a:cxn ang="0">
                      <a:pos x="106" y="1357"/>
                    </a:cxn>
                    <a:cxn ang="0">
                      <a:pos x="122" y="1387"/>
                    </a:cxn>
                    <a:cxn ang="0">
                      <a:pos x="80" y="1469"/>
                    </a:cxn>
                    <a:cxn ang="0">
                      <a:pos x="46" y="1599"/>
                    </a:cxn>
                    <a:cxn ang="0">
                      <a:pos x="63" y="1644"/>
                    </a:cxn>
                    <a:cxn ang="0">
                      <a:pos x="20" y="1695"/>
                    </a:cxn>
                    <a:cxn ang="0">
                      <a:pos x="43" y="1794"/>
                    </a:cxn>
                    <a:cxn ang="0">
                      <a:pos x="100" y="1841"/>
                    </a:cxn>
                    <a:cxn ang="0">
                      <a:pos x="198" y="1884"/>
                    </a:cxn>
                    <a:cxn ang="0">
                      <a:pos x="328" y="1920"/>
                    </a:cxn>
                    <a:cxn ang="0">
                      <a:pos x="487" y="1942"/>
                    </a:cxn>
                    <a:cxn ang="0">
                      <a:pos x="646" y="1930"/>
                    </a:cxn>
                    <a:cxn ang="0">
                      <a:pos x="786" y="1890"/>
                    </a:cxn>
                    <a:cxn ang="0">
                      <a:pos x="898" y="1834"/>
                    </a:cxn>
                    <a:cxn ang="0">
                      <a:pos x="985" y="1758"/>
                    </a:cxn>
                    <a:cxn ang="0">
                      <a:pos x="978" y="1655"/>
                    </a:cxn>
                  </a:cxnLst>
                  <a:rect l="0" t="0" r="r" b="b"/>
                  <a:pathLst>
                    <a:path w="998" h="1943">
                      <a:moveTo>
                        <a:pt x="948" y="1627"/>
                      </a:moveTo>
                      <a:lnTo>
                        <a:pt x="961" y="1571"/>
                      </a:lnTo>
                      <a:lnTo>
                        <a:pt x="960" y="1525"/>
                      </a:lnTo>
                      <a:lnTo>
                        <a:pt x="948" y="1490"/>
                      </a:lnTo>
                      <a:lnTo>
                        <a:pt x="930" y="1465"/>
                      </a:lnTo>
                      <a:lnTo>
                        <a:pt x="908" y="1446"/>
                      </a:lnTo>
                      <a:lnTo>
                        <a:pt x="888" y="1434"/>
                      </a:lnTo>
                      <a:lnTo>
                        <a:pt x="872" y="1429"/>
                      </a:lnTo>
                      <a:lnTo>
                        <a:pt x="866" y="1427"/>
                      </a:lnTo>
                      <a:lnTo>
                        <a:pt x="879" y="1402"/>
                      </a:lnTo>
                      <a:lnTo>
                        <a:pt x="884" y="1381"/>
                      </a:lnTo>
                      <a:lnTo>
                        <a:pt x="881" y="1364"/>
                      </a:lnTo>
                      <a:lnTo>
                        <a:pt x="872" y="1350"/>
                      </a:lnTo>
                      <a:lnTo>
                        <a:pt x="862" y="1340"/>
                      </a:lnTo>
                      <a:lnTo>
                        <a:pt x="852" y="1334"/>
                      </a:lnTo>
                      <a:lnTo>
                        <a:pt x="845" y="1330"/>
                      </a:lnTo>
                      <a:lnTo>
                        <a:pt x="842" y="1328"/>
                      </a:lnTo>
                      <a:lnTo>
                        <a:pt x="866" y="1287"/>
                      </a:lnTo>
                      <a:lnTo>
                        <a:pt x="898" y="1224"/>
                      </a:lnTo>
                      <a:lnTo>
                        <a:pt x="917" y="1158"/>
                      </a:lnTo>
                      <a:lnTo>
                        <a:pt x="921" y="1093"/>
                      </a:lnTo>
                      <a:lnTo>
                        <a:pt x="917" y="1030"/>
                      </a:lnTo>
                      <a:lnTo>
                        <a:pt x="904" y="972"/>
                      </a:lnTo>
                      <a:lnTo>
                        <a:pt x="885" y="919"/>
                      </a:lnTo>
                      <a:lnTo>
                        <a:pt x="864" y="876"/>
                      </a:lnTo>
                      <a:lnTo>
                        <a:pt x="842" y="841"/>
                      </a:lnTo>
                      <a:lnTo>
                        <a:pt x="829" y="825"/>
                      </a:lnTo>
                      <a:lnTo>
                        <a:pt x="812" y="804"/>
                      </a:lnTo>
                      <a:lnTo>
                        <a:pt x="792" y="780"/>
                      </a:lnTo>
                      <a:lnTo>
                        <a:pt x="769" y="751"/>
                      </a:lnTo>
                      <a:lnTo>
                        <a:pt x="745" y="722"/>
                      </a:lnTo>
                      <a:lnTo>
                        <a:pt x="719" y="691"/>
                      </a:lnTo>
                      <a:lnTo>
                        <a:pt x="695" y="659"/>
                      </a:lnTo>
                      <a:lnTo>
                        <a:pt x="669" y="628"/>
                      </a:lnTo>
                      <a:lnTo>
                        <a:pt x="646" y="599"/>
                      </a:lnTo>
                      <a:lnTo>
                        <a:pt x="626" y="570"/>
                      </a:lnTo>
                      <a:lnTo>
                        <a:pt x="607" y="546"/>
                      </a:lnTo>
                      <a:lnTo>
                        <a:pt x="592" y="523"/>
                      </a:lnTo>
                      <a:lnTo>
                        <a:pt x="579" y="503"/>
                      </a:lnTo>
                      <a:lnTo>
                        <a:pt x="571" y="487"/>
                      </a:lnTo>
                      <a:lnTo>
                        <a:pt x="567" y="476"/>
                      </a:lnTo>
                      <a:lnTo>
                        <a:pt x="569" y="470"/>
                      </a:lnTo>
                      <a:lnTo>
                        <a:pt x="579" y="463"/>
                      </a:lnTo>
                      <a:lnTo>
                        <a:pt x="589" y="454"/>
                      </a:lnTo>
                      <a:lnTo>
                        <a:pt x="600" y="444"/>
                      </a:lnTo>
                      <a:lnTo>
                        <a:pt x="613" y="434"/>
                      </a:lnTo>
                      <a:lnTo>
                        <a:pt x="626" y="424"/>
                      </a:lnTo>
                      <a:lnTo>
                        <a:pt x="639" y="416"/>
                      </a:lnTo>
                      <a:lnTo>
                        <a:pt x="653" y="408"/>
                      </a:lnTo>
                      <a:lnTo>
                        <a:pt x="669" y="404"/>
                      </a:lnTo>
                      <a:lnTo>
                        <a:pt x="686" y="406"/>
                      </a:lnTo>
                      <a:lnTo>
                        <a:pt x="705" y="413"/>
                      </a:lnTo>
                      <a:lnTo>
                        <a:pt x="726" y="424"/>
                      </a:lnTo>
                      <a:lnTo>
                        <a:pt x="746" y="439"/>
                      </a:lnTo>
                      <a:lnTo>
                        <a:pt x="763" y="453"/>
                      </a:lnTo>
                      <a:lnTo>
                        <a:pt x="779" y="466"/>
                      </a:lnTo>
                      <a:lnTo>
                        <a:pt x="788" y="476"/>
                      </a:lnTo>
                      <a:lnTo>
                        <a:pt x="792" y="479"/>
                      </a:lnTo>
                      <a:lnTo>
                        <a:pt x="808" y="451"/>
                      </a:lnTo>
                      <a:lnTo>
                        <a:pt x="829" y="427"/>
                      </a:lnTo>
                      <a:lnTo>
                        <a:pt x="854" y="404"/>
                      </a:lnTo>
                      <a:lnTo>
                        <a:pt x="879" y="384"/>
                      </a:lnTo>
                      <a:lnTo>
                        <a:pt x="902" y="368"/>
                      </a:lnTo>
                      <a:lnTo>
                        <a:pt x="922" y="357"/>
                      </a:lnTo>
                      <a:lnTo>
                        <a:pt x="935" y="350"/>
                      </a:lnTo>
                      <a:lnTo>
                        <a:pt x="941" y="347"/>
                      </a:lnTo>
                      <a:lnTo>
                        <a:pt x="942" y="304"/>
                      </a:lnTo>
                      <a:lnTo>
                        <a:pt x="937" y="275"/>
                      </a:lnTo>
                      <a:lnTo>
                        <a:pt x="924" y="257"/>
                      </a:lnTo>
                      <a:lnTo>
                        <a:pt x="908" y="246"/>
                      </a:lnTo>
                      <a:lnTo>
                        <a:pt x="899" y="242"/>
                      </a:lnTo>
                      <a:lnTo>
                        <a:pt x="891" y="236"/>
                      </a:lnTo>
                      <a:lnTo>
                        <a:pt x="882" y="229"/>
                      </a:lnTo>
                      <a:lnTo>
                        <a:pt x="875" y="219"/>
                      </a:lnTo>
                      <a:lnTo>
                        <a:pt x="869" y="209"/>
                      </a:lnTo>
                      <a:lnTo>
                        <a:pt x="862" y="198"/>
                      </a:lnTo>
                      <a:lnTo>
                        <a:pt x="855" y="186"/>
                      </a:lnTo>
                      <a:lnTo>
                        <a:pt x="849" y="173"/>
                      </a:lnTo>
                      <a:lnTo>
                        <a:pt x="844" y="168"/>
                      </a:lnTo>
                      <a:lnTo>
                        <a:pt x="834" y="162"/>
                      </a:lnTo>
                      <a:lnTo>
                        <a:pt x="818" y="158"/>
                      </a:lnTo>
                      <a:lnTo>
                        <a:pt x="801" y="155"/>
                      </a:lnTo>
                      <a:lnTo>
                        <a:pt x="779" y="150"/>
                      </a:lnTo>
                      <a:lnTo>
                        <a:pt x="756" y="149"/>
                      </a:lnTo>
                      <a:lnTo>
                        <a:pt x="732" y="146"/>
                      </a:lnTo>
                      <a:lnTo>
                        <a:pt x="708" y="145"/>
                      </a:lnTo>
                      <a:lnTo>
                        <a:pt x="683" y="143"/>
                      </a:lnTo>
                      <a:lnTo>
                        <a:pt x="659" y="142"/>
                      </a:lnTo>
                      <a:lnTo>
                        <a:pt x="637" y="142"/>
                      </a:lnTo>
                      <a:lnTo>
                        <a:pt x="617" y="140"/>
                      </a:lnTo>
                      <a:lnTo>
                        <a:pt x="602" y="140"/>
                      </a:lnTo>
                      <a:lnTo>
                        <a:pt x="589" y="140"/>
                      </a:lnTo>
                      <a:lnTo>
                        <a:pt x="580" y="140"/>
                      </a:lnTo>
                      <a:lnTo>
                        <a:pt x="577" y="140"/>
                      </a:lnTo>
                      <a:lnTo>
                        <a:pt x="574" y="132"/>
                      </a:lnTo>
                      <a:lnTo>
                        <a:pt x="567" y="123"/>
                      </a:lnTo>
                      <a:lnTo>
                        <a:pt x="557" y="118"/>
                      </a:lnTo>
                      <a:lnTo>
                        <a:pt x="544" y="112"/>
                      </a:lnTo>
                      <a:lnTo>
                        <a:pt x="530" y="107"/>
                      </a:lnTo>
                      <a:lnTo>
                        <a:pt x="514" y="105"/>
                      </a:lnTo>
                      <a:lnTo>
                        <a:pt x="497" y="102"/>
                      </a:lnTo>
                      <a:lnTo>
                        <a:pt x="480" y="100"/>
                      </a:lnTo>
                      <a:lnTo>
                        <a:pt x="463" y="99"/>
                      </a:lnTo>
                      <a:lnTo>
                        <a:pt x="445" y="99"/>
                      </a:lnTo>
                      <a:lnTo>
                        <a:pt x="430" y="97"/>
                      </a:lnTo>
                      <a:lnTo>
                        <a:pt x="417" y="97"/>
                      </a:lnTo>
                      <a:lnTo>
                        <a:pt x="405" y="99"/>
                      </a:lnTo>
                      <a:lnTo>
                        <a:pt x="395" y="99"/>
                      </a:lnTo>
                      <a:lnTo>
                        <a:pt x="390" y="99"/>
                      </a:lnTo>
                      <a:lnTo>
                        <a:pt x="388" y="99"/>
                      </a:lnTo>
                      <a:lnTo>
                        <a:pt x="298" y="0"/>
                      </a:lnTo>
                      <a:lnTo>
                        <a:pt x="295" y="0"/>
                      </a:lnTo>
                      <a:lnTo>
                        <a:pt x="289" y="0"/>
                      </a:lnTo>
                      <a:lnTo>
                        <a:pt x="278" y="1"/>
                      </a:lnTo>
                      <a:lnTo>
                        <a:pt x="264" y="4"/>
                      </a:lnTo>
                      <a:lnTo>
                        <a:pt x="251" y="7"/>
                      </a:lnTo>
                      <a:lnTo>
                        <a:pt x="236" y="13"/>
                      </a:lnTo>
                      <a:lnTo>
                        <a:pt x="222" y="19"/>
                      </a:lnTo>
                      <a:lnTo>
                        <a:pt x="205" y="26"/>
                      </a:lnTo>
                      <a:lnTo>
                        <a:pt x="189" y="34"/>
                      </a:lnTo>
                      <a:lnTo>
                        <a:pt x="170" y="44"/>
                      </a:lnTo>
                      <a:lnTo>
                        <a:pt x="153" y="57"/>
                      </a:lnTo>
                      <a:lnTo>
                        <a:pt x="136" y="72"/>
                      </a:lnTo>
                      <a:lnTo>
                        <a:pt x="118" y="87"/>
                      </a:lnTo>
                      <a:lnTo>
                        <a:pt x="100" y="107"/>
                      </a:lnTo>
                      <a:lnTo>
                        <a:pt x="85" y="129"/>
                      </a:lnTo>
                      <a:lnTo>
                        <a:pt x="67" y="153"/>
                      </a:lnTo>
                      <a:lnTo>
                        <a:pt x="53" y="179"/>
                      </a:lnTo>
                      <a:lnTo>
                        <a:pt x="40" y="209"/>
                      </a:lnTo>
                      <a:lnTo>
                        <a:pt x="27" y="244"/>
                      </a:lnTo>
                      <a:lnTo>
                        <a:pt x="17" y="279"/>
                      </a:lnTo>
                      <a:lnTo>
                        <a:pt x="6" y="337"/>
                      </a:lnTo>
                      <a:lnTo>
                        <a:pt x="0" y="388"/>
                      </a:lnTo>
                      <a:lnTo>
                        <a:pt x="0" y="439"/>
                      </a:lnTo>
                      <a:lnTo>
                        <a:pt x="3" y="484"/>
                      </a:lnTo>
                      <a:lnTo>
                        <a:pt x="12" y="537"/>
                      </a:lnTo>
                      <a:lnTo>
                        <a:pt x="26" y="588"/>
                      </a:lnTo>
                      <a:lnTo>
                        <a:pt x="44" y="635"/>
                      </a:lnTo>
                      <a:lnTo>
                        <a:pt x="65" y="681"/>
                      </a:lnTo>
                      <a:lnTo>
                        <a:pt x="87" y="728"/>
                      </a:lnTo>
                      <a:lnTo>
                        <a:pt x="112" y="774"/>
                      </a:lnTo>
                      <a:lnTo>
                        <a:pt x="135" y="823"/>
                      </a:lnTo>
                      <a:lnTo>
                        <a:pt x="158" y="874"/>
                      </a:lnTo>
                      <a:lnTo>
                        <a:pt x="181" y="944"/>
                      </a:lnTo>
                      <a:lnTo>
                        <a:pt x="186" y="1005"/>
                      </a:lnTo>
                      <a:lnTo>
                        <a:pt x="181" y="1058"/>
                      </a:lnTo>
                      <a:lnTo>
                        <a:pt x="166" y="1102"/>
                      </a:lnTo>
                      <a:lnTo>
                        <a:pt x="145" y="1138"/>
                      </a:lnTo>
                      <a:lnTo>
                        <a:pt x="120" y="1168"/>
                      </a:lnTo>
                      <a:lnTo>
                        <a:pt x="97" y="1189"/>
                      </a:lnTo>
                      <a:lnTo>
                        <a:pt x="76" y="1205"/>
                      </a:lnTo>
                      <a:lnTo>
                        <a:pt x="60" y="1218"/>
                      </a:lnTo>
                      <a:lnTo>
                        <a:pt x="49" y="1231"/>
                      </a:lnTo>
                      <a:lnTo>
                        <a:pt x="40" y="1244"/>
                      </a:lnTo>
                      <a:lnTo>
                        <a:pt x="36" y="1255"/>
                      </a:lnTo>
                      <a:lnTo>
                        <a:pt x="34" y="1265"/>
                      </a:lnTo>
                      <a:lnTo>
                        <a:pt x="34" y="1273"/>
                      </a:lnTo>
                      <a:lnTo>
                        <a:pt x="34" y="1278"/>
                      </a:lnTo>
                      <a:lnTo>
                        <a:pt x="34" y="1280"/>
                      </a:lnTo>
                      <a:lnTo>
                        <a:pt x="43" y="1300"/>
                      </a:lnTo>
                      <a:lnTo>
                        <a:pt x="56" y="1318"/>
                      </a:lnTo>
                      <a:lnTo>
                        <a:pt x="73" y="1334"/>
                      </a:lnTo>
                      <a:lnTo>
                        <a:pt x="90" y="1346"/>
                      </a:lnTo>
                      <a:lnTo>
                        <a:pt x="106" y="1357"/>
                      </a:lnTo>
                      <a:lnTo>
                        <a:pt x="120" y="1364"/>
                      </a:lnTo>
                      <a:lnTo>
                        <a:pt x="129" y="1369"/>
                      </a:lnTo>
                      <a:lnTo>
                        <a:pt x="133" y="1370"/>
                      </a:lnTo>
                      <a:lnTo>
                        <a:pt x="122" y="1387"/>
                      </a:lnTo>
                      <a:lnTo>
                        <a:pt x="120" y="1409"/>
                      </a:lnTo>
                      <a:lnTo>
                        <a:pt x="123" y="1427"/>
                      </a:lnTo>
                      <a:lnTo>
                        <a:pt x="125" y="1436"/>
                      </a:lnTo>
                      <a:lnTo>
                        <a:pt x="80" y="1469"/>
                      </a:lnTo>
                      <a:lnTo>
                        <a:pt x="53" y="1503"/>
                      </a:lnTo>
                      <a:lnTo>
                        <a:pt x="42" y="1538"/>
                      </a:lnTo>
                      <a:lnTo>
                        <a:pt x="40" y="1571"/>
                      </a:lnTo>
                      <a:lnTo>
                        <a:pt x="46" y="1599"/>
                      </a:lnTo>
                      <a:lnTo>
                        <a:pt x="56" y="1622"/>
                      </a:lnTo>
                      <a:lnTo>
                        <a:pt x="63" y="1637"/>
                      </a:lnTo>
                      <a:lnTo>
                        <a:pt x="67" y="1642"/>
                      </a:lnTo>
                      <a:lnTo>
                        <a:pt x="63" y="1644"/>
                      </a:lnTo>
                      <a:lnTo>
                        <a:pt x="54" y="1651"/>
                      </a:lnTo>
                      <a:lnTo>
                        <a:pt x="42" y="1661"/>
                      </a:lnTo>
                      <a:lnTo>
                        <a:pt x="30" y="1675"/>
                      </a:lnTo>
                      <a:lnTo>
                        <a:pt x="20" y="1695"/>
                      </a:lnTo>
                      <a:lnTo>
                        <a:pt x="16" y="1720"/>
                      </a:lnTo>
                      <a:lnTo>
                        <a:pt x="20" y="1748"/>
                      </a:lnTo>
                      <a:lnTo>
                        <a:pt x="34" y="1783"/>
                      </a:lnTo>
                      <a:lnTo>
                        <a:pt x="43" y="1794"/>
                      </a:lnTo>
                      <a:lnTo>
                        <a:pt x="53" y="1806"/>
                      </a:lnTo>
                      <a:lnTo>
                        <a:pt x="66" y="1817"/>
                      </a:lnTo>
                      <a:lnTo>
                        <a:pt x="83" y="1830"/>
                      </a:lnTo>
                      <a:lnTo>
                        <a:pt x="100" y="1841"/>
                      </a:lnTo>
                      <a:lnTo>
                        <a:pt x="122" y="1853"/>
                      </a:lnTo>
                      <a:lnTo>
                        <a:pt x="145" y="1863"/>
                      </a:lnTo>
                      <a:lnTo>
                        <a:pt x="170" y="1874"/>
                      </a:lnTo>
                      <a:lnTo>
                        <a:pt x="198" y="1884"/>
                      </a:lnTo>
                      <a:lnTo>
                        <a:pt x="228" y="1894"/>
                      </a:lnTo>
                      <a:lnTo>
                        <a:pt x="259" y="1903"/>
                      </a:lnTo>
                      <a:lnTo>
                        <a:pt x="292" y="1912"/>
                      </a:lnTo>
                      <a:lnTo>
                        <a:pt x="328" y="1920"/>
                      </a:lnTo>
                      <a:lnTo>
                        <a:pt x="365" y="1927"/>
                      </a:lnTo>
                      <a:lnTo>
                        <a:pt x="405" y="1933"/>
                      </a:lnTo>
                      <a:lnTo>
                        <a:pt x="445" y="1939"/>
                      </a:lnTo>
                      <a:lnTo>
                        <a:pt x="487" y="1942"/>
                      </a:lnTo>
                      <a:lnTo>
                        <a:pt x="529" y="1943"/>
                      </a:lnTo>
                      <a:lnTo>
                        <a:pt x="569" y="1940"/>
                      </a:lnTo>
                      <a:lnTo>
                        <a:pt x="607" y="1936"/>
                      </a:lnTo>
                      <a:lnTo>
                        <a:pt x="646" y="1930"/>
                      </a:lnTo>
                      <a:lnTo>
                        <a:pt x="683" y="1923"/>
                      </a:lnTo>
                      <a:lnTo>
                        <a:pt x="719" y="1913"/>
                      </a:lnTo>
                      <a:lnTo>
                        <a:pt x="753" y="1902"/>
                      </a:lnTo>
                      <a:lnTo>
                        <a:pt x="786" y="1890"/>
                      </a:lnTo>
                      <a:lnTo>
                        <a:pt x="816" y="1877"/>
                      </a:lnTo>
                      <a:lnTo>
                        <a:pt x="845" y="1863"/>
                      </a:lnTo>
                      <a:lnTo>
                        <a:pt x="872" y="1849"/>
                      </a:lnTo>
                      <a:lnTo>
                        <a:pt x="898" y="1834"/>
                      </a:lnTo>
                      <a:lnTo>
                        <a:pt x="919" y="1820"/>
                      </a:lnTo>
                      <a:lnTo>
                        <a:pt x="940" y="1806"/>
                      </a:lnTo>
                      <a:lnTo>
                        <a:pt x="957" y="1791"/>
                      </a:lnTo>
                      <a:lnTo>
                        <a:pt x="985" y="1758"/>
                      </a:lnTo>
                      <a:lnTo>
                        <a:pt x="998" y="1728"/>
                      </a:lnTo>
                      <a:lnTo>
                        <a:pt x="998" y="1700"/>
                      </a:lnTo>
                      <a:lnTo>
                        <a:pt x="991" y="1675"/>
                      </a:lnTo>
                      <a:lnTo>
                        <a:pt x="978" y="1655"/>
                      </a:lnTo>
                      <a:lnTo>
                        <a:pt x="964" y="1639"/>
                      </a:lnTo>
                      <a:lnTo>
                        <a:pt x="952" y="1629"/>
                      </a:lnTo>
                      <a:lnTo>
                        <a:pt x="948" y="1627"/>
                      </a:lnTo>
                      <a:close/>
                    </a:path>
                  </a:pathLst>
                </a:custGeom>
                <a:gradFill flip="none" rotWithShape="1">
                  <a:gsLst>
                    <a:gs pos="100000">
                      <a:srgbClr val="E6E6E6"/>
                    </a:gs>
                    <a:gs pos="69000">
                      <a:srgbClr val="E6E6E6">
                        <a:lumMod val="90000"/>
                      </a:srgbClr>
                    </a:gs>
                    <a:gs pos="0">
                      <a:srgbClr val="E6E6E6">
                        <a:lumMod val="75000"/>
                      </a:srgbClr>
                    </a:gs>
                  </a:gsLst>
                  <a:lin ang="0" scaled="1"/>
                  <a:tileRect/>
                </a:gradFill>
                <a:ln w="9525" cap="flat" cmpd="sng" algn="ctr">
                  <a:noFill/>
                  <a:prstDash val="solid"/>
                </a:ln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" lastClr="FFFFFF"/>
                    </a:solidFill>
                    <a:latin typeface="Calibri"/>
                    <a:cs typeface="+mn-cs"/>
                  </a:endParaRPr>
                </a:p>
              </p:txBody>
            </p:sp>
            <p:grpSp>
              <p:nvGrpSpPr>
                <p:cNvPr id="274" name="Gruppe 1099"/>
                <p:cNvGrpSpPr/>
                <p:nvPr/>
              </p:nvGrpSpPr>
              <p:grpSpPr>
                <a:xfrm>
                  <a:off x="7159625" y="3929063"/>
                  <a:ext cx="619125" cy="1311275"/>
                  <a:chOff x="7159625" y="3929063"/>
                  <a:chExt cx="619125" cy="1311275"/>
                </a:xfrm>
                <a:solidFill>
                  <a:srgbClr val="D7D8D9">
                    <a:lumMod val="25000"/>
                  </a:srgbClr>
                </a:solidFill>
              </p:grpSpPr>
              <p:sp>
                <p:nvSpPr>
                  <p:cNvPr id="275" name="Freeform 497"/>
                  <p:cNvSpPr>
                    <a:spLocks/>
                  </p:cNvSpPr>
                  <p:nvPr/>
                </p:nvSpPr>
                <p:spPr bwMode="auto">
                  <a:xfrm>
                    <a:off x="7167563" y="3929063"/>
                    <a:ext cx="134938" cy="360363"/>
                  </a:xfrm>
                  <a:custGeom>
                    <a:avLst/>
                    <a:gdLst/>
                    <a:ahLst/>
                    <a:cxnLst>
                      <a:cxn ang="0">
                        <a:pos x="86" y="276"/>
                      </a:cxn>
                      <a:cxn ang="0">
                        <a:pos x="73" y="213"/>
                      </a:cxn>
                      <a:cxn ang="0">
                        <a:pos x="70" y="159"/>
                      </a:cxn>
                      <a:cxn ang="0">
                        <a:pos x="76" y="110"/>
                      </a:cxn>
                      <a:cxn ang="0">
                        <a:pos x="85" y="71"/>
                      </a:cxn>
                      <a:cxn ang="0">
                        <a:pos x="96" y="40"/>
                      </a:cxn>
                      <a:cxn ang="0">
                        <a:pos x="107" y="18"/>
                      </a:cxn>
                      <a:cxn ang="0">
                        <a:pos x="117" y="4"/>
                      </a:cxn>
                      <a:cxn ang="0">
                        <a:pos x="120" y="0"/>
                      </a:cxn>
                      <a:cxn ang="0">
                        <a:pos x="76" y="31"/>
                      </a:cxn>
                      <a:cxn ang="0">
                        <a:pos x="42" y="65"/>
                      </a:cxn>
                      <a:cxn ang="0">
                        <a:pos x="19" y="98"/>
                      </a:cxn>
                      <a:cxn ang="0">
                        <a:pos x="6" y="134"/>
                      </a:cxn>
                      <a:cxn ang="0">
                        <a:pos x="0" y="169"/>
                      </a:cxn>
                      <a:cxn ang="0">
                        <a:pos x="1" y="203"/>
                      </a:cxn>
                      <a:cxn ang="0">
                        <a:pos x="9" y="237"/>
                      </a:cxn>
                      <a:cxn ang="0">
                        <a:pos x="22" y="270"/>
                      </a:cxn>
                      <a:cxn ang="0">
                        <a:pos x="42" y="308"/>
                      </a:cxn>
                      <a:cxn ang="0">
                        <a:pos x="64" y="342"/>
                      </a:cxn>
                      <a:cxn ang="0">
                        <a:pos x="89" y="374"/>
                      </a:cxn>
                      <a:cxn ang="0">
                        <a:pos x="113" y="401"/>
                      </a:cxn>
                      <a:cxn ang="0">
                        <a:pos x="135" y="422"/>
                      </a:cxn>
                      <a:cxn ang="0">
                        <a:pos x="152" y="439"/>
                      </a:cxn>
                      <a:cxn ang="0">
                        <a:pos x="165" y="450"/>
                      </a:cxn>
                      <a:cxn ang="0">
                        <a:pos x="169" y="454"/>
                      </a:cxn>
                      <a:cxn ang="0">
                        <a:pos x="153" y="429"/>
                      </a:cxn>
                      <a:cxn ang="0">
                        <a:pos x="140" y="405"/>
                      </a:cxn>
                      <a:cxn ang="0">
                        <a:pos x="127" y="382"/>
                      </a:cxn>
                      <a:cxn ang="0">
                        <a:pos x="117" y="359"/>
                      </a:cxn>
                      <a:cxn ang="0">
                        <a:pos x="107" y="338"/>
                      </a:cxn>
                      <a:cxn ang="0">
                        <a:pos x="99" y="316"/>
                      </a:cxn>
                      <a:cxn ang="0">
                        <a:pos x="92" y="296"/>
                      </a:cxn>
                      <a:cxn ang="0">
                        <a:pos x="86" y="276"/>
                      </a:cxn>
                    </a:cxnLst>
                    <a:rect l="0" t="0" r="r" b="b"/>
                    <a:pathLst>
                      <a:path w="169" h="454">
                        <a:moveTo>
                          <a:pt x="86" y="276"/>
                        </a:moveTo>
                        <a:lnTo>
                          <a:pt x="73" y="213"/>
                        </a:lnTo>
                        <a:lnTo>
                          <a:pt x="70" y="159"/>
                        </a:lnTo>
                        <a:lnTo>
                          <a:pt x="76" y="110"/>
                        </a:lnTo>
                        <a:lnTo>
                          <a:pt x="85" y="71"/>
                        </a:lnTo>
                        <a:lnTo>
                          <a:pt x="96" y="40"/>
                        </a:lnTo>
                        <a:lnTo>
                          <a:pt x="107" y="18"/>
                        </a:lnTo>
                        <a:lnTo>
                          <a:pt x="117" y="4"/>
                        </a:lnTo>
                        <a:lnTo>
                          <a:pt x="120" y="0"/>
                        </a:lnTo>
                        <a:lnTo>
                          <a:pt x="76" y="31"/>
                        </a:lnTo>
                        <a:lnTo>
                          <a:pt x="42" y="65"/>
                        </a:lnTo>
                        <a:lnTo>
                          <a:pt x="19" y="98"/>
                        </a:lnTo>
                        <a:lnTo>
                          <a:pt x="6" y="134"/>
                        </a:lnTo>
                        <a:lnTo>
                          <a:pt x="0" y="169"/>
                        </a:lnTo>
                        <a:lnTo>
                          <a:pt x="1" y="203"/>
                        </a:lnTo>
                        <a:lnTo>
                          <a:pt x="9" y="237"/>
                        </a:lnTo>
                        <a:lnTo>
                          <a:pt x="22" y="270"/>
                        </a:lnTo>
                        <a:lnTo>
                          <a:pt x="42" y="308"/>
                        </a:lnTo>
                        <a:lnTo>
                          <a:pt x="64" y="342"/>
                        </a:lnTo>
                        <a:lnTo>
                          <a:pt x="89" y="374"/>
                        </a:lnTo>
                        <a:lnTo>
                          <a:pt x="113" y="401"/>
                        </a:lnTo>
                        <a:lnTo>
                          <a:pt x="135" y="422"/>
                        </a:lnTo>
                        <a:lnTo>
                          <a:pt x="152" y="439"/>
                        </a:lnTo>
                        <a:lnTo>
                          <a:pt x="165" y="450"/>
                        </a:lnTo>
                        <a:lnTo>
                          <a:pt x="169" y="454"/>
                        </a:lnTo>
                        <a:lnTo>
                          <a:pt x="153" y="429"/>
                        </a:lnTo>
                        <a:lnTo>
                          <a:pt x="140" y="405"/>
                        </a:lnTo>
                        <a:lnTo>
                          <a:pt x="127" y="382"/>
                        </a:lnTo>
                        <a:lnTo>
                          <a:pt x="117" y="359"/>
                        </a:lnTo>
                        <a:lnTo>
                          <a:pt x="107" y="338"/>
                        </a:lnTo>
                        <a:lnTo>
                          <a:pt x="99" y="316"/>
                        </a:lnTo>
                        <a:lnTo>
                          <a:pt x="92" y="296"/>
                        </a:lnTo>
                        <a:lnTo>
                          <a:pt x="86" y="276"/>
                        </a:lnTo>
                        <a:close/>
                      </a:path>
                    </a:pathLst>
                  </a:custGeom>
                  <a:solidFill>
                    <a:srgbClr val="E6E6E6">
                      <a:lumMod val="90000"/>
                    </a:srgbClr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da-DK" kern="0">
                      <a:solidFill>
                        <a:sysClr val="windowText" lastClr="000000"/>
                      </a:solidFill>
                      <a:latin typeface="+mn-lt"/>
                      <a:ea typeface="ＭＳ Ｐゴシック" pitchFamily="-97" charset="-128"/>
                      <a:cs typeface="+mn-cs"/>
                    </a:endParaRPr>
                  </a:p>
                </p:txBody>
              </p:sp>
              <p:sp>
                <p:nvSpPr>
                  <p:cNvPr id="276" name="Freeform 499"/>
                  <p:cNvSpPr>
                    <a:spLocks/>
                  </p:cNvSpPr>
                  <p:nvPr/>
                </p:nvSpPr>
                <p:spPr bwMode="auto">
                  <a:xfrm>
                    <a:off x="7189788" y="4394200"/>
                    <a:ext cx="276225" cy="428625"/>
                  </a:xfrm>
                  <a:custGeom>
                    <a:avLst/>
                    <a:gdLst/>
                    <a:ahLst/>
                    <a:cxnLst>
                      <a:cxn ang="0">
                        <a:pos x="85" y="0"/>
                      </a:cxn>
                      <a:cxn ang="0">
                        <a:pos x="86" y="4"/>
                      </a:cxn>
                      <a:cxn ang="0">
                        <a:pos x="92" y="14"/>
                      </a:cxn>
                      <a:cxn ang="0">
                        <a:pos x="99" y="31"/>
                      </a:cxn>
                      <a:cxn ang="0">
                        <a:pos x="108" y="53"/>
                      </a:cxn>
                      <a:cxn ang="0">
                        <a:pos x="118" y="80"/>
                      </a:cxn>
                      <a:cxn ang="0">
                        <a:pos x="126" y="110"/>
                      </a:cxn>
                      <a:cxn ang="0">
                        <a:pos x="133" y="143"/>
                      </a:cxn>
                      <a:cxn ang="0">
                        <a:pos x="141" y="179"/>
                      </a:cxn>
                      <a:cxn ang="0">
                        <a:pos x="143" y="215"/>
                      </a:cxn>
                      <a:cxn ang="0">
                        <a:pos x="142" y="252"/>
                      </a:cxn>
                      <a:cxn ang="0">
                        <a:pos x="136" y="289"/>
                      </a:cxn>
                      <a:cxn ang="0">
                        <a:pos x="126" y="325"/>
                      </a:cxn>
                      <a:cxn ang="0">
                        <a:pos x="109" y="358"/>
                      </a:cxn>
                      <a:cxn ang="0">
                        <a:pos x="85" y="388"/>
                      </a:cxn>
                      <a:cxn ang="0">
                        <a:pos x="52" y="415"/>
                      </a:cxn>
                      <a:cxn ang="0">
                        <a:pos x="10" y="438"/>
                      </a:cxn>
                      <a:cxn ang="0">
                        <a:pos x="7" y="441"/>
                      </a:cxn>
                      <a:cxn ang="0">
                        <a:pos x="3" y="450"/>
                      </a:cxn>
                      <a:cxn ang="0">
                        <a:pos x="0" y="461"/>
                      </a:cxn>
                      <a:cxn ang="0">
                        <a:pos x="2" y="475"/>
                      </a:cxn>
                      <a:cxn ang="0">
                        <a:pos x="13" y="491"/>
                      </a:cxn>
                      <a:cxn ang="0">
                        <a:pos x="37" y="508"/>
                      </a:cxn>
                      <a:cxn ang="0">
                        <a:pos x="79" y="523"/>
                      </a:cxn>
                      <a:cxn ang="0">
                        <a:pos x="142" y="537"/>
                      </a:cxn>
                      <a:cxn ang="0">
                        <a:pos x="174" y="540"/>
                      </a:cxn>
                      <a:cxn ang="0">
                        <a:pos x="204" y="537"/>
                      </a:cxn>
                      <a:cxn ang="0">
                        <a:pos x="231" y="528"/>
                      </a:cxn>
                      <a:cxn ang="0">
                        <a:pos x="257" y="516"/>
                      </a:cxn>
                      <a:cxn ang="0">
                        <a:pos x="279" y="498"/>
                      </a:cxn>
                      <a:cxn ang="0">
                        <a:pos x="300" y="475"/>
                      </a:cxn>
                      <a:cxn ang="0">
                        <a:pos x="317" y="448"/>
                      </a:cxn>
                      <a:cxn ang="0">
                        <a:pos x="331" y="418"/>
                      </a:cxn>
                      <a:cxn ang="0">
                        <a:pos x="341" y="382"/>
                      </a:cxn>
                      <a:cxn ang="0">
                        <a:pos x="347" y="344"/>
                      </a:cxn>
                      <a:cxn ang="0">
                        <a:pos x="350" y="301"/>
                      </a:cxn>
                      <a:cxn ang="0">
                        <a:pos x="345" y="255"/>
                      </a:cxn>
                      <a:cxn ang="0">
                        <a:pos x="338" y="206"/>
                      </a:cxn>
                      <a:cxn ang="0">
                        <a:pos x="325" y="154"/>
                      </a:cxn>
                      <a:cxn ang="0">
                        <a:pos x="305" y="99"/>
                      </a:cxn>
                      <a:cxn ang="0">
                        <a:pos x="281" y="41"/>
                      </a:cxn>
                      <a:cxn ang="0">
                        <a:pos x="282" y="53"/>
                      </a:cxn>
                      <a:cxn ang="0">
                        <a:pos x="284" y="81"/>
                      </a:cxn>
                      <a:cxn ang="0">
                        <a:pos x="284" y="124"/>
                      </a:cxn>
                      <a:cxn ang="0">
                        <a:pos x="281" y="176"/>
                      </a:cxn>
                      <a:cxn ang="0">
                        <a:pos x="274" y="230"/>
                      </a:cxn>
                      <a:cxn ang="0">
                        <a:pos x="261" y="285"/>
                      </a:cxn>
                      <a:cxn ang="0">
                        <a:pos x="239" y="334"/>
                      </a:cxn>
                      <a:cxn ang="0">
                        <a:pos x="208" y="372"/>
                      </a:cxn>
                      <a:cxn ang="0">
                        <a:pos x="208" y="362"/>
                      </a:cxn>
                      <a:cxn ang="0">
                        <a:pos x="208" y="335"/>
                      </a:cxn>
                      <a:cxn ang="0">
                        <a:pos x="206" y="293"/>
                      </a:cxn>
                      <a:cxn ang="0">
                        <a:pos x="199" y="242"/>
                      </a:cxn>
                      <a:cxn ang="0">
                        <a:pos x="185" y="183"/>
                      </a:cxn>
                      <a:cxn ang="0">
                        <a:pos x="163" y="120"/>
                      </a:cxn>
                      <a:cxn ang="0">
                        <a:pos x="131" y="58"/>
                      </a:cxn>
                      <a:cxn ang="0">
                        <a:pos x="85" y="0"/>
                      </a:cxn>
                    </a:cxnLst>
                    <a:rect l="0" t="0" r="r" b="b"/>
                    <a:pathLst>
                      <a:path w="350" h="540">
                        <a:moveTo>
                          <a:pt x="85" y="0"/>
                        </a:moveTo>
                        <a:lnTo>
                          <a:pt x="86" y="4"/>
                        </a:lnTo>
                        <a:lnTo>
                          <a:pt x="92" y="14"/>
                        </a:lnTo>
                        <a:lnTo>
                          <a:pt x="99" y="31"/>
                        </a:lnTo>
                        <a:lnTo>
                          <a:pt x="108" y="53"/>
                        </a:lnTo>
                        <a:lnTo>
                          <a:pt x="118" y="80"/>
                        </a:lnTo>
                        <a:lnTo>
                          <a:pt x="126" y="110"/>
                        </a:lnTo>
                        <a:lnTo>
                          <a:pt x="133" y="143"/>
                        </a:lnTo>
                        <a:lnTo>
                          <a:pt x="141" y="179"/>
                        </a:lnTo>
                        <a:lnTo>
                          <a:pt x="143" y="215"/>
                        </a:lnTo>
                        <a:lnTo>
                          <a:pt x="142" y="252"/>
                        </a:lnTo>
                        <a:lnTo>
                          <a:pt x="136" y="289"/>
                        </a:lnTo>
                        <a:lnTo>
                          <a:pt x="126" y="325"/>
                        </a:lnTo>
                        <a:lnTo>
                          <a:pt x="109" y="358"/>
                        </a:lnTo>
                        <a:lnTo>
                          <a:pt x="85" y="388"/>
                        </a:lnTo>
                        <a:lnTo>
                          <a:pt x="52" y="415"/>
                        </a:lnTo>
                        <a:lnTo>
                          <a:pt x="10" y="438"/>
                        </a:lnTo>
                        <a:lnTo>
                          <a:pt x="7" y="441"/>
                        </a:lnTo>
                        <a:lnTo>
                          <a:pt x="3" y="450"/>
                        </a:lnTo>
                        <a:lnTo>
                          <a:pt x="0" y="461"/>
                        </a:lnTo>
                        <a:lnTo>
                          <a:pt x="2" y="475"/>
                        </a:lnTo>
                        <a:lnTo>
                          <a:pt x="13" y="491"/>
                        </a:lnTo>
                        <a:lnTo>
                          <a:pt x="37" y="508"/>
                        </a:lnTo>
                        <a:lnTo>
                          <a:pt x="79" y="523"/>
                        </a:lnTo>
                        <a:lnTo>
                          <a:pt x="142" y="537"/>
                        </a:lnTo>
                        <a:lnTo>
                          <a:pt x="174" y="540"/>
                        </a:lnTo>
                        <a:lnTo>
                          <a:pt x="204" y="537"/>
                        </a:lnTo>
                        <a:lnTo>
                          <a:pt x="231" y="528"/>
                        </a:lnTo>
                        <a:lnTo>
                          <a:pt x="257" y="516"/>
                        </a:lnTo>
                        <a:lnTo>
                          <a:pt x="279" y="498"/>
                        </a:lnTo>
                        <a:lnTo>
                          <a:pt x="300" y="475"/>
                        </a:lnTo>
                        <a:lnTo>
                          <a:pt x="317" y="448"/>
                        </a:lnTo>
                        <a:lnTo>
                          <a:pt x="331" y="418"/>
                        </a:lnTo>
                        <a:lnTo>
                          <a:pt x="341" y="382"/>
                        </a:lnTo>
                        <a:lnTo>
                          <a:pt x="347" y="344"/>
                        </a:lnTo>
                        <a:lnTo>
                          <a:pt x="350" y="301"/>
                        </a:lnTo>
                        <a:lnTo>
                          <a:pt x="345" y="255"/>
                        </a:lnTo>
                        <a:lnTo>
                          <a:pt x="338" y="206"/>
                        </a:lnTo>
                        <a:lnTo>
                          <a:pt x="325" y="154"/>
                        </a:lnTo>
                        <a:lnTo>
                          <a:pt x="305" y="99"/>
                        </a:lnTo>
                        <a:lnTo>
                          <a:pt x="281" y="41"/>
                        </a:lnTo>
                        <a:lnTo>
                          <a:pt x="282" y="53"/>
                        </a:lnTo>
                        <a:lnTo>
                          <a:pt x="284" y="81"/>
                        </a:lnTo>
                        <a:lnTo>
                          <a:pt x="284" y="124"/>
                        </a:lnTo>
                        <a:lnTo>
                          <a:pt x="281" y="176"/>
                        </a:lnTo>
                        <a:lnTo>
                          <a:pt x="274" y="230"/>
                        </a:lnTo>
                        <a:lnTo>
                          <a:pt x="261" y="285"/>
                        </a:lnTo>
                        <a:lnTo>
                          <a:pt x="239" y="334"/>
                        </a:lnTo>
                        <a:lnTo>
                          <a:pt x="208" y="372"/>
                        </a:lnTo>
                        <a:lnTo>
                          <a:pt x="208" y="362"/>
                        </a:lnTo>
                        <a:lnTo>
                          <a:pt x="208" y="335"/>
                        </a:lnTo>
                        <a:lnTo>
                          <a:pt x="206" y="293"/>
                        </a:lnTo>
                        <a:lnTo>
                          <a:pt x="199" y="242"/>
                        </a:lnTo>
                        <a:lnTo>
                          <a:pt x="185" y="183"/>
                        </a:lnTo>
                        <a:lnTo>
                          <a:pt x="163" y="120"/>
                        </a:lnTo>
                        <a:lnTo>
                          <a:pt x="131" y="58"/>
                        </a:lnTo>
                        <a:lnTo>
                          <a:pt x="85" y="0"/>
                        </a:lnTo>
                        <a:close/>
                      </a:path>
                    </a:pathLst>
                  </a:custGeom>
                  <a:solidFill>
                    <a:srgbClr val="E6E6E6">
                      <a:lumMod val="90000"/>
                    </a:srgbClr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da-DK" kern="0">
                      <a:solidFill>
                        <a:sysClr val="windowText" lastClr="000000"/>
                      </a:solidFill>
                      <a:latin typeface="+mn-lt"/>
                      <a:ea typeface="ＭＳ Ｐゴシック" pitchFamily="-97" charset="-128"/>
                      <a:cs typeface="+mn-cs"/>
                    </a:endParaRPr>
                  </a:p>
                </p:txBody>
              </p:sp>
              <p:sp>
                <p:nvSpPr>
                  <p:cNvPr id="277" name="Freeform 503"/>
                  <p:cNvSpPr>
                    <a:spLocks/>
                  </p:cNvSpPr>
                  <p:nvPr/>
                </p:nvSpPr>
                <p:spPr bwMode="auto">
                  <a:xfrm>
                    <a:off x="7231063" y="4868863"/>
                    <a:ext cx="155575" cy="63500"/>
                  </a:xfrm>
                  <a:custGeom>
                    <a:avLst/>
                    <a:gdLst/>
                    <a:ahLst/>
                    <a:cxnLst>
                      <a:cxn ang="0">
                        <a:pos x="196" y="53"/>
                      </a:cxn>
                      <a:cxn ang="0">
                        <a:pos x="191" y="52"/>
                      </a:cxn>
                      <a:cxn ang="0">
                        <a:pos x="174" y="48"/>
                      </a:cxn>
                      <a:cxn ang="0">
                        <a:pos x="149" y="42"/>
                      </a:cxn>
                      <a:cxn ang="0">
                        <a:pos x="122" y="33"/>
                      </a:cxn>
                      <a:cxn ang="0">
                        <a:pos x="92" y="25"/>
                      </a:cxn>
                      <a:cxn ang="0">
                        <a:pos x="65" y="17"/>
                      </a:cxn>
                      <a:cxn ang="0">
                        <a:pos x="43" y="9"/>
                      </a:cxn>
                      <a:cxn ang="0">
                        <a:pos x="29" y="3"/>
                      </a:cxn>
                      <a:cxn ang="0">
                        <a:pos x="20" y="0"/>
                      </a:cxn>
                      <a:cxn ang="0">
                        <a:pos x="13" y="0"/>
                      </a:cxn>
                      <a:cxn ang="0">
                        <a:pos x="6" y="5"/>
                      </a:cxn>
                      <a:cxn ang="0">
                        <a:pos x="2" y="12"/>
                      </a:cxn>
                      <a:cxn ang="0">
                        <a:pos x="0" y="20"/>
                      </a:cxn>
                      <a:cxn ang="0">
                        <a:pos x="3" y="32"/>
                      </a:cxn>
                      <a:cxn ang="0">
                        <a:pos x="10" y="42"/>
                      </a:cxn>
                      <a:cxn ang="0">
                        <a:pos x="22" y="53"/>
                      </a:cxn>
                      <a:cxn ang="0">
                        <a:pos x="39" y="63"/>
                      </a:cxn>
                      <a:cxn ang="0">
                        <a:pos x="62" y="72"/>
                      </a:cxn>
                      <a:cxn ang="0">
                        <a:pos x="89" y="78"/>
                      </a:cxn>
                      <a:cxn ang="0">
                        <a:pos x="118" y="80"/>
                      </a:cxn>
                      <a:cxn ang="0">
                        <a:pos x="143" y="79"/>
                      </a:cxn>
                      <a:cxn ang="0">
                        <a:pos x="168" y="75"/>
                      </a:cxn>
                      <a:cxn ang="0">
                        <a:pos x="186" y="66"/>
                      </a:cxn>
                      <a:cxn ang="0">
                        <a:pos x="196" y="53"/>
                      </a:cxn>
                    </a:cxnLst>
                    <a:rect l="0" t="0" r="r" b="b"/>
                    <a:pathLst>
                      <a:path w="196" h="80">
                        <a:moveTo>
                          <a:pt x="196" y="53"/>
                        </a:moveTo>
                        <a:lnTo>
                          <a:pt x="191" y="52"/>
                        </a:lnTo>
                        <a:lnTo>
                          <a:pt x="174" y="48"/>
                        </a:lnTo>
                        <a:lnTo>
                          <a:pt x="149" y="42"/>
                        </a:lnTo>
                        <a:lnTo>
                          <a:pt x="122" y="33"/>
                        </a:lnTo>
                        <a:lnTo>
                          <a:pt x="92" y="25"/>
                        </a:lnTo>
                        <a:lnTo>
                          <a:pt x="65" y="17"/>
                        </a:lnTo>
                        <a:lnTo>
                          <a:pt x="43" y="9"/>
                        </a:lnTo>
                        <a:lnTo>
                          <a:pt x="29" y="3"/>
                        </a:lnTo>
                        <a:lnTo>
                          <a:pt x="20" y="0"/>
                        </a:lnTo>
                        <a:lnTo>
                          <a:pt x="13" y="0"/>
                        </a:lnTo>
                        <a:lnTo>
                          <a:pt x="6" y="5"/>
                        </a:lnTo>
                        <a:lnTo>
                          <a:pt x="2" y="12"/>
                        </a:lnTo>
                        <a:lnTo>
                          <a:pt x="0" y="20"/>
                        </a:lnTo>
                        <a:lnTo>
                          <a:pt x="3" y="32"/>
                        </a:lnTo>
                        <a:lnTo>
                          <a:pt x="10" y="42"/>
                        </a:lnTo>
                        <a:lnTo>
                          <a:pt x="22" y="53"/>
                        </a:lnTo>
                        <a:lnTo>
                          <a:pt x="39" y="63"/>
                        </a:lnTo>
                        <a:lnTo>
                          <a:pt x="62" y="72"/>
                        </a:lnTo>
                        <a:lnTo>
                          <a:pt x="89" y="78"/>
                        </a:lnTo>
                        <a:lnTo>
                          <a:pt x="118" y="80"/>
                        </a:lnTo>
                        <a:lnTo>
                          <a:pt x="143" y="79"/>
                        </a:lnTo>
                        <a:lnTo>
                          <a:pt x="168" y="75"/>
                        </a:lnTo>
                        <a:lnTo>
                          <a:pt x="186" y="66"/>
                        </a:lnTo>
                        <a:lnTo>
                          <a:pt x="196" y="53"/>
                        </a:lnTo>
                        <a:close/>
                      </a:path>
                    </a:pathLst>
                  </a:custGeom>
                  <a:solidFill>
                    <a:srgbClr val="E6E6E6">
                      <a:lumMod val="90000"/>
                    </a:srgbClr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da-DK" kern="0">
                      <a:solidFill>
                        <a:sysClr val="windowText" lastClr="000000"/>
                      </a:solidFill>
                      <a:latin typeface="+mn-lt"/>
                      <a:ea typeface="ＭＳ Ｐゴシック" pitchFamily="-97" charset="-128"/>
                      <a:cs typeface="+mn-cs"/>
                    </a:endParaRPr>
                  </a:p>
                </p:txBody>
              </p:sp>
              <p:sp>
                <p:nvSpPr>
                  <p:cNvPr id="278" name="Freeform 504"/>
                  <p:cNvSpPr>
                    <a:spLocks/>
                  </p:cNvSpPr>
                  <p:nvPr/>
                </p:nvSpPr>
                <p:spPr bwMode="auto">
                  <a:xfrm>
                    <a:off x="7186613" y="4948238"/>
                    <a:ext cx="198438" cy="157163"/>
                  </a:xfrm>
                  <a:custGeom>
                    <a:avLst/>
                    <a:gdLst/>
                    <a:ahLst/>
                    <a:cxnLst>
                      <a:cxn ang="0">
                        <a:pos x="91" y="16"/>
                      </a:cxn>
                      <a:cxn ang="0">
                        <a:pos x="89" y="14"/>
                      </a:cxn>
                      <a:cxn ang="0">
                        <a:pos x="83" y="11"/>
                      </a:cxn>
                      <a:cxn ang="0">
                        <a:pos x="75" y="7"/>
                      </a:cxn>
                      <a:cxn ang="0">
                        <a:pos x="65" y="3"/>
                      </a:cxn>
                      <a:cxn ang="0">
                        <a:pos x="53" y="1"/>
                      </a:cxn>
                      <a:cxn ang="0">
                        <a:pos x="40" y="0"/>
                      </a:cxn>
                      <a:cxn ang="0">
                        <a:pos x="30" y="3"/>
                      </a:cxn>
                      <a:cxn ang="0">
                        <a:pos x="20" y="9"/>
                      </a:cxn>
                      <a:cxn ang="0">
                        <a:pos x="12" y="19"/>
                      </a:cxn>
                      <a:cxn ang="0">
                        <a:pos x="6" y="33"/>
                      </a:cxn>
                      <a:cxn ang="0">
                        <a:pos x="2" y="50"/>
                      </a:cxn>
                      <a:cxn ang="0">
                        <a:pos x="0" y="69"/>
                      </a:cxn>
                      <a:cxn ang="0">
                        <a:pos x="2" y="89"/>
                      </a:cxn>
                      <a:cxn ang="0">
                        <a:pos x="8" y="109"/>
                      </a:cxn>
                      <a:cxn ang="0">
                        <a:pos x="19" y="128"/>
                      </a:cxn>
                      <a:cxn ang="0">
                        <a:pos x="36" y="145"/>
                      </a:cxn>
                      <a:cxn ang="0">
                        <a:pos x="58" y="160"/>
                      </a:cxn>
                      <a:cxn ang="0">
                        <a:pos x="82" y="172"/>
                      </a:cxn>
                      <a:cxn ang="0">
                        <a:pos x="106" y="183"/>
                      </a:cxn>
                      <a:cxn ang="0">
                        <a:pos x="132" y="191"/>
                      </a:cxn>
                      <a:cxn ang="0">
                        <a:pos x="156" y="195"/>
                      </a:cxn>
                      <a:cxn ang="0">
                        <a:pos x="181" y="196"/>
                      </a:cxn>
                      <a:cxn ang="0">
                        <a:pos x="202" y="193"/>
                      </a:cxn>
                      <a:cxn ang="0">
                        <a:pos x="221" y="188"/>
                      </a:cxn>
                      <a:cxn ang="0">
                        <a:pos x="235" y="176"/>
                      </a:cxn>
                      <a:cxn ang="0">
                        <a:pos x="244" y="159"/>
                      </a:cxn>
                      <a:cxn ang="0">
                        <a:pos x="250" y="138"/>
                      </a:cxn>
                      <a:cxn ang="0">
                        <a:pos x="248" y="115"/>
                      </a:cxn>
                      <a:cxn ang="0">
                        <a:pos x="244" y="92"/>
                      </a:cxn>
                      <a:cxn ang="0">
                        <a:pos x="234" y="73"/>
                      </a:cxn>
                      <a:cxn ang="0">
                        <a:pos x="218" y="59"/>
                      </a:cxn>
                      <a:cxn ang="0">
                        <a:pos x="198" y="52"/>
                      </a:cxn>
                      <a:cxn ang="0">
                        <a:pos x="175" y="47"/>
                      </a:cxn>
                      <a:cxn ang="0">
                        <a:pos x="155" y="43"/>
                      </a:cxn>
                      <a:cxn ang="0">
                        <a:pos x="136" y="37"/>
                      </a:cxn>
                      <a:cxn ang="0">
                        <a:pos x="121" y="31"/>
                      </a:cxn>
                      <a:cxn ang="0">
                        <a:pos x="108" y="26"/>
                      </a:cxn>
                      <a:cxn ang="0">
                        <a:pos x="99" y="20"/>
                      </a:cxn>
                      <a:cxn ang="0">
                        <a:pos x="92" y="17"/>
                      </a:cxn>
                      <a:cxn ang="0">
                        <a:pos x="91" y="16"/>
                      </a:cxn>
                    </a:cxnLst>
                    <a:rect l="0" t="0" r="r" b="b"/>
                    <a:pathLst>
                      <a:path w="250" h="196">
                        <a:moveTo>
                          <a:pt x="91" y="16"/>
                        </a:moveTo>
                        <a:lnTo>
                          <a:pt x="89" y="14"/>
                        </a:lnTo>
                        <a:lnTo>
                          <a:pt x="83" y="11"/>
                        </a:lnTo>
                        <a:lnTo>
                          <a:pt x="75" y="7"/>
                        </a:lnTo>
                        <a:lnTo>
                          <a:pt x="65" y="3"/>
                        </a:lnTo>
                        <a:lnTo>
                          <a:pt x="53" y="1"/>
                        </a:lnTo>
                        <a:lnTo>
                          <a:pt x="40" y="0"/>
                        </a:lnTo>
                        <a:lnTo>
                          <a:pt x="30" y="3"/>
                        </a:lnTo>
                        <a:lnTo>
                          <a:pt x="20" y="9"/>
                        </a:lnTo>
                        <a:lnTo>
                          <a:pt x="12" y="19"/>
                        </a:lnTo>
                        <a:lnTo>
                          <a:pt x="6" y="33"/>
                        </a:lnTo>
                        <a:lnTo>
                          <a:pt x="2" y="50"/>
                        </a:lnTo>
                        <a:lnTo>
                          <a:pt x="0" y="69"/>
                        </a:lnTo>
                        <a:lnTo>
                          <a:pt x="2" y="89"/>
                        </a:lnTo>
                        <a:lnTo>
                          <a:pt x="8" y="109"/>
                        </a:lnTo>
                        <a:lnTo>
                          <a:pt x="19" y="128"/>
                        </a:lnTo>
                        <a:lnTo>
                          <a:pt x="36" y="145"/>
                        </a:lnTo>
                        <a:lnTo>
                          <a:pt x="58" y="160"/>
                        </a:lnTo>
                        <a:lnTo>
                          <a:pt x="82" y="172"/>
                        </a:lnTo>
                        <a:lnTo>
                          <a:pt x="106" y="183"/>
                        </a:lnTo>
                        <a:lnTo>
                          <a:pt x="132" y="191"/>
                        </a:lnTo>
                        <a:lnTo>
                          <a:pt x="156" y="195"/>
                        </a:lnTo>
                        <a:lnTo>
                          <a:pt x="181" y="196"/>
                        </a:lnTo>
                        <a:lnTo>
                          <a:pt x="202" y="193"/>
                        </a:lnTo>
                        <a:lnTo>
                          <a:pt x="221" y="188"/>
                        </a:lnTo>
                        <a:lnTo>
                          <a:pt x="235" y="176"/>
                        </a:lnTo>
                        <a:lnTo>
                          <a:pt x="244" y="159"/>
                        </a:lnTo>
                        <a:lnTo>
                          <a:pt x="250" y="138"/>
                        </a:lnTo>
                        <a:lnTo>
                          <a:pt x="248" y="115"/>
                        </a:lnTo>
                        <a:lnTo>
                          <a:pt x="244" y="92"/>
                        </a:lnTo>
                        <a:lnTo>
                          <a:pt x="234" y="73"/>
                        </a:lnTo>
                        <a:lnTo>
                          <a:pt x="218" y="59"/>
                        </a:lnTo>
                        <a:lnTo>
                          <a:pt x="198" y="52"/>
                        </a:lnTo>
                        <a:lnTo>
                          <a:pt x="175" y="47"/>
                        </a:lnTo>
                        <a:lnTo>
                          <a:pt x="155" y="43"/>
                        </a:lnTo>
                        <a:lnTo>
                          <a:pt x="136" y="37"/>
                        </a:lnTo>
                        <a:lnTo>
                          <a:pt x="121" y="31"/>
                        </a:lnTo>
                        <a:lnTo>
                          <a:pt x="108" y="26"/>
                        </a:lnTo>
                        <a:lnTo>
                          <a:pt x="99" y="20"/>
                        </a:lnTo>
                        <a:lnTo>
                          <a:pt x="92" y="17"/>
                        </a:lnTo>
                        <a:lnTo>
                          <a:pt x="91" y="16"/>
                        </a:lnTo>
                        <a:close/>
                      </a:path>
                    </a:pathLst>
                  </a:custGeom>
                  <a:solidFill>
                    <a:srgbClr val="E6E6E6">
                      <a:lumMod val="90000"/>
                    </a:srgbClr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da-DK" kern="0">
                      <a:solidFill>
                        <a:sysClr val="windowText" lastClr="000000"/>
                      </a:solidFill>
                      <a:latin typeface="+mn-lt"/>
                      <a:ea typeface="ＭＳ Ｐゴシック" pitchFamily="-97" charset="-128"/>
                      <a:cs typeface="+mn-cs"/>
                    </a:endParaRPr>
                  </a:p>
                </p:txBody>
              </p:sp>
              <p:sp>
                <p:nvSpPr>
                  <p:cNvPr id="279" name="Freeform 505"/>
                  <p:cNvSpPr>
                    <a:spLocks/>
                  </p:cNvSpPr>
                  <p:nvPr/>
                </p:nvSpPr>
                <p:spPr bwMode="auto">
                  <a:xfrm>
                    <a:off x="7159625" y="5106988"/>
                    <a:ext cx="231775" cy="133350"/>
                  </a:xfrm>
                  <a:custGeom>
                    <a:avLst/>
                    <a:gdLst/>
                    <a:ahLst/>
                    <a:cxnLst>
                      <a:cxn ang="0">
                        <a:pos x="107" y="57"/>
                      </a:cxn>
                      <a:cxn ang="0">
                        <a:pos x="92" y="50"/>
                      </a:cxn>
                      <a:cxn ang="0">
                        <a:pos x="76" y="42"/>
                      </a:cxn>
                      <a:cxn ang="0">
                        <a:pos x="60" y="33"/>
                      </a:cxn>
                      <a:cxn ang="0">
                        <a:pos x="46" y="23"/>
                      </a:cxn>
                      <a:cxn ang="0">
                        <a:pos x="34" y="14"/>
                      </a:cxn>
                      <a:cxn ang="0">
                        <a:pos x="24" y="7"/>
                      </a:cxn>
                      <a:cxn ang="0">
                        <a:pos x="19" y="2"/>
                      </a:cxn>
                      <a:cxn ang="0">
                        <a:pos x="16" y="0"/>
                      </a:cxn>
                      <a:cxn ang="0">
                        <a:pos x="14" y="2"/>
                      </a:cxn>
                      <a:cxn ang="0">
                        <a:pos x="10" y="3"/>
                      </a:cxn>
                      <a:cxn ang="0">
                        <a:pos x="6" y="9"/>
                      </a:cxn>
                      <a:cxn ang="0">
                        <a:pos x="1" y="16"/>
                      </a:cxn>
                      <a:cxn ang="0">
                        <a:pos x="0" y="26"/>
                      </a:cxn>
                      <a:cxn ang="0">
                        <a:pos x="3" y="39"/>
                      </a:cxn>
                      <a:cxn ang="0">
                        <a:pos x="10" y="55"/>
                      </a:cxn>
                      <a:cxn ang="0">
                        <a:pos x="24" y="75"/>
                      </a:cxn>
                      <a:cxn ang="0">
                        <a:pos x="42" y="90"/>
                      </a:cxn>
                      <a:cxn ang="0">
                        <a:pos x="64" y="106"/>
                      </a:cxn>
                      <a:cxn ang="0">
                        <a:pos x="92" y="122"/>
                      </a:cxn>
                      <a:cxn ang="0">
                        <a:pos x="123" y="136"/>
                      </a:cxn>
                      <a:cxn ang="0">
                        <a:pos x="155" y="149"/>
                      </a:cxn>
                      <a:cxn ang="0">
                        <a:pos x="188" y="159"/>
                      </a:cxn>
                      <a:cxn ang="0">
                        <a:pos x="218" y="165"/>
                      </a:cxn>
                      <a:cxn ang="0">
                        <a:pos x="245" y="168"/>
                      </a:cxn>
                      <a:cxn ang="0">
                        <a:pos x="266" y="165"/>
                      </a:cxn>
                      <a:cxn ang="0">
                        <a:pos x="281" y="156"/>
                      </a:cxn>
                      <a:cxn ang="0">
                        <a:pos x="289" y="145"/>
                      </a:cxn>
                      <a:cxn ang="0">
                        <a:pos x="292" y="131"/>
                      </a:cxn>
                      <a:cxn ang="0">
                        <a:pos x="289" y="118"/>
                      </a:cxn>
                      <a:cxn ang="0">
                        <a:pos x="282" y="106"/>
                      </a:cxn>
                      <a:cxn ang="0">
                        <a:pos x="269" y="98"/>
                      </a:cxn>
                      <a:cxn ang="0">
                        <a:pos x="253" y="93"/>
                      </a:cxn>
                      <a:cxn ang="0">
                        <a:pos x="229" y="92"/>
                      </a:cxn>
                      <a:cxn ang="0">
                        <a:pos x="208" y="89"/>
                      </a:cxn>
                      <a:cxn ang="0">
                        <a:pos x="189" y="85"/>
                      </a:cxn>
                      <a:cxn ang="0">
                        <a:pos x="170" y="80"/>
                      </a:cxn>
                      <a:cxn ang="0">
                        <a:pos x="155" y="76"/>
                      </a:cxn>
                      <a:cxn ang="0">
                        <a:pos x="139" y="70"/>
                      </a:cxn>
                      <a:cxn ang="0">
                        <a:pos x="123" y="63"/>
                      </a:cxn>
                      <a:cxn ang="0">
                        <a:pos x="107" y="57"/>
                      </a:cxn>
                    </a:cxnLst>
                    <a:rect l="0" t="0" r="r" b="b"/>
                    <a:pathLst>
                      <a:path w="292" h="168">
                        <a:moveTo>
                          <a:pt x="107" y="57"/>
                        </a:moveTo>
                        <a:lnTo>
                          <a:pt x="92" y="50"/>
                        </a:lnTo>
                        <a:lnTo>
                          <a:pt x="76" y="42"/>
                        </a:lnTo>
                        <a:lnTo>
                          <a:pt x="60" y="33"/>
                        </a:lnTo>
                        <a:lnTo>
                          <a:pt x="46" y="23"/>
                        </a:lnTo>
                        <a:lnTo>
                          <a:pt x="34" y="14"/>
                        </a:lnTo>
                        <a:lnTo>
                          <a:pt x="24" y="7"/>
                        </a:lnTo>
                        <a:lnTo>
                          <a:pt x="19" y="2"/>
                        </a:lnTo>
                        <a:lnTo>
                          <a:pt x="16" y="0"/>
                        </a:lnTo>
                        <a:lnTo>
                          <a:pt x="14" y="2"/>
                        </a:lnTo>
                        <a:lnTo>
                          <a:pt x="10" y="3"/>
                        </a:lnTo>
                        <a:lnTo>
                          <a:pt x="6" y="9"/>
                        </a:lnTo>
                        <a:lnTo>
                          <a:pt x="1" y="16"/>
                        </a:lnTo>
                        <a:lnTo>
                          <a:pt x="0" y="26"/>
                        </a:lnTo>
                        <a:lnTo>
                          <a:pt x="3" y="39"/>
                        </a:lnTo>
                        <a:lnTo>
                          <a:pt x="10" y="55"/>
                        </a:lnTo>
                        <a:lnTo>
                          <a:pt x="24" y="75"/>
                        </a:lnTo>
                        <a:lnTo>
                          <a:pt x="42" y="90"/>
                        </a:lnTo>
                        <a:lnTo>
                          <a:pt x="64" y="106"/>
                        </a:lnTo>
                        <a:lnTo>
                          <a:pt x="92" y="122"/>
                        </a:lnTo>
                        <a:lnTo>
                          <a:pt x="123" y="136"/>
                        </a:lnTo>
                        <a:lnTo>
                          <a:pt x="155" y="149"/>
                        </a:lnTo>
                        <a:lnTo>
                          <a:pt x="188" y="159"/>
                        </a:lnTo>
                        <a:lnTo>
                          <a:pt x="218" y="165"/>
                        </a:lnTo>
                        <a:lnTo>
                          <a:pt x="245" y="168"/>
                        </a:lnTo>
                        <a:lnTo>
                          <a:pt x="266" y="165"/>
                        </a:lnTo>
                        <a:lnTo>
                          <a:pt x="281" y="156"/>
                        </a:lnTo>
                        <a:lnTo>
                          <a:pt x="289" y="145"/>
                        </a:lnTo>
                        <a:lnTo>
                          <a:pt x="292" y="131"/>
                        </a:lnTo>
                        <a:lnTo>
                          <a:pt x="289" y="118"/>
                        </a:lnTo>
                        <a:lnTo>
                          <a:pt x="282" y="106"/>
                        </a:lnTo>
                        <a:lnTo>
                          <a:pt x="269" y="98"/>
                        </a:lnTo>
                        <a:lnTo>
                          <a:pt x="253" y="93"/>
                        </a:lnTo>
                        <a:lnTo>
                          <a:pt x="229" y="92"/>
                        </a:lnTo>
                        <a:lnTo>
                          <a:pt x="208" y="89"/>
                        </a:lnTo>
                        <a:lnTo>
                          <a:pt x="189" y="85"/>
                        </a:lnTo>
                        <a:lnTo>
                          <a:pt x="170" y="80"/>
                        </a:lnTo>
                        <a:lnTo>
                          <a:pt x="155" y="76"/>
                        </a:lnTo>
                        <a:lnTo>
                          <a:pt x="139" y="70"/>
                        </a:lnTo>
                        <a:lnTo>
                          <a:pt x="123" y="63"/>
                        </a:lnTo>
                        <a:lnTo>
                          <a:pt x="107" y="57"/>
                        </a:lnTo>
                        <a:close/>
                      </a:path>
                    </a:pathLst>
                  </a:custGeom>
                  <a:solidFill>
                    <a:srgbClr val="E6E6E6">
                      <a:lumMod val="90000"/>
                    </a:srgbClr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da-DK" kern="0">
                      <a:solidFill>
                        <a:sysClr val="windowText" lastClr="000000"/>
                      </a:solidFill>
                      <a:latin typeface="+mn-lt"/>
                      <a:ea typeface="ＭＳ Ｐゴシック" pitchFamily="-97" charset="-128"/>
                      <a:cs typeface="+mn-cs"/>
                    </a:endParaRPr>
                  </a:p>
                </p:txBody>
              </p:sp>
              <p:sp>
                <p:nvSpPr>
                  <p:cNvPr id="280" name="Freeform 506"/>
                  <p:cNvSpPr>
                    <a:spLocks/>
                  </p:cNvSpPr>
                  <p:nvPr/>
                </p:nvSpPr>
                <p:spPr bwMode="auto">
                  <a:xfrm>
                    <a:off x="7629525" y="4943475"/>
                    <a:ext cx="149225" cy="82550"/>
                  </a:xfrm>
                  <a:custGeom>
                    <a:avLst/>
                    <a:gdLst/>
                    <a:ahLst/>
                    <a:cxnLst>
                      <a:cxn ang="0">
                        <a:pos x="115" y="102"/>
                      </a:cxn>
                      <a:cxn ang="0">
                        <a:pos x="118" y="100"/>
                      </a:cxn>
                      <a:cxn ang="0">
                        <a:pos x="128" y="97"/>
                      </a:cxn>
                      <a:cxn ang="0">
                        <a:pos x="141" y="92"/>
                      </a:cxn>
                      <a:cxn ang="0">
                        <a:pos x="155" y="84"/>
                      </a:cxn>
                      <a:cxn ang="0">
                        <a:pos x="169" y="76"/>
                      </a:cxn>
                      <a:cxn ang="0">
                        <a:pos x="181" y="66"/>
                      </a:cxn>
                      <a:cxn ang="0">
                        <a:pos x="188" y="54"/>
                      </a:cxn>
                      <a:cxn ang="0">
                        <a:pos x="189" y="43"/>
                      </a:cxn>
                      <a:cxn ang="0">
                        <a:pos x="185" y="31"/>
                      </a:cxn>
                      <a:cxn ang="0">
                        <a:pos x="178" y="21"/>
                      </a:cxn>
                      <a:cxn ang="0">
                        <a:pos x="168" y="13"/>
                      </a:cxn>
                      <a:cxn ang="0">
                        <a:pos x="157" y="7"/>
                      </a:cxn>
                      <a:cxn ang="0">
                        <a:pos x="142" y="3"/>
                      </a:cxn>
                      <a:cxn ang="0">
                        <a:pos x="128" y="0"/>
                      </a:cxn>
                      <a:cxn ang="0">
                        <a:pos x="114" y="0"/>
                      </a:cxn>
                      <a:cxn ang="0">
                        <a:pos x="98" y="1"/>
                      </a:cxn>
                      <a:cxn ang="0">
                        <a:pos x="81" y="4"/>
                      </a:cxn>
                      <a:cxn ang="0">
                        <a:pos x="62" y="8"/>
                      </a:cxn>
                      <a:cxn ang="0">
                        <a:pos x="43" y="13"/>
                      </a:cxn>
                      <a:cxn ang="0">
                        <a:pos x="25" y="18"/>
                      </a:cxn>
                      <a:cxn ang="0">
                        <a:pos x="10" y="26"/>
                      </a:cxn>
                      <a:cxn ang="0">
                        <a:pos x="2" y="34"/>
                      </a:cxn>
                      <a:cxn ang="0">
                        <a:pos x="0" y="46"/>
                      </a:cxn>
                      <a:cxn ang="0">
                        <a:pos x="8" y="60"/>
                      </a:cxn>
                      <a:cxn ang="0">
                        <a:pos x="19" y="74"/>
                      </a:cxn>
                      <a:cxn ang="0">
                        <a:pos x="32" y="84"/>
                      </a:cxn>
                      <a:cxn ang="0">
                        <a:pos x="43" y="93"/>
                      </a:cxn>
                      <a:cxn ang="0">
                        <a:pos x="55" y="99"/>
                      </a:cxn>
                      <a:cxn ang="0">
                        <a:pos x="68" y="103"/>
                      </a:cxn>
                      <a:cxn ang="0">
                        <a:pos x="82" y="104"/>
                      </a:cxn>
                      <a:cxn ang="0">
                        <a:pos x="98" y="103"/>
                      </a:cxn>
                      <a:cxn ang="0">
                        <a:pos x="115" y="102"/>
                      </a:cxn>
                    </a:cxnLst>
                    <a:rect l="0" t="0" r="r" b="b"/>
                    <a:pathLst>
                      <a:path w="189" h="104">
                        <a:moveTo>
                          <a:pt x="115" y="102"/>
                        </a:moveTo>
                        <a:lnTo>
                          <a:pt x="118" y="100"/>
                        </a:lnTo>
                        <a:lnTo>
                          <a:pt x="128" y="97"/>
                        </a:lnTo>
                        <a:lnTo>
                          <a:pt x="141" y="92"/>
                        </a:lnTo>
                        <a:lnTo>
                          <a:pt x="155" y="84"/>
                        </a:lnTo>
                        <a:lnTo>
                          <a:pt x="169" y="76"/>
                        </a:lnTo>
                        <a:lnTo>
                          <a:pt x="181" y="66"/>
                        </a:lnTo>
                        <a:lnTo>
                          <a:pt x="188" y="54"/>
                        </a:lnTo>
                        <a:lnTo>
                          <a:pt x="189" y="43"/>
                        </a:lnTo>
                        <a:lnTo>
                          <a:pt x="185" y="31"/>
                        </a:lnTo>
                        <a:lnTo>
                          <a:pt x="178" y="21"/>
                        </a:lnTo>
                        <a:lnTo>
                          <a:pt x="168" y="13"/>
                        </a:lnTo>
                        <a:lnTo>
                          <a:pt x="157" y="7"/>
                        </a:lnTo>
                        <a:lnTo>
                          <a:pt x="142" y="3"/>
                        </a:lnTo>
                        <a:lnTo>
                          <a:pt x="128" y="0"/>
                        </a:lnTo>
                        <a:lnTo>
                          <a:pt x="114" y="0"/>
                        </a:lnTo>
                        <a:lnTo>
                          <a:pt x="98" y="1"/>
                        </a:lnTo>
                        <a:lnTo>
                          <a:pt x="81" y="4"/>
                        </a:lnTo>
                        <a:lnTo>
                          <a:pt x="62" y="8"/>
                        </a:lnTo>
                        <a:lnTo>
                          <a:pt x="43" y="13"/>
                        </a:lnTo>
                        <a:lnTo>
                          <a:pt x="25" y="18"/>
                        </a:lnTo>
                        <a:lnTo>
                          <a:pt x="10" y="26"/>
                        </a:lnTo>
                        <a:lnTo>
                          <a:pt x="2" y="34"/>
                        </a:lnTo>
                        <a:lnTo>
                          <a:pt x="0" y="46"/>
                        </a:lnTo>
                        <a:lnTo>
                          <a:pt x="8" y="60"/>
                        </a:lnTo>
                        <a:lnTo>
                          <a:pt x="19" y="74"/>
                        </a:lnTo>
                        <a:lnTo>
                          <a:pt x="32" y="84"/>
                        </a:lnTo>
                        <a:lnTo>
                          <a:pt x="43" y="93"/>
                        </a:lnTo>
                        <a:lnTo>
                          <a:pt x="55" y="99"/>
                        </a:lnTo>
                        <a:lnTo>
                          <a:pt x="68" y="103"/>
                        </a:lnTo>
                        <a:lnTo>
                          <a:pt x="82" y="104"/>
                        </a:lnTo>
                        <a:lnTo>
                          <a:pt x="98" y="103"/>
                        </a:lnTo>
                        <a:lnTo>
                          <a:pt x="115" y="102"/>
                        </a:lnTo>
                        <a:close/>
                      </a:path>
                    </a:pathLst>
                  </a:custGeom>
                  <a:solidFill>
                    <a:srgbClr val="E6E6E6">
                      <a:lumMod val="90000"/>
                    </a:srgbClr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da-DK" kern="0">
                      <a:solidFill>
                        <a:sysClr val="windowText" lastClr="000000"/>
                      </a:solidFill>
                      <a:latin typeface="+mn-lt"/>
                      <a:ea typeface="ＭＳ Ｐゴシック" pitchFamily="-97" charset="-128"/>
                      <a:cs typeface="+mn-cs"/>
                    </a:endParaRPr>
                  </a:p>
                </p:txBody>
              </p:sp>
              <p:sp>
                <p:nvSpPr>
                  <p:cNvPr id="281" name="Freeform 507"/>
                  <p:cNvSpPr>
                    <a:spLocks/>
                  </p:cNvSpPr>
                  <p:nvPr/>
                </p:nvSpPr>
                <p:spPr bwMode="auto">
                  <a:xfrm>
                    <a:off x="7556500" y="4335463"/>
                    <a:ext cx="195263" cy="436563"/>
                  </a:xfrm>
                  <a:custGeom>
                    <a:avLst/>
                    <a:gdLst/>
                    <a:ahLst/>
                    <a:cxnLst>
                      <a:cxn ang="0">
                        <a:pos x="0" y="0"/>
                      </a:cxn>
                      <a:cxn ang="0">
                        <a:pos x="1" y="1"/>
                      </a:cxn>
                      <a:cxn ang="0">
                        <a:pos x="8" y="5"/>
                      </a:cxn>
                      <a:cxn ang="0">
                        <a:pos x="17" y="12"/>
                      </a:cxn>
                      <a:cxn ang="0">
                        <a:pos x="30" y="22"/>
                      </a:cxn>
                      <a:cxn ang="0">
                        <a:pos x="46" y="35"/>
                      </a:cxn>
                      <a:cxn ang="0">
                        <a:pos x="63" y="51"/>
                      </a:cxn>
                      <a:cxn ang="0">
                        <a:pos x="81" y="68"/>
                      </a:cxn>
                      <a:cxn ang="0">
                        <a:pos x="100" y="87"/>
                      </a:cxn>
                      <a:cxn ang="0">
                        <a:pos x="122" y="110"/>
                      </a:cxn>
                      <a:cxn ang="0">
                        <a:pos x="142" y="133"/>
                      </a:cxn>
                      <a:cxn ang="0">
                        <a:pos x="162" y="157"/>
                      </a:cxn>
                      <a:cxn ang="0">
                        <a:pos x="180" y="184"/>
                      </a:cxn>
                      <a:cxn ang="0">
                        <a:pos x="199" y="213"/>
                      </a:cxn>
                      <a:cxn ang="0">
                        <a:pos x="215" y="242"/>
                      </a:cxn>
                      <a:cxn ang="0">
                        <a:pos x="228" y="273"/>
                      </a:cxn>
                      <a:cxn ang="0">
                        <a:pos x="239" y="305"/>
                      </a:cxn>
                      <a:cxn ang="0">
                        <a:pos x="246" y="343"/>
                      </a:cxn>
                      <a:cxn ang="0">
                        <a:pos x="246" y="381"/>
                      </a:cxn>
                      <a:cxn ang="0">
                        <a:pos x="240" y="417"/>
                      </a:cxn>
                      <a:cxn ang="0">
                        <a:pos x="230" y="450"/>
                      </a:cxn>
                      <a:cxn ang="0">
                        <a:pos x="219" y="481"/>
                      </a:cxn>
                      <a:cxn ang="0">
                        <a:pos x="205" y="507"/>
                      </a:cxn>
                      <a:cxn ang="0">
                        <a:pos x="192" y="528"/>
                      </a:cxn>
                      <a:cxn ang="0">
                        <a:pos x="182" y="544"/>
                      </a:cxn>
                      <a:cxn ang="0">
                        <a:pos x="170" y="548"/>
                      </a:cxn>
                      <a:cxn ang="0">
                        <a:pos x="157" y="538"/>
                      </a:cxn>
                      <a:cxn ang="0">
                        <a:pos x="144" y="517"/>
                      </a:cxn>
                      <a:cxn ang="0">
                        <a:pos x="130" y="490"/>
                      </a:cxn>
                      <a:cxn ang="0">
                        <a:pos x="119" y="458"/>
                      </a:cxn>
                      <a:cxn ang="0">
                        <a:pos x="109" y="427"/>
                      </a:cxn>
                      <a:cxn ang="0">
                        <a:pos x="101" y="399"/>
                      </a:cxn>
                      <a:cxn ang="0">
                        <a:pos x="99" y="379"/>
                      </a:cxn>
                      <a:cxn ang="0">
                        <a:pos x="100" y="361"/>
                      </a:cxn>
                      <a:cxn ang="0">
                        <a:pos x="100" y="333"/>
                      </a:cxn>
                      <a:cxn ang="0">
                        <a:pos x="100" y="299"/>
                      </a:cxn>
                      <a:cxn ang="0">
                        <a:pos x="96" y="258"/>
                      </a:cxn>
                      <a:cxn ang="0">
                        <a:pos x="86" y="206"/>
                      </a:cxn>
                      <a:cxn ang="0">
                        <a:pos x="67" y="147"/>
                      </a:cxn>
                      <a:cxn ang="0">
                        <a:pos x="40" y="78"/>
                      </a:cxn>
                      <a:cxn ang="0">
                        <a:pos x="0" y="0"/>
                      </a:cxn>
                    </a:cxnLst>
                    <a:rect l="0" t="0" r="r" b="b"/>
                    <a:pathLst>
                      <a:path w="246" h="548">
                        <a:moveTo>
                          <a:pt x="0" y="0"/>
                        </a:moveTo>
                        <a:lnTo>
                          <a:pt x="1" y="1"/>
                        </a:lnTo>
                        <a:lnTo>
                          <a:pt x="8" y="5"/>
                        </a:lnTo>
                        <a:lnTo>
                          <a:pt x="17" y="12"/>
                        </a:lnTo>
                        <a:lnTo>
                          <a:pt x="30" y="22"/>
                        </a:lnTo>
                        <a:lnTo>
                          <a:pt x="46" y="35"/>
                        </a:lnTo>
                        <a:lnTo>
                          <a:pt x="63" y="51"/>
                        </a:lnTo>
                        <a:lnTo>
                          <a:pt x="81" y="68"/>
                        </a:lnTo>
                        <a:lnTo>
                          <a:pt x="100" y="87"/>
                        </a:lnTo>
                        <a:lnTo>
                          <a:pt x="122" y="110"/>
                        </a:lnTo>
                        <a:lnTo>
                          <a:pt x="142" y="133"/>
                        </a:lnTo>
                        <a:lnTo>
                          <a:pt x="162" y="157"/>
                        </a:lnTo>
                        <a:lnTo>
                          <a:pt x="180" y="184"/>
                        </a:lnTo>
                        <a:lnTo>
                          <a:pt x="199" y="213"/>
                        </a:lnTo>
                        <a:lnTo>
                          <a:pt x="215" y="242"/>
                        </a:lnTo>
                        <a:lnTo>
                          <a:pt x="228" y="273"/>
                        </a:lnTo>
                        <a:lnTo>
                          <a:pt x="239" y="305"/>
                        </a:lnTo>
                        <a:lnTo>
                          <a:pt x="246" y="343"/>
                        </a:lnTo>
                        <a:lnTo>
                          <a:pt x="246" y="381"/>
                        </a:lnTo>
                        <a:lnTo>
                          <a:pt x="240" y="417"/>
                        </a:lnTo>
                        <a:lnTo>
                          <a:pt x="230" y="450"/>
                        </a:lnTo>
                        <a:lnTo>
                          <a:pt x="219" y="481"/>
                        </a:lnTo>
                        <a:lnTo>
                          <a:pt x="205" y="507"/>
                        </a:lnTo>
                        <a:lnTo>
                          <a:pt x="192" y="528"/>
                        </a:lnTo>
                        <a:lnTo>
                          <a:pt x="182" y="544"/>
                        </a:lnTo>
                        <a:lnTo>
                          <a:pt x="170" y="548"/>
                        </a:lnTo>
                        <a:lnTo>
                          <a:pt x="157" y="538"/>
                        </a:lnTo>
                        <a:lnTo>
                          <a:pt x="144" y="517"/>
                        </a:lnTo>
                        <a:lnTo>
                          <a:pt x="130" y="490"/>
                        </a:lnTo>
                        <a:lnTo>
                          <a:pt x="119" y="458"/>
                        </a:lnTo>
                        <a:lnTo>
                          <a:pt x="109" y="427"/>
                        </a:lnTo>
                        <a:lnTo>
                          <a:pt x="101" y="399"/>
                        </a:lnTo>
                        <a:lnTo>
                          <a:pt x="99" y="379"/>
                        </a:lnTo>
                        <a:lnTo>
                          <a:pt x="100" y="361"/>
                        </a:lnTo>
                        <a:lnTo>
                          <a:pt x="100" y="333"/>
                        </a:lnTo>
                        <a:lnTo>
                          <a:pt x="100" y="299"/>
                        </a:lnTo>
                        <a:lnTo>
                          <a:pt x="96" y="258"/>
                        </a:lnTo>
                        <a:lnTo>
                          <a:pt x="86" y="206"/>
                        </a:lnTo>
                        <a:lnTo>
                          <a:pt x="67" y="147"/>
                        </a:lnTo>
                        <a:lnTo>
                          <a:pt x="40" y="78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E6E6E6">
                      <a:lumMod val="90000"/>
                    </a:srgbClr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da-DK" kern="0">
                      <a:solidFill>
                        <a:sysClr val="windowText" lastClr="000000"/>
                      </a:solidFill>
                      <a:latin typeface="+mn-lt"/>
                      <a:ea typeface="ＭＳ Ｐゴシック" pitchFamily="-97" charset="-128"/>
                      <a:cs typeface="+mn-cs"/>
                    </a:endParaRPr>
                  </a:p>
                </p:txBody>
              </p:sp>
            </p:grpSp>
          </p:grpSp>
        </p:grpSp>
        <p:grpSp>
          <p:nvGrpSpPr>
            <p:cNvPr id="124" name="Gruppe 147"/>
            <p:cNvGrpSpPr>
              <a:grpSpLocks/>
            </p:cNvGrpSpPr>
            <p:nvPr/>
          </p:nvGrpSpPr>
          <p:grpSpPr bwMode="auto">
            <a:xfrm flipH="1">
              <a:off x="7512050" y="4522788"/>
              <a:ext cx="947738" cy="979487"/>
              <a:chOff x="5567363" y="4589211"/>
              <a:chExt cx="1506537" cy="1557589"/>
            </a:xfrm>
          </p:grpSpPr>
          <p:grpSp>
            <p:nvGrpSpPr>
              <p:cNvPr id="253" name="Gruppe 893"/>
              <p:cNvGrpSpPr>
                <a:grpSpLocks/>
              </p:cNvGrpSpPr>
              <p:nvPr/>
            </p:nvGrpSpPr>
            <p:grpSpPr bwMode="auto">
              <a:xfrm>
                <a:off x="5567363" y="4735515"/>
                <a:ext cx="1506537" cy="1411285"/>
                <a:chOff x="2389373" y="4876802"/>
                <a:chExt cx="885217" cy="1411285"/>
              </a:xfrm>
            </p:grpSpPr>
            <p:sp>
              <p:nvSpPr>
                <p:cNvPr id="255" name="Ellipse 490"/>
                <p:cNvSpPr/>
                <p:nvPr/>
              </p:nvSpPr>
              <p:spPr bwMode="auto">
                <a:xfrm>
                  <a:off x="2389373" y="5940529"/>
                  <a:ext cx="885217" cy="347558"/>
                </a:xfrm>
                <a:prstGeom prst="ellipse">
                  <a:avLst/>
                </a:prstGeom>
                <a:gradFill flip="none" rotWithShape="1">
                  <a:gsLst>
                    <a:gs pos="24000">
                      <a:sysClr val="windowText" lastClr="000000">
                        <a:alpha val="42000"/>
                      </a:sysClr>
                    </a:gs>
                    <a:gs pos="100000">
                      <a:sysClr val="window" lastClr="FFFFFF">
                        <a:alpha val="0"/>
                      </a:sysClr>
                    </a:gs>
                  </a:gsLst>
                  <a:path path="shape">
                    <a:fillToRect l="50000" t="50000" r="50000" b="50000"/>
                  </a:path>
                  <a:tileRect/>
                </a:gradFill>
                <a:ln w="952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 dirty="0" err="1">
                    <a:solidFill>
                      <a:sysClr val="window" lastClr="FFFFFF"/>
                    </a:solidFill>
                    <a:latin typeface="Calibri"/>
                    <a:ea typeface="ＭＳ Ｐゴシック" pitchFamily="-97" charset="-128"/>
                    <a:cs typeface="+mn-cs"/>
                  </a:endParaRPr>
                </a:p>
              </p:txBody>
            </p:sp>
            <p:grpSp>
              <p:nvGrpSpPr>
                <p:cNvPr id="256" name="Gruppe 823"/>
                <p:cNvGrpSpPr>
                  <a:grpSpLocks/>
                </p:cNvGrpSpPr>
                <p:nvPr/>
              </p:nvGrpSpPr>
              <p:grpSpPr bwMode="auto">
                <a:xfrm>
                  <a:off x="2506513" y="4876802"/>
                  <a:ext cx="618316" cy="1300210"/>
                  <a:chOff x="1020576" y="3975116"/>
                  <a:chExt cx="732770" cy="1896718"/>
                </a:xfrm>
              </p:grpSpPr>
              <p:grpSp>
                <p:nvGrpSpPr>
                  <p:cNvPr id="257" name="Gruppe 605"/>
                  <p:cNvGrpSpPr>
                    <a:grpSpLocks/>
                  </p:cNvGrpSpPr>
                  <p:nvPr/>
                </p:nvGrpSpPr>
                <p:grpSpPr bwMode="auto">
                  <a:xfrm>
                    <a:off x="1020576" y="4089443"/>
                    <a:ext cx="732770" cy="1782391"/>
                    <a:chOff x="-8201" y="3496107"/>
                    <a:chExt cx="971319" cy="2362636"/>
                  </a:xfrm>
                </p:grpSpPr>
                <p:sp>
                  <p:nvSpPr>
                    <p:cNvPr id="263" name="Freeform 130"/>
                    <p:cNvSpPr>
                      <a:spLocks/>
                    </p:cNvSpPr>
                    <p:nvPr/>
                  </p:nvSpPr>
                  <p:spPr bwMode="auto">
                    <a:xfrm>
                      <a:off x="-2161" y="3600167"/>
                      <a:ext cx="900013" cy="2250613"/>
                    </a:xfrm>
                    <a:custGeom>
                      <a:avLst/>
                      <a:gdLst/>
                      <a:ahLst/>
                      <a:cxnLst>
                        <a:cxn ang="0">
                          <a:pos x="145" y="87"/>
                        </a:cxn>
                        <a:cxn ang="0">
                          <a:pos x="99" y="110"/>
                        </a:cxn>
                        <a:cxn ang="0">
                          <a:pos x="93" y="162"/>
                        </a:cxn>
                        <a:cxn ang="0">
                          <a:pos x="158" y="272"/>
                        </a:cxn>
                        <a:cxn ang="0">
                          <a:pos x="138" y="326"/>
                        </a:cxn>
                        <a:cxn ang="0">
                          <a:pos x="89" y="375"/>
                        </a:cxn>
                        <a:cxn ang="0">
                          <a:pos x="70" y="414"/>
                        </a:cxn>
                        <a:cxn ang="0">
                          <a:pos x="94" y="449"/>
                        </a:cxn>
                        <a:cxn ang="0">
                          <a:pos x="168" y="522"/>
                        </a:cxn>
                        <a:cxn ang="0">
                          <a:pos x="150" y="638"/>
                        </a:cxn>
                        <a:cxn ang="0">
                          <a:pos x="115" y="750"/>
                        </a:cxn>
                        <a:cxn ang="0">
                          <a:pos x="70" y="804"/>
                        </a:cxn>
                        <a:cxn ang="0">
                          <a:pos x="53" y="835"/>
                        </a:cxn>
                        <a:cxn ang="0">
                          <a:pos x="75" y="868"/>
                        </a:cxn>
                        <a:cxn ang="0">
                          <a:pos x="34" y="905"/>
                        </a:cxn>
                        <a:cxn ang="0">
                          <a:pos x="8" y="942"/>
                        </a:cxn>
                        <a:cxn ang="0">
                          <a:pos x="15" y="999"/>
                        </a:cxn>
                        <a:cxn ang="0">
                          <a:pos x="0" y="1121"/>
                        </a:cxn>
                        <a:cxn ang="0">
                          <a:pos x="69" y="1163"/>
                        </a:cxn>
                        <a:cxn ang="0">
                          <a:pos x="171" y="1189"/>
                        </a:cxn>
                        <a:cxn ang="0">
                          <a:pos x="285" y="1193"/>
                        </a:cxn>
                        <a:cxn ang="0">
                          <a:pos x="393" y="1175"/>
                        </a:cxn>
                        <a:cxn ang="0">
                          <a:pos x="474" y="1129"/>
                        </a:cxn>
                        <a:cxn ang="0">
                          <a:pos x="484" y="1032"/>
                        </a:cxn>
                        <a:cxn ang="0">
                          <a:pos x="489" y="965"/>
                        </a:cxn>
                        <a:cxn ang="0">
                          <a:pos x="470" y="921"/>
                        </a:cxn>
                        <a:cxn ang="0">
                          <a:pos x="441" y="870"/>
                        </a:cxn>
                        <a:cxn ang="0">
                          <a:pos x="449" y="832"/>
                        </a:cxn>
                        <a:cxn ang="0">
                          <a:pos x="425" y="805"/>
                        </a:cxn>
                        <a:cxn ang="0">
                          <a:pos x="373" y="713"/>
                        </a:cxn>
                        <a:cxn ang="0">
                          <a:pos x="349" y="609"/>
                        </a:cxn>
                        <a:cxn ang="0">
                          <a:pos x="344" y="485"/>
                        </a:cxn>
                        <a:cxn ang="0">
                          <a:pos x="417" y="446"/>
                        </a:cxn>
                        <a:cxn ang="0">
                          <a:pos x="436" y="411"/>
                        </a:cxn>
                        <a:cxn ang="0">
                          <a:pos x="414" y="374"/>
                        </a:cxn>
                        <a:cxn ang="0">
                          <a:pos x="379" y="343"/>
                        </a:cxn>
                        <a:cxn ang="0">
                          <a:pos x="393" y="306"/>
                        </a:cxn>
                        <a:cxn ang="0">
                          <a:pos x="376" y="273"/>
                        </a:cxn>
                        <a:cxn ang="0">
                          <a:pos x="409" y="192"/>
                        </a:cxn>
                        <a:cxn ang="0">
                          <a:pos x="432" y="139"/>
                        </a:cxn>
                        <a:cxn ang="0">
                          <a:pos x="416" y="110"/>
                        </a:cxn>
                        <a:cxn ang="0">
                          <a:pos x="349" y="77"/>
                        </a:cxn>
                        <a:cxn ang="0">
                          <a:pos x="322" y="42"/>
                        </a:cxn>
                        <a:cxn ang="0">
                          <a:pos x="309" y="16"/>
                        </a:cxn>
                        <a:cxn ang="0">
                          <a:pos x="281" y="2"/>
                        </a:cxn>
                        <a:cxn ang="0">
                          <a:pos x="243" y="3"/>
                        </a:cxn>
                        <a:cxn ang="0">
                          <a:pos x="215" y="27"/>
                        </a:cxn>
                      </a:cxnLst>
                      <a:rect l="0" t="0" r="r" b="b"/>
                      <a:pathLst>
                        <a:path w="493" h="1194">
                          <a:moveTo>
                            <a:pt x="208" y="62"/>
                          </a:moveTo>
                          <a:lnTo>
                            <a:pt x="167" y="83"/>
                          </a:lnTo>
                          <a:lnTo>
                            <a:pt x="145" y="87"/>
                          </a:lnTo>
                          <a:lnTo>
                            <a:pt x="125" y="93"/>
                          </a:lnTo>
                          <a:lnTo>
                            <a:pt x="110" y="100"/>
                          </a:lnTo>
                          <a:lnTo>
                            <a:pt x="99" y="110"/>
                          </a:lnTo>
                          <a:lnTo>
                            <a:pt x="92" y="124"/>
                          </a:lnTo>
                          <a:lnTo>
                            <a:pt x="90" y="141"/>
                          </a:lnTo>
                          <a:lnTo>
                            <a:pt x="93" y="162"/>
                          </a:lnTo>
                          <a:lnTo>
                            <a:pt x="104" y="187"/>
                          </a:lnTo>
                          <a:lnTo>
                            <a:pt x="158" y="242"/>
                          </a:lnTo>
                          <a:lnTo>
                            <a:pt x="158" y="272"/>
                          </a:lnTo>
                          <a:lnTo>
                            <a:pt x="140" y="282"/>
                          </a:lnTo>
                          <a:lnTo>
                            <a:pt x="135" y="302"/>
                          </a:lnTo>
                          <a:lnTo>
                            <a:pt x="138" y="326"/>
                          </a:lnTo>
                          <a:lnTo>
                            <a:pt x="147" y="346"/>
                          </a:lnTo>
                          <a:lnTo>
                            <a:pt x="104" y="360"/>
                          </a:lnTo>
                          <a:lnTo>
                            <a:pt x="89" y="375"/>
                          </a:lnTo>
                          <a:lnTo>
                            <a:pt x="77" y="389"/>
                          </a:lnTo>
                          <a:lnTo>
                            <a:pt x="71" y="402"/>
                          </a:lnTo>
                          <a:lnTo>
                            <a:pt x="70" y="414"/>
                          </a:lnTo>
                          <a:lnTo>
                            <a:pt x="74" y="426"/>
                          </a:lnTo>
                          <a:lnTo>
                            <a:pt x="82" y="437"/>
                          </a:lnTo>
                          <a:lnTo>
                            <a:pt x="94" y="449"/>
                          </a:lnTo>
                          <a:lnTo>
                            <a:pt x="113" y="459"/>
                          </a:lnTo>
                          <a:lnTo>
                            <a:pt x="173" y="480"/>
                          </a:lnTo>
                          <a:lnTo>
                            <a:pt x="168" y="522"/>
                          </a:lnTo>
                          <a:lnTo>
                            <a:pt x="162" y="562"/>
                          </a:lnTo>
                          <a:lnTo>
                            <a:pt x="156" y="601"/>
                          </a:lnTo>
                          <a:lnTo>
                            <a:pt x="150" y="638"/>
                          </a:lnTo>
                          <a:lnTo>
                            <a:pt x="140" y="676"/>
                          </a:lnTo>
                          <a:lnTo>
                            <a:pt x="129" y="713"/>
                          </a:lnTo>
                          <a:lnTo>
                            <a:pt x="115" y="750"/>
                          </a:lnTo>
                          <a:lnTo>
                            <a:pt x="98" y="789"/>
                          </a:lnTo>
                          <a:lnTo>
                            <a:pt x="83" y="796"/>
                          </a:lnTo>
                          <a:lnTo>
                            <a:pt x="70" y="804"/>
                          </a:lnTo>
                          <a:lnTo>
                            <a:pt x="61" y="814"/>
                          </a:lnTo>
                          <a:lnTo>
                            <a:pt x="55" y="823"/>
                          </a:lnTo>
                          <a:lnTo>
                            <a:pt x="53" y="835"/>
                          </a:lnTo>
                          <a:lnTo>
                            <a:pt x="55" y="845"/>
                          </a:lnTo>
                          <a:lnTo>
                            <a:pt x="62" y="857"/>
                          </a:lnTo>
                          <a:lnTo>
                            <a:pt x="75" y="868"/>
                          </a:lnTo>
                          <a:lnTo>
                            <a:pt x="78" y="889"/>
                          </a:lnTo>
                          <a:lnTo>
                            <a:pt x="53" y="896"/>
                          </a:lnTo>
                          <a:lnTo>
                            <a:pt x="34" y="905"/>
                          </a:lnTo>
                          <a:lnTo>
                            <a:pt x="21" y="916"/>
                          </a:lnTo>
                          <a:lnTo>
                            <a:pt x="13" y="928"/>
                          </a:lnTo>
                          <a:lnTo>
                            <a:pt x="8" y="942"/>
                          </a:lnTo>
                          <a:lnTo>
                            <a:pt x="8" y="959"/>
                          </a:lnTo>
                          <a:lnTo>
                            <a:pt x="10" y="978"/>
                          </a:lnTo>
                          <a:lnTo>
                            <a:pt x="15" y="999"/>
                          </a:lnTo>
                          <a:lnTo>
                            <a:pt x="19" y="1032"/>
                          </a:lnTo>
                          <a:lnTo>
                            <a:pt x="0" y="1057"/>
                          </a:lnTo>
                          <a:lnTo>
                            <a:pt x="0" y="1121"/>
                          </a:lnTo>
                          <a:lnTo>
                            <a:pt x="18" y="1137"/>
                          </a:lnTo>
                          <a:lnTo>
                            <a:pt x="41" y="1151"/>
                          </a:lnTo>
                          <a:lnTo>
                            <a:pt x="69" y="1163"/>
                          </a:lnTo>
                          <a:lnTo>
                            <a:pt x="101" y="1174"/>
                          </a:lnTo>
                          <a:lnTo>
                            <a:pt x="135" y="1182"/>
                          </a:lnTo>
                          <a:lnTo>
                            <a:pt x="171" y="1189"/>
                          </a:lnTo>
                          <a:lnTo>
                            <a:pt x="208" y="1192"/>
                          </a:lnTo>
                          <a:lnTo>
                            <a:pt x="246" y="1194"/>
                          </a:lnTo>
                          <a:lnTo>
                            <a:pt x="285" y="1193"/>
                          </a:lnTo>
                          <a:lnTo>
                            <a:pt x="322" y="1190"/>
                          </a:lnTo>
                          <a:lnTo>
                            <a:pt x="359" y="1184"/>
                          </a:lnTo>
                          <a:lnTo>
                            <a:pt x="393" y="1175"/>
                          </a:lnTo>
                          <a:lnTo>
                            <a:pt x="424" y="1162"/>
                          </a:lnTo>
                          <a:lnTo>
                            <a:pt x="451" y="1147"/>
                          </a:lnTo>
                          <a:lnTo>
                            <a:pt x="474" y="1129"/>
                          </a:lnTo>
                          <a:lnTo>
                            <a:pt x="493" y="1107"/>
                          </a:lnTo>
                          <a:lnTo>
                            <a:pt x="493" y="1069"/>
                          </a:lnTo>
                          <a:lnTo>
                            <a:pt x="484" y="1032"/>
                          </a:lnTo>
                          <a:lnTo>
                            <a:pt x="487" y="1005"/>
                          </a:lnTo>
                          <a:lnTo>
                            <a:pt x="489" y="984"/>
                          </a:lnTo>
                          <a:lnTo>
                            <a:pt x="489" y="965"/>
                          </a:lnTo>
                          <a:lnTo>
                            <a:pt x="486" y="950"/>
                          </a:lnTo>
                          <a:lnTo>
                            <a:pt x="480" y="936"/>
                          </a:lnTo>
                          <a:lnTo>
                            <a:pt x="470" y="921"/>
                          </a:lnTo>
                          <a:lnTo>
                            <a:pt x="454" y="906"/>
                          </a:lnTo>
                          <a:lnTo>
                            <a:pt x="433" y="888"/>
                          </a:lnTo>
                          <a:lnTo>
                            <a:pt x="441" y="870"/>
                          </a:lnTo>
                          <a:lnTo>
                            <a:pt x="446" y="855"/>
                          </a:lnTo>
                          <a:lnTo>
                            <a:pt x="449" y="842"/>
                          </a:lnTo>
                          <a:lnTo>
                            <a:pt x="449" y="832"/>
                          </a:lnTo>
                          <a:lnTo>
                            <a:pt x="444" y="823"/>
                          </a:lnTo>
                          <a:lnTo>
                            <a:pt x="438" y="814"/>
                          </a:lnTo>
                          <a:lnTo>
                            <a:pt x="425" y="805"/>
                          </a:lnTo>
                          <a:lnTo>
                            <a:pt x="409" y="793"/>
                          </a:lnTo>
                          <a:lnTo>
                            <a:pt x="389" y="751"/>
                          </a:lnTo>
                          <a:lnTo>
                            <a:pt x="373" y="713"/>
                          </a:lnTo>
                          <a:lnTo>
                            <a:pt x="362" y="677"/>
                          </a:lnTo>
                          <a:lnTo>
                            <a:pt x="355" y="644"/>
                          </a:lnTo>
                          <a:lnTo>
                            <a:pt x="349" y="609"/>
                          </a:lnTo>
                          <a:lnTo>
                            <a:pt x="345" y="572"/>
                          </a:lnTo>
                          <a:lnTo>
                            <a:pt x="344" y="531"/>
                          </a:lnTo>
                          <a:lnTo>
                            <a:pt x="344" y="485"/>
                          </a:lnTo>
                          <a:lnTo>
                            <a:pt x="379" y="471"/>
                          </a:lnTo>
                          <a:lnTo>
                            <a:pt x="404" y="455"/>
                          </a:lnTo>
                          <a:lnTo>
                            <a:pt x="417" y="446"/>
                          </a:lnTo>
                          <a:lnTo>
                            <a:pt x="426" y="435"/>
                          </a:lnTo>
                          <a:lnTo>
                            <a:pt x="433" y="423"/>
                          </a:lnTo>
                          <a:lnTo>
                            <a:pt x="436" y="411"/>
                          </a:lnTo>
                          <a:lnTo>
                            <a:pt x="434" y="398"/>
                          </a:lnTo>
                          <a:lnTo>
                            <a:pt x="427" y="386"/>
                          </a:lnTo>
                          <a:lnTo>
                            <a:pt x="414" y="374"/>
                          </a:lnTo>
                          <a:lnTo>
                            <a:pt x="394" y="364"/>
                          </a:lnTo>
                          <a:lnTo>
                            <a:pt x="368" y="356"/>
                          </a:lnTo>
                          <a:lnTo>
                            <a:pt x="379" y="343"/>
                          </a:lnTo>
                          <a:lnTo>
                            <a:pt x="386" y="330"/>
                          </a:lnTo>
                          <a:lnTo>
                            <a:pt x="390" y="318"/>
                          </a:lnTo>
                          <a:lnTo>
                            <a:pt x="393" y="306"/>
                          </a:lnTo>
                          <a:lnTo>
                            <a:pt x="390" y="295"/>
                          </a:lnTo>
                          <a:lnTo>
                            <a:pt x="386" y="283"/>
                          </a:lnTo>
                          <a:lnTo>
                            <a:pt x="376" y="273"/>
                          </a:lnTo>
                          <a:lnTo>
                            <a:pt x="364" y="261"/>
                          </a:lnTo>
                          <a:lnTo>
                            <a:pt x="389" y="227"/>
                          </a:lnTo>
                          <a:lnTo>
                            <a:pt x="409" y="192"/>
                          </a:lnTo>
                          <a:lnTo>
                            <a:pt x="420" y="170"/>
                          </a:lnTo>
                          <a:lnTo>
                            <a:pt x="428" y="153"/>
                          </a:lnTo>
                          <a:lnTo>
                            <a:pt x="432" y="139"/>
                          </a:lnTo>
                          <a:lnTo>
                            <a:pt x="432" y="128"/>
                          </a:lnTo>
                          <a:lnTo>
                            <a:pt x="426" y="118"/>
                          </a:lnTo>
                          <a:lnTo>
                            <a:pt x="416" y="110"/>
                          </a:lnTo>
                          <a:lnTo>
                            <a:pt x="400" y="102"/>
                          </a:lnTo>
                          <a:lnTo>
                            <a:pt x="378" y="92"/>
                          </a:lnTo>
                          <a:lnTo>
                            <a:pt x="349" y="77"/>
                          </a:lnTo>
                          <a:lnTo>
                            <a:pt x="320" y="68"/>
                          </a:lnTo>
                          <a:lnTo>
                            <a:pt x="322" y="54"/>
                          </a:lnTo>
                          <a:lnTo>
                            <a:pt x="322" y="42"/>
                          </a:lnTo>
                          <a:lnTo>
                            <a:pt x="320" y="32"/>
                          </a:lnTo>
                          <a:lnTo>
                            <a:pt x="315" y="23"/>
                          </a:lnTo>
                          <a:lnTo>
                            <a:pt x="309" y="16"/>
                          </a:lnTo>
                          <a:lnTo>
                            <a:pt x="300" y="10"/>
                          </a:lnTo>
                          <a:lnTo>
                            <a:pt x="291" y="5"/>
                          </a:lnTo>
                          <a:lnTo>
                            <a:pt x="281" y="2"/>
                          </a:lnTo>
                          <a:lnTo>
                            <a:pt x="268" y="0"/>
                          </a:lnTo>
                          <a:lnTo>
                            <a:pt x="256" y="1"/>
                          </a:lnTo>
                          <a:lnTo>
                            <a:pt x="243" y="3"/>
                          </a:lnTo>
                          <a:lnTo>
                            <a:pt x="233" y="8"/>
                          </a:lnTo>
                          <a:lnTo>
                            <a:pt x="222" y="16"/>
                          </a:lnTo>
                          <a:lnTo>
                            <a:pt x="215" y="27"/>
                          </a:lnTo>
                          <a:lnTo>
                            <a:pt x="211" y="42"/>
                          </a:lnTo>
                          <a:lnTo>
                            <a:pt x="208" y="62"/>
                          </a:lnTo>
                          <a:close/>
                        </a:path>
                      </a:pathLst>
                    </a:custGeom>
                    <a:gradFill flip="none" rotWithShape="1">
                      <a:gsLst>
                        <a:gs pos="100000">
                          <a:srgbClr val="E6E6E6"/>
                        </a:gs>
                        <a:gs pos="69000">
                          <a:srgbClr val="E6E6E6">
                            <a:lumMod val="90000"/>
                          </a:srgbClr>
                        </a:gs>
                        <a:gs pos="0">
                          <a:srgbClr val="E6E6E6">
                            <a:lumMod val="75000"/>
                          </a:srgbClr>
                        </a:gs>
                      </a:gsLst>
                      <a:lin ang="0" scaled="1"/>
                      <a:tileRect/>
                    </a:gradFill>
                    <a:ln w="9525" cap="flat" cmpd="sng" algn="ctr">
                      <a:noFill/>
                      <a:prstDash val="solid"/>
                    </a:ln>
                    <a:effectLst>
                      <a:outerShdw blurRad="40000" dist="23000" dir="5400000" rotWithShape="0">
                        <a:srgbClr val="000000">
                          <a:alpha val="35000"/>
                        </a:srgbClr>
                      </a:outerShdw>
                    </a:effectLst>
                  </p:spPr>
                  <p:txBody>
                    <a:bodyPr anchor="ctr"/>
                    <a:lstStyle/>
                    <a:p>
                      <a:pPr algn="ctr" fontAlgn="auto">
                        <a:spcBef>
                          <a:spcPts val="0"/>
                        </a:spcBef>
                        <a:spcAft>
                          <a:spcPts val="0"/>
                        </a:spcAft>
                        <a:defRPr/>
                      </a:pPr>
                      <a:endParaRPr lang="da-DK" kern="0">
                        <a:solidFill>
                          <a:sysClr val="window" lastClr="FFFFFF"/>
                        </a:solidFill>
                        <a:latin typeface="Calibri"/>
                        <a:cs typeface="+mn-cs"/>
                      </a:endParaRPr>
                    </a:p>
                  </p:txBody>
                </p:sp>
                <p:sp>
                  <p:nvSpPr>
                    <p:cNvPr id="264" name="Freeform 131"/>
                    <p:cNvSpPr>
                      <a:spLocks/>
                    </p:cNvSpPr>
                    <p:nvPr/>
                  </p:nvSpPr>
                  <p:spPr bwMode="auto">
                    <a:xfrm>
                      <a:off x="346827" y="3712686"/>
                      <a:ext cx="348976" cy="112542"/>
                    </a:xfrm>
                    <a:custGeom>
                      <a:avLst/>
                      <a:gdLst/>
                      <a:ahLst/>
                      <a:cxnLst>
                        <a:cxn ang="0">
                          <a:pos x="13" y="8"/>
                        </a:cxn>
                        <a:cxn ang="0">
                          <a:pos x="0" y="22"/>
                        </a:cxn>
                        <a:cxn ang="0">
                          <a:pos x="8" y="43"/>
                        </a:cxn>
                        <a:cxn ang="0">
                          <a:pos x="28" y="49"/>
                        </a:cxn>
                        <a:cxn ang="0">
                          <a:pos x="53" y="54"/>
                        </a:cxn>
                        <a:cxn ang="0">
                          <a:pos x="81" y="58"/>
                        </a:cxn>
                        <a:cxn ang="0">
                          <a:pos x="108" y="56"/>
                        </a:cxn>
                        <a:cxn ang="0">
                          <a:pos x="135" y="53"/>
                        </a:cxn>
                        <a:cxn ang="0">
                          <a:pos x="159" y="46"/>
                        </a:cxn>
                        <a:cxn ang="0">
                          <a:pos x="176" y="33"/>
                        </a:cxn>
                        <a:cxn ang="0">
                          <a:pos x="185" y="16"/>
                        </a:cxn>
                        <a:cxn ang="0">
                          <a:pos x="160" y="6"/>
                        </a:cxn>
                        <a:cxn ang="0">
                          <a:pos x="144" y="0"/>
                        </a:cxn>
                        <a:cxn ang="0">
                          <a:pos x="139" y="15"/>
                        </a:cxn>
                        <a:cxn ang="0">
                          <a:pos x="127" y="24"/>
                        </a:cxn>
                        <a:cxn ang="0">
                          <a:pos x="109" y="29"/>
                        </a:cxn>
                        <a:cxn ang="0">
                          <a:pos x="89" y="29"/>
                        </a:cxn>
                        <a:cxn ang="0">
                          <a:pos x="68" y="25"/>
                        </a:cxn>
                        <a:cxn ang="0">
                          <a:pos x="51" y="20"/>
                        </a:cxn>
                        <a:cxn ang="0">
                          <a:pos x="38" y="11"/>
                        </a:cxn>
                        <a:cxn ang="0">
                          <a:pos x="33" y="1"/>
                        </a:cxn>
                        <a:cxn ang="0">
                          <a:pos x="13" y="8"/>
                        </a:cxn>
                      </a:cxnLst>
                      <a:rect l="0" t="0" r="r" b="b"/>
                      <a:pathLst>
                        <a:path w="185" h="58">
                          <a:moveTo>
                            <a:pt x="13" y="8"/>
                          </a:moveTo>
                          <a:lnTo>
                            <a:pt x="0" y="22"/>
                          </a:lnTo>
                          <a:lnTo>
                            <a:pt x="8" y="43"/>
                          </a:lnTo>
                          <a:lnTo>
                            <a:pt x="28" y="49"/>
                          </a:lnTo>
                          <a:lnTo>
                            <a:pt x="53" y="54"/>
                          </a:lnTo>
                          <a:lnTo>
                            <a:pt x="81" y="58"/>
                          </a:lnTo>
                          <a:lnTo>
                            <a:pt x="108" y="56"/>
                          </a:lnTo>
                          <a:lnTo>
                            <a:pt x="135" y="53"/>
                          </a:lnTo>
                          <a:lnTo>
                            <a:pt x="159" y="46"/>
                          </a:lnTo>
                          <a:lnTo>
                            <a:pt x="176" y="33"/>
                          </a:lnTo>
                          <a:lnTo>
                            <a:pt x="185" y="16"/>
                          </a:lnTo>
                          <a:lnTo>
                            <a:pt x="160" y="6"/>
                          </a:lnTo>
                          <a:lnTo>
                            <a:pt x="144" y="0"/>
                          </a:lnTo>
                          <a:lnTo>
                            <a:pt x="139" y="15"/>
                          </a:lnTo>
                          <a:lnTo>
                            <a:pt x="127" y="24"/>
                          </a:lnTo>
                          <a:lnTo>
                            <a:pt x="109" y="29"/>
                          </a:lnTo>
                          <a:lnTo>
                            <a:pt x="89" y="29"/>
                          </a:lnTo>
                          <a:lnTo>
                            <a:pt x="68" y="25"/>
                          </a:lnTo>
                          <a:lnTo>
                            <a:pt x="51" y="20"/>
                          </a:lnTo>
                          <a:lnTo>
                            <a:pt x="38" y="11"/>
                          </a:lnTo>
                          <a:lnTo>
                            <a:pt x="33" y="1"/>
                          </a:lnTo>
                          <a:lnTo>
                            <a:pt x="13" y="8"/>
                          </a:lnTo>
                          <a:close/>
                        </a:path>
                      </a:pathLst>
                    </a:custGeom>
                    <a:solidFill>
                      <a:srgbClr val="E6E6E6">
                        <a:lumMod val="10000"/>
                      </a:srgbClr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pPr fontAlgn="auto">
                        <a:spcBef>
                          <a:spcPts val="0"/>
                        </a:spcBef>
                        <a:spcAft>
                          <a:spcPts val="0"/>
                        </a:spcAft>
                        <a:defRPr/>
                      </a:pPr>
                      <a:endParaRPr lang="da-DK" kern="0">
                        <a:solidFill>
                          <a:sysClr val="windowText" lastClr="000000"/>
                        </a:solidFill>
                        <a:latin typeface="+mn-lt"/>
                        <a:ea typeface="ＭＳ Ｐゴシック" pitchFamily="-97" charset="-128"/>
                        <a:cs typeface="+mn-cs"/>
                      </a:endParaRPr>
                    </a:p>
                  </p:txBody>
                </p:sp>
                <p:sp>
                  <p:nvSpPr>
                    <p:cNvPr id="265" name="Freeform 132"/>
                    <p:cNvSpPr>
                      <a:spLocks/>
                    </p:cNvSpPr>
                    <p:nvPr/>
                  </p:nvSpPr>
                  <p:spPr bwMode="auto">
                    <a:xfrm>
                      <a:off x="199887" y="3787706"/>
                      <a:ext cx="642856" cy="187563"/>
                    </a:xfrm>
                    <a:custGeom>
                      <a:avLst/>
                      <a:gdLst/>
                      <a:ahLst/>
                      <a:cxnLst>
                        <a:cxn ang="0">
                          <a:pos x="32" y="10"/>
                        </a:cxn>
                        <a:cxn ang="0">
                          <a:pos x="1" y="26"/>
                        </a:cxn>
                        <a:cxn ang="0">
                          <a:pos x="0" y="43"/>
                        </a:cxn>
                        <a:cxn ang="0">
                          <a:pos x="3" y="60"/>
                        </a:cxn>
                        <a:cxn ang="0">
                          <a:pos x="14" y="71"/>
                        </a:cxn>
                        <a:cxn ang="0">
                          <a:pos x="27" y="81"/>
                        </a:cxn>
                        <a:cxn ang="0">
                          <a:pos x="46" y="90"/>
                        </a:cxn>
                        <a:cxn ang="0">
                          <a:pos x="67" y="95"/>
                        </a:cxn>
                        <a:cxn ang="0">
                          <a:pos x="91" y="100"/>
                        </a:cxn>
                        <a:cxn ang="0">
                          <a:pos x="117" y="102"/>
                        </a:cxn>
                        <a:cxn ang="0">
                          <a:pos x="144" y="102"/>
                        </a:cxn>
                        <a:cxn ang="0">
                          <a:pos x="171" y="102"/>
                        </a:cxn>
                        <a:cxn ang="0">
                          <a:pos x="199" y="100"/>
                        </a:cxn>
                        <a:cxn ang="0">
                          <a:pos x="225" y="98"/>
                        </a:cxn>
                        <a:cxn ang="0">
                          <a:pos x="251" y="94"/>
                        </a:cxn>
                        <a:cxn ang="0">
                          <a:pos x="273" y="90"/>
                        </a:cxn>
                        <a:cxn ang="0">
                          <a:pos x="292" y="85"/>
                        </a:cxn>
                        <a:cxn ang="0">
                          <a:pos x="308" y="79"/>
                        </a:cxn>
                        <a:cxn ang="0">
                          <a:pos x="319" y="71"/>
                        </a:cxn>
                        <a:cxn ang="0">
                          <a:pos x="326" y="61"/>
                        </a:cxn>
                        <a:cxn ang="0">
                          <a:pos x="329" y="50"/>
                        </a:cxn>
                        <a:cxn ang="0">
                          <a:pos x="329" y="39"/>
                        </a:cxn>
                        <a:cxn ang="0">
                          <a:pos x="325" y="28"/>
                        </a:cxn>
                        <a:cxn ang="0">
                          <a:pos x="316" y="18"/>
                        </a:cxn>
                        <a:cxn ang="0">
                          <a:pos x="303" y="8"/>
                        </a:cxn>
                        <a:cxn ang="0">
                          <a:pos x="285" y="0"/>
                        </a:cxn>
                        <a:cxn ang="0">
                          <a:pos x="269" y="18"/>
                        </a:cxn>
                        <a:cxn ang="0">
                          <a:pos x="252" y="31"/>
                        </a:cxn>
                        <a:cxn ang="0">
                          <a:pos x="234" y="39"/>
                        </a:cxn>
                        <a:cxn ang="0">
                          <a:pos x="215" y="43"/>
                        </a:cxn>
                        <a:cxn ang="0">
                          <a:pos x="194" y="45"/>
                        </a:cxn>
                        <a:cxn ang="0">
                          <a:pos x="173" y="43"/>
                        </a:cxn>
                        <a:cxn ang="0">
                          <a:pos x="148" y="41"/>
                        </a:cxn>
                        <a:cxn ang="0">
                          <a:pos x="122" y="40"/>
                        </a:cxn>
                        <a:cxn ang="0">
                          <a:pos x="67" y="30"/>
                        </a:cxn>
                        <a:cxn ang="0">
                          <a:pos x="49" y="3"/>
                        </a:cxn>
                        <a:cxn ang="0">
                          <a:pos x="32" y="10"/>
                        </a:cxn>
                      </a:cxnLst>
                      <a:rect l="0" t="0" r="r" b="b"/>
                      <a:pathLst>
                        <a:path w="329" h="102">
                          <a:moveTo>
                            <a:pt x="32" y="10"/>
                          </a:moveTo>
                          <a:lnTo>
                            <a:pt x="1" y="26"/>
                          </a:lnTo>
                          <a:lnTo>
                            <a:pt x="0" y="43"/>
                          </a:lnTo>
                          <a:lnTo>
                            <a:pt x="3" y="60"/>
                          </a:lnTo>
                          <a:lnTo>
                            <a:pt x="14" y="71"/>
                          </a:lnTo>
                          <a:lnTo>
                            <a:pt x="27" y="81"/>
                          </a:lnTo>
                          <a:lnTo>
                            <a:pt x="46" y="90"/>
                          </a:lnTo>
                          <a:lnTo>
                            <a:pt x="67" y="95"/>
                          </a:lnTo>
                          <a:lnTo>
                            <a:pt x="91" y="100"/>
                          </a:lnTo>
                          <a:lnTo>
                            <a:pt x="117" y="102"/>
                          </a:lnTo>
                          <a:lnTo>
                            <a:pt x="144" y="102"/>
                          </a:lnTo>
                          <a:lnTo>
                            <a:pt x="171" y="102"/>
                          </a:lnTo>
                          <a:lnTo>
                            <a:pt x="199" y="100"/>
                          </a:lnTo>
                          <a:lnTo>
                            <a:pt x="225" y="98"/>
                          </a:lnTo>
                          <a:lnTo>
                            <a:pt x="251" y="94"/>
                          </a:lnTo>
                          <a:lnTo>
                            <a:pt x="273" y="90"/>
                          </a:lnTo>
                          <a:lnTo>
                            <a:pt x="292" y="85"/>
                          </a:lnTo>
                          <a:lnTo>
                            <a:pt x="308" y="79"/>
                          </a:lnTo>
                          <a:lnTo>
                            <a:pt x="319" y="71"/>
                          </a:lnTo>
                          <a:lnTo>
                            <a:pt x="326" y="61"/>
                          </a:lnTo>
                          <a:lnTo>
                            <a:pt x="329" y="50"/>
                          </a:lnTo>
                          <a:lnTo>
                            <a:pt x="329" y="39"/>
                          </a:lnTo>
                          <a:lnTo>
                            <a:pt x="325" y="28"/>
                          </a:lnTo>
                          <a:lnTo>
                            <a:pt x="316" y="18"/>
                          </a:lnTo>
                          <a:lnTo>
                            <a:pt x="303" y="8"/>
                          </a:lnTo>
                          <a:lnTo>
                            <a:pt x="285" y="0"/>
                          </a:lnTo>
                          <a:lnTo>
                            <a:pt x="269" y="18"/>
                          </a:lnTo>
                          <a:lnTo>
                            <a:pt x="252" y="31"/>
                          </a:lnTo>
                          <a:lnTo>
                            <a:pt x="234" y="39"/>
                          </a:lnTo>
                          <a:lnTo>
                            <a:pt x="215" y="43"/>
                          </a:lnTo>
                          <a:lnTo>
                            <a:pt x="194" y="45"/>
                          </a:lnTo>
                          <a:lnTo>
                            <a:pt x="173" y="43"/>
                          </a:lnTo>
                          <a:lnTo>
                            <a:pt x="148" y="41"/>
                          </a:lnTo>
                          <a:lnTo>
                            <a:pt x="122" y="40"/>
                          </a:lnTo>
                          <a:lnTo>
                            <a:pt x="67" y="30"/>
                          </a:lnTo>
                          <a:lnTo>
                            <a:pt x="49" y="3"/>
                          </a:lnTo>
                          <a:lnTo>
                            <a:pt x="32" y="10"/>
                          </a:lnTo>
                          <a:close/>
                        </a:path>
                      </a:pathLst>
                    </a:custGeom>
                    <a:solidFill>
                      <a:srgbClr val="E6E6E6">
                        <a:lumMod val="90000"/>
                      </a:srgbClr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pPr fontAlgn="auto">
                        <a:spcBef>
                          <a:spcPts val="0"/>
                        </a:spcBef>
                        <a:spcAft>
                          <a:spcPts val="0"/>
                        </a:spcAft>
                        <a:defRPr/>
                      </a:pPr>
                      <a:endParaRPr lang="da-DK" kern="0">
                        <a:solidFill>
                          <a:sysClr val="windowText" lastClr="000000"/>
                        </a:solidFill>
                        <a:latin typeface="+mn-lt"/>
                        <a:ea typeface="ＭＳ Ｐゴシック" pitchFamily="-97" charset="-128"/>
                        <a:cs typeface="+mn-cs"/>
                      </a:endParaRPr>
                    </a:p>
                  </p:txBody>
                </p:sp>
                <p:sp>
                  <p:nvSpPr>
                    <p:cNvPr id="266" name="Freeform 133"/>
                    <p:cNvSpPr>
                      <a:spLocks/>
                    </p:cNvSpPr>
                    <p:nvPr/>
                  </p:nvSpPr>
                  <p:spPr bwMode="auto">
                    <a:xfrm>
                      <a:off x="310092" y="4162808"/>
                      <a:ext cx="385711" cy="0"/>
                    </a:xfrm>
                    <a:custGeom>
                      <a:avLst/>
                      <a:gdLst/>
                      <a:ahLst/>
                      <a:cxnLst>
                        <a:cxn ang="0">
                          <a:pos x="12" y="0"/>
                        </a:cxn>
                        <a:cxn ang="0">
                          <a:pos x="24" y="6"/>
                        </a:cxn>
                        <a:cxn ang="0">
                          <a:pos x="35" y="12"/>
                        </a:cxn>
                        <a:cxn ang="0">
                          <a:pos x="47" y="15"/>
                        </a:cxn>
                        <a:cxn ang="0">
                          <a:pos x="58" y="17"/>
                        </a:cxn>
                        <a:cxn ang="0">
                          <a:pos x="70" y="20"/>
                        </a:cxn>
                        <a:cxn ang="0">
                          <a:pos x="82" y="21"/>
                        </a:cxn>
                        <a:cxn ang="0">
                          <a:pos x="94" y="22"/>
                        </a:cxn>
                        <a:cxn ang="0">
                          <a:pos x="106" y="21"/>
                        </a:cxn>
                        <a:cxn ang="0">
                          <a:pos x="119" y="20"/>
                        </a:cxn>
                        <a:cxn ang="0">
                          <a:pos x="131" y="19"/>
                        </a:cxn>
                        <a:cxn ang="0">
                          <a:pos x="143" y="16"/>
                        </a:cxn>
                        <a:cxn ang="0">
                          <a:pos x="156" y="14"/>
                        </a:cxn>
                        <a:cxn ang="0">
                          <a:pos x="167" y="12"/>
                        </a:cxn>
                        <a:cxn ang="0">
                          <a:pos x="180" y="8"/>
                        </a:cxn>
                        <a:cxn ang="0">
                          <a:pos x="192" y="6"/>
                        </a:cxn>
                        <a:cxn ang="0">
                          <a:pos x="204" y="2"/>
                        </a:cxn>
                        <a:cxn ang="0">
                          <a:pos x="204" y="14"/>
                        </a:cxn>
                        <a:cxn ang="0">
                          <a:pos x="196" y="17"/>
                        </a:cxn>
                        <a:cxn ang="0">
                          <a:pos x="188" y="21"/>
                        </a:cxn>
                        <a:cxn ang="0">
                          <a:pos x="178" y="24"/>
                        </a:cxn>
                        <a:cxn ang="0">
                          <a:pos x="167" y="27"/>
                        </a:cxn>
                        <a:cxn ang="0">
                          <a:pos x="155" y="30"/>
                        </a:cxn>
                        <a:cxn ang="0">
                          <a:pos x="143" y="32"/>
                        </a:cxn>
                        <a:cxn ang="0">
                          <a:pos x="129" y="35"/>
                        </a:cxn>
                        <a:cxn ang="0">
                          <a:pos x="117" y="37"/>
                        </a:cxn>
                        <a:cxn ang="0">
                          <a:pos x="102" y="37"/>
                        </a:cxn>
                        <a:cxn ang="0">
                          <a:pos x="88" y="37"/>
                        </a:cxn>
                        <a:cxn ang="0">
                          <a:pos x="73" y="36"/>
                        </a:cxn>
                        <a:cxn ang="0">
                          <a:pos x="58" y="34"/>
                        </a:cxn>
                        <a:cxn ang="0">
                          <a:pos x="44" y="29"/>
                        </a:cxn>
                        <a:cxn ang="0">
                          <a:pos x="29" y="24"/>
                        </a:cxn>
                        <a:cxn ang="0">
                          <a:pos x="14" y="17"/>
                        </a:cxn>
                        <a:cxn ang="0">
                          <a:pos x="0" y="8"/>
                        </a:cxn>
                        <a:cxn ang="0">
                          <a:pos x="12" y="0"/>
                        </a:cxn>
                      </a:cxnLst>
                      <a:rect l="0" t="0" r="r" b="b"/>
                      <a:pathLst>
                        <a:path w="204" h="37">
                          <a:moveTo>
                            <a:pt x="12" y="0"/>
                          </a:moveTo>
                          <a:lnTo>
                            <a:pt x="24" y="6"/>
                          </a:lnTo>
                          <a:lnTo>
                            <a:pt x="35" y="12"/>
                          </a:lnTo>
                          <a:lnTo>
                            <a:pt x="47" y="15"/>
                          </a:lnTo>
                          <a:lnTo>
                            <a:pt x="58" y="17"/>
                          </a:lnTo>
                          <a:lnTo>
                            <a:pt x="70" y="20"/>
                          </a:lnTo>
                          <a:lnTo>
                            <a:pt x="82" y="21"/>
                          </a:lnTo>
                          <a:lnTo>
                            <a:pt x="94" y="22"/>
                          </a:lnTo>
                          <a:lnTo>
                            <a:pt x="106" y="21"/>
                          </a:lnTo>
                          <a:lnTo>
                            <a:pt x="119" y="20"/>
                          </a:lnTo>
                          <a:lnTo>
                            <a:pt x="131" y="19"/>
                          </a:lnTo>
                          <a:lnTo>
                            <a:pt x="143" y="16"/>
                          </a:lnTo>
                          <a:lnTo>
                            <a:pt x="156" y="14"/>
                          </a:lnTo>
                          <a:lnTo>
                            <a:pt x="167" y="12"/>
                          </a:lnTo>
                          <a:lnTo>
                            <a:pt x="180" y="8"/>
                          </a:lnTo>
                          <a:lnTo>
                            <a:pt x="192" y="6"/>
                          </a:lnTo>
                          <a:lnTo>
                            <a:pt x="204" y="2"/>
                          </a:lnTo>
                          <a:lnTo>
                            <a:pt x="204" y="14"/>
                          </a:lnTo>
                          <a:lnTo>
                            <a:pt x="196" y="17"/>
                          </a:lnTo>
                          <a:lnTo>
                            <a:pt x="188" y="21"/>
                          </a:lnTo>
                          <a:lnTo>
                            <a:pt x="178" y="24"/>
                          </a:lnTo>
                          <a:lnTo>
                            <a:pt x="167" y="27"/>
                          </a:lnTo>
                          <a:lnTo>
                            <a:pt x="155" y="30"/>
                          </a:lnTo>
                          <a:lnTo>
                            <a:pt x="143" y="32"/>
                          </a:lnTo>
                          <a:lnTo>
                            <a:pt x="129" y="35"/>
                          </a:lnTo>
                          <a:lnTo>
                            <a:pt x="117" y="37"/>
                          </a:lnTo>
                          <a:lnTo>
                            <a:pt x="102" y="37"/>
                          </a:lnTo>
                          <a:lnTo>
                            <a:pt x="88" y="37"/>
                          </a:lnTo>
                          <a:lnTo>
                            <a:pt x="73" y="36"/>
                          </a:lnTo>
                          <a:lnTo>
                            <a:pt x="58" y="34"/>
                          </a:lnTo>
                          <a:lnTo>
                            <a:pt x="44" y="29"/>
                          </a:lnTo>
                          <a:lnTo>
                            <a:pt x="29" y="24"/>
                          </a:lnTo>
                          <a:lnTo>
                            <a:pt x="14" y="17"/>
                          </a:lnTo>
                          <a:lnTo>
                            <a:pt x="0" y="8"/>
                          </a:lnTo>
                          <a:lnTo>
                            <a:pt x="12" y="0"/>
                          </a:lnTo>
                          <a:close/>
                        </a:path>
                      </a:pathLst>
                    </a:custGeom>
                    <a:solidFill>
                      <a:srgbClr val="E6E6E6">
                        <a:lumMod val="90000"/>
                      </a:srgbClr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pPr fontAlgn="auto">
                        <a:spcBef>
                          <a:spcPts val="0"/>
                        </a:spcBef>
                        <a:spcAft>
                          <a:spcPts val="0"/>
                        </a:spcAft>
                        <a:defRPr/>
                      </a:pPr>
                      <a:endParaRPr lang="da-DK" kern="0">
                        <a:solidFill>
                          <a:sysClr val="windowText" lastClr="000000"/>
                        </a:solidFill>
                        <a:latin typeface="+mn-lt"/>
                        <a:ea typeface="ＭＳ Ｐゴシック" pitchFamily="-97" charset="-128"/>
                        <a:cs typeface="+mn-cs"/>
                      </a:endParaRPr>
                    </a:p>
                  </p:txBody>
                </p:sp>
                <p:sp>
                  <p:nvSpPr>
                    <p:cNvPr id="267" name="Freeform 135"/>
                    <p:cNvSpPr>
                      <a:spLocks/>
                    </p:cNvSpPr>
                    <p:nvPr/>
                  </p:nvSpPr>
                  <p:spPr bwMode="auto">
                    <a:xfrm>
                      <a:off x="163152" y="4162808"/>
                      <a:ext cx="679591" cy="225061"/>
                    </a:xfrm>
                    <a:custGeom>
                      <a:avLst/>
                      <a:gdLst/>
                      <a:ahLst/>
                      <a:cxnLst>
                        <a:cxn ang="0">
                          <a:pos x="40" y="0"/>
                        </a:cxn>
                        <a:cxn ang="0">
                          <a:pos x="19" y="9"/>
                        </a:cxn>
                        <a:cxn ang="0">
                          <a:pos x="6" y="20"/>
                        </a:cxn>
                        <a:cxn ang="0">
                          <a:pos x="0" y="30"/>
                        </a:cxn>
                        <a:cxn ang="0">
                          <a:pos x="0" y="42"/>
                        </a:cxn>
                        <a:cxn ang="0">
                          <a:pos x="7" y="53"/>
                        </a:cxn>
                        <a:cxn ang="0">
                          <a:pos x="17" y="65"/>
                        </a:cxn>
                        <a:cxn ang="0">
                          <a:pos x="32" y="75"/>
                        </a:cxn>
                        <a:cxn ang="0">
                          <a:pos x="50" y="85"/>
                        </a:cxn>
                        <a:cxn ang="0">
                          <a:pos x="66" y="89"/>
                        </a:cxn>
                        <a:cxn ang="0">
                          <a:pos x="82" y="92"/>
                        </a:cxn>
                        <a:cxn ang="0">
                          <a:pos x="97" y="95"/>
                        </a:cxn>
                        <a:cxn ang="0">
                          <a:pos x="113" y="96"/>
                        </a:cxn>
                        <a:cxn ang="0">
                          <a:pos x="128" y="98"/>
                        </a:cxn>
                        <a:cxn ang="0">
                          <a:pos x="144" y="99"/>
                        </a:cxn>
                        <a:cxn ang="0">
                          <a:pos x="159" y="99"/>
                        </a:cxn>
                        <a:cxn ang="0">
                          <a:pos x="174" y="100"/>
                        </a:cxn>
                        <a:cxn ang="0">
                          <a:pos x="189" y="100"/>
                        </a:cxn>
                        <a:cxn ang="0">
                          <a:pos x="205" y="100"/>
                        </a:cxn>
                        <a:cxn ang="0">
                          <a:pos x="220" y="99"/>
                        </a:cxn>
                        <a:cxn ang="0">
                          <a:pos x="236" y="99"/>
                        </a:cxn>
                        <a:cxn ang="0">
                          <a:pos x="251" y="98"/>
                        </a:cxn>
                        <a:cxn ang="0">
                          <a:pos x="267" y="97"/>
                        </a:cxn>
                        <a:cxn ang="0">
                          <a:pos x="284" y="95"/>
                        </a:cxn>
                        <a:cxn ang="0">
                          <a:pos x="300" y="94"/>
                        </a:cxn>
                        <a:cxn ang="0">
                          <a:pos x="323" y="81"/>
                        </a:cxn>
                        <a:cxn ang="0">
                          <a:pos x="339" y="68"/>
                        </a:cxn>
                        <a:cxn ang="0">
                          <a:pos x="349" y="56"/>
                        </a:cxn>
                        <a:cxn ang="0">
                          <a:pos x="351" y="43"/>
                        </a:cxn>
                        <a:cxn ang="0">
                          <a:pos x="348" y="31"/>
                        </a:cxn>
                        <a:cxn ang="0">
                          <a:pos x="338" y="21"/>
                        </a:cxn>
                        <a:cxn ang="0">
                          <a:pos x="320" y="12"/>
                        </a:cxn>
                        <a:cxn ang="0">
                          <a:pos x="296" y="5"/>
                        </a:cxn>
                        <a:cxn ang="0">
                          <a:pos x="298" y="15"/>
                        </a:cxn>
                        <a:cxn ang="0">
                          <a:pos x="294" y="23"/>
                        </a:cxn>
                        <a:cxn ang="0">
                          <a:pos x="284" y="30"/>
                        </a:cxn>
                        <a:cxn ang="0">
                          <a:pos x="272" y="37"/>
                        </a:cxn>
                        <a:cxn ang="0">
                          <a:pos x="258" y="38"/>
                        </a:cxn>
                        <a:cxn ang="0">
                          <a:pos x="245" y="39"/>
                        </a:cxn>
                        <a:cxn ang="0">
                          <a:pos x="234" y="41"/>
                        </a:cxn>
                        <a:cxn ang="0">
                          <a:pos x="222" y="42"/>
                        </a:cxn>
                        <a:cxn ang="0">
                          <a:pos x="211" y="43"/>
                        </a:cxn>
                        <a:cxn ang="0">
                          <a:pos x="199" y="43"/>
                        </a:cxn>
                        <a:cxn ang="0">
                          <a:pos x="188" y="44"/>
                        </a:cxn>
                        <a:cxn ang="0">
                          <a:pos x="178" y="44"/>
                        </a:cxn>
                        <a:cxn ang="0">
                          <a:pos x="166" y="44"/>
                        </a:cxn>
                        <a:cxn ang="0">
                          <a:pos x="155" y="44"/>
                        </a:cxn>
                        <a:cxn ang="0">
                          <a:pos x="143" y="44"/>
                        </a:cxn>
                        <a:cxn ang="0">
                          <a:pos x="133" y="43"/>
                        </a:cxn>
                        <a:cxn ang="0">
                          <a:pos x="120" y="42"/>
                        </a:cxn>
                        <a:cxn ang="0">
                          <a:pos x="108" y="41"/>
                        </a:cxn>
                        <a:cxn ang="0">
                          <a:pos x="96" y="39"/>
                        </a:cxn>
                        <a:cxn ang="0">
                          <a:pos x="82" y="37"/>
                        </a:cxn>
                        <a:cxn ang="0">
                          <a:pos x="73" y="32"/>
                        </a:cxn>
                        <a:cxn ang="0">
                          <a:pos x="65" y="28"/>
                        </a:cxn>
                        <a:cxn ang="0">
                          <a:pos x="58" y="23"/>
                        </a:cxn>
                        <a:cxn ang="0">
                          <a:pos x="52" y="19"/>
                        </a:cxn>
                        <a:cxn ang="0">
                          <a:pos x="47" y="14"/>
                        </a:cxn>
                        <a:cxn ang="0">
                          <a:pos x="44" y="11"/>
                        </a:cxn>
                        <a:cxn ang="0">
                          <a:pos x="42" y="5"/>
                        </a:cxn>
                        <a:cxn ang="0">
                          <a:pos x="40" y="0"/>
                        </a:cxn>
                      </a:cxnLst>
                      <a:rect l="0" t="0" r="r" b="b"/>
                      <a:pathLst>
                        <a:path w="351" h="100">
                          <a:moveTo>
                            <a:pt x="40" y="0"/>
                          </a:moveTo>
                          <a:lnTo>
                            <a:pt x="19" y="9"/>
                          </a:lnTo>
                          <a:lnTo>
                            <a:pt x="6" y="20"/>
                          </a:lnTo>
                          <a:lnTo>
                            <a:pt x="0" y="30"/>
                          </a:lnTo>
                          <a:lnTo>
                            <a:pt x="0" y="42"/>
                          </a:lnTo>
                          <a:lnTo>
                            <a:pt x="7" y="53"/>
                          </a:lnTo>
                          <a:lnTo>
                            <a:pt x="17" y="65"/>
                          </a:lnTo>
                          <a:lnTo>
                            <a:pt x="32" y="75"/>
                          </a:lnTo>
                          <a:lnTo>
                            <a:pt x="50" y="85"/>
                          </a:lnTo>
                          <a:lnTo>
                            <a:pt x="66" y="89"/>
                          </a:lnTo>
                          <a:lnTo>
                            <a:pt x="82" y="92"/>
                          </a:lnTo>
                          <a:lnTo>
                            <a:pt x="97" y="95"/>
                          </a:lnTo>
                          <a:lnTo>
                            <a:pt x="113" y="96"/>
                          </a:lnTo>
                          <a:lnTo>
                            <a:pt x="128" y="98"/>
                          </a:lnTo>
                          <a:lnTo>
                            <a:pt x="144" y="99"/>
                          </a:lnTo>
                          <a:lnTo>
                            <a:pt x="159" y="99"/>
                          </a:lnTo>
                          <a:lnTo>
                            <a:pt x="174" y="100"/>
                          </a:lnTo>
                          <a:lnTo>
                            <a:pt x="189" y="100"/>
                          </a:lnTo>
                          <a:lnTo>
                            <a:pt x="205" y="100"/>
                          </a:lnTo>
                          <a:lnTo>
                            <a:pt x="220" y="99"/>
                          </a:lnTo>
                          <a:lnTo>
                            <a:pt x="236" y="99"/>
                          </a:lnTo>
                          <a:lnTo>
                            <a:pt x="251" y="98"/>
                          </a:lnTo>
                          <a:lnTo>
                            <a:pt x="267" y="97"/>
                          </a:lnTo>
                          <a:lnTo>
                            <a:pt x="284" y="95"/>
                          </a:lnTo>
                          <a:lnTo>
                            <a:pt x="300" y="94"/>
                          </a:lnTo>
                          <a:lnTo>
                            <a:pt x="323" y="81"/>
                          </a:lnTo>
                          <a:lnTo>
                            <a:pt x="339" y="68"/>
                          </a:lnTo>
                          <a:lnTo>
                            <a:pt x="349" y="56"/>
                          </a:lnTo>
                          <a:lnTo>
                            <a:pt x="351" y="43"/>
                          </a:lnTo>
                          <a:lnTo>
                            <a:pt x="348" y="31"/>
                          </a:lnTo>
                          <a:lnTo>
                            <a:pt x="338" y="21"/>
                          </a:lnTo>
                          <a:lnTo>
                            <a:pt x="320" y="12"/>
                          </a:lnTo>
                          <a:lnTo>
                            <a:pt x="296" y="5"/>
                          </a:lnTo>
                          <a:lnTo>
                            <a:pt x="298" y="15"/>
                          </a:lnTo>
                          <a:lnTo>
                            <a:pt x="294" y="23"/>
                          </a:lnTo>
                          <a:lnTo>
                            <a:pt x="284" y="30"/>
                          </a:lnTo>
                          <a:lnTo>
                            <a:pt x="272" y="37"/>
                          </a:lnTo>
                          <a:lnTo>
                            <a:pt x="258" y="38"/>
                          </a:lnTo>
                          <a:lnTo>
                            <a:pt x="245" y="39"/>
                          </a:lnTo>
                          <a:lnTo>
                            <a:pt x="234" y="41"/>
                          </a:lnTo>
                          <a:lnTo>
                            <a:pt x="222" y="42"/>
                          </a:lnTo>
                          <a:lnTo>
                            <a:pt x="211" y="43"/>
                          </a:lnTo>
                          <a:lnTo>
                            <a:pt x="199" y="43"/>
                          </a:lnTo>
                          <a:lnTo>
                            <a:pt x="188" y="44"/>
                          </a:lnTo>
                          <a:lnTo>
                            <a:pt x="178" y="44"/>
                          </a:lnTo>
                          <a:lnTo>
                            <a:pt x="166" y="44"/>
                          </a:lnTo>
                          <a:lnTo>
                            <a:pt x="155" y="44"/>
                          </a:lnTo>
                          <a:lnTo>
                            <a:pt x="143" y="44"/>
                          </a:lnTo>
                          <a:lnTo>
                            <a:pt x="133" y="43"/>
                          </a:lnTo>
                          <a:lnTo>
                            <a:pt x="120" y="42"/>
                          </a:lnTo>
                          <a:lnTo>
                            <a:pt x="108" y="41"/>
                          </a:lnTo>
                          <a:lnTo>
                            <a:pt x="96" y="39"/>
                          </a:lnTo>
                          <a:lnTo>
                            <a:pt x="82" y="37"/>
                          </a:lnTo>
                          <a:lnTo>
                            <a:pt x="73" y="32"/>
                          </a:lnTo>
                          <a:lnTo>
                            <a:pt x="65" y="28"/>
                          </a:lnTo>
                          <a:lnTo>
                            <a:pt x="58" y="23"/>
                          </a:lnTo>
                          <a:lnTo>
                            <a:pt x="52" y="19"/>
                          </a:lnTo>
                          <a:lnTo>
                            <a:pt x="47" y="14"/>
                          </a:lnTo>
                          <a:lnTo>
                            <a:pt x="44" y="11"/>
                          </a:lnTo>
                          <a:lnTo>
                            <a:pt x="42" y="5"/>
                          </a:lnTo>
                          <a:lnTo>
                            <a:pt x="40" y="0"/>
                          </a:lnTo>
                          <a:close/>
                        </a:path>
                      </a:pathLst>
                    </a:custGeom>
                    <a:solidFill>
                      <a:srgbClr val="E6E6E6">
                        <a:lumMod val="90000"/>
                      </a:srgbClr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pPr fontAlgn="auto">
                        <a:spcBef>
                          <a:spcPts val="0"/>
                        </a:spcBef>
                        <a:spcAft>
                          <a:spcPts val="0"/>
                        </a:spcAft>
                        <a:defRPr/>
                      </a:pPr>
                      <a:endParaRPr lang="da-DK" kern="0">
                        <a:solidFill>
                          <a:sysClr val="windowText" lastClr="000000"/>
                        </a:solidFill>
                        <a:latin typeface="+mn-lt"/>
                        <a:ea typeface="ＭＳ Ｐゴシック" pitchFamily="-97" charset="-128"/>
                        <a:cs typeface="+mn-cs"/>
                      </a:endParaRPr>
                    </a:p>
                  </p:txBody>
                </p:sp>
                <p:sp>
                  <p:nvSpPr>
                    <p:cNvPr id="268" name="Freeform 147"/>
                    <p:cNvSpPr>
                      <a:spLocks/>
                    </p:cNvSpPr>
                    <p:nvPr/>
                  </p:nvSpPr>
                  <p:spPr bwMode="auto">
                    <a:xfrm>
                      <a:off x="126417" y="5100576"/>
                      <a:ext cx="734699" cy="187539"/>
                    </a:xfrm>
                    <a:custGeom>
                      <a:avLst/>
                      <a:gdLst/>
                      <a:ahLst/>
                      <a:cxnLst>
                        <a:cxn ang="0">
                          <a:pos x="24" y="4"/>
                        </a:cxn>
                        <a:cxn ang="0">
                          <a:pos x="68" y="40"/>
                        </a:cxn>
                        <a:cxn ang="0">
                          <a:pos x="89" y="44"/>
                        </a:cxn>
                        <a:cxn ang="0">
                          <a:pos x="108" y="48"/>
                        </a:cxn>
                        <a:cxn ang="0">
                          <a:pos x="127" y="53"/>
                        </a:cxn>
                        <a:cxn ang="0">
                          <a:pos x="144" y="55"/>
                        </a:cxn>
                        <a:cxn ang="0">
                          <a:pos x="160" y="57"/>
                        </a:cxn>
                        <a:cxn ang="0">
                          <a:pos x="176" y="59"/>
                        </a:cxn>
                        <a:cxn ang="0">
                          <a:pos x="192" y="59"/>
                        </a:cxn>
                        <a:cxn ang="0">
                          <a:pos x="207" y="59"/>
                        </a:cxn>
                        <a:cxn ang="0">
                          <a:pos x="222" y="58"/>
                        </a:cxn>
                        <a:cxn ang="0">
                          <a:pos x="237" y="57"/>
                        </a:cxn>
                        <a:cxn ang="0">
                          <a:pos x="253" y="54"/>
                        </a:cxn>
                        <a:cxn ang="0">
                          <a:pos x="270" y="50"/>
                        </a:cxn>
                        <a:cxn ang="0">
                          <a:pos x="286" y="46"/>
                        </a:cxn>
                        <a:cxn ang="0">
                          <a:pos x="304" y="39"/>
                        </a:cxn>
                        <a:cxn ang="0">
                          <a:pos x="323" y="32"/>
                        </a:cxn>
                        <a:cxn ang="0">
                          <a:pos x="342" y="23"/>
                        </a:cxn>
                        <a:cxn ang="0">
                          <a:pos x="348" y="10"/>
                        </a:cxn>
                        <a:cxn ang="0">
                          <a:pos x="352" y="3"/>
                        </a:cxn>
                        <a:cxn ang="0">
                          <a:pos x="356" y="0"/>
                        </a:cxn>
                        <a:cxn ang="0">
                          <a:pos x="359" y="1"/>
                        </a:cxn>
                        <a:cxn ang="0">
                          <a:pos x="363" y="4"/>
                        </a:cxn>
                        <a:cxn ang="0">
                          <a:pos x="367" y="11"/>
                        </a:cxn>
                        <a:cxn ang="0">
                          <a:pos x="374" y="20"/>
                        </a:cxn>
                        <a:cxn ang="0">
                          <a:pos x="382" y="32"/>
                        </a:cxn>
                        <a:cxn ang="0">
                          <a:pos x="366" y="55"/>
                        </a:cxn>
                        <a:cxn ang="0">
                          <a:pos x="349" y="65"/>
                        </a:cxn>
                        <a:cxn ang="0">
                          <a:pos x="329" y="73"/>
                        </a:cxn>
                        <a:cxn ang="0">
                          <a:pos x="310" y="80"/>
                        </a:cxn>
                        <a:cxn ang="0">
                          <a:pos x="288" y="86"/>
                        </a:cxn>
                        <a:cxn ang="0">
                          <a:pos x="266" y="91"/>
                        </a:cxn>
                        <a:cxn ang="0">
                          <a:pos x="243" y="94"/>
                        </a:cxn>
                        <a:cxn ang="0">
                          <a:pos x="219" y="96"/>
                        </a:cxn>
                        <a:cxn ang="0">
                          <a:pos x="196" y="96"/>
                        </a:cxn>
                        <a:cxn ang="0">
                          <a:pos x="172" y="96"/>
                        </a:cxn>
                        <a:cxn ang="0">
                          <a:pos x="147" y="95"/>
                        </a:cxn>
                        <a:cxn ang="0">
                          <a:pos x="124" y="92"/>
                        </a:cxn>
                        <a:cxn ang="0">
                          <a:pos x="101" y="88"/>
                        </a:cxn>
                        <a:cxn ang="0">
                          <a:pos x="78" y="84"/>
                        </a:cxn>
                        <a:cxn ang="0">
                          <a:pos x="58" y="79"/>
                        </a:cxn>
                        <a:cxn ang="0">
                          <a:pos x="37" y="72"/>
                        </a:cxn>
                        <a:cxn ang="0">
                          <a:pos x="18" y="65"/>
                        </a:cxn>
                        <a:cxn ang="0">
                          <a:pos x="12" y="56"/>
                        </a:cxn>
                        <a:cxn ang="0">
                          <a:pos x="6" y="47"/>
                        </a:cxn>
                        <a:cxn ang="0">
                          <a:pos x="2" y="38"/>
                        </a:cxn>
                        <a:cxn ang="0">
                          <a:pos x="0" y="28"/>
                        </a:cxn>
                        <a:cxn ang="0">
                          <a:pos x="0" y="20"/>
                        </a:cxn>
                        <a:cxn ang="0">
                          <a:pos x="5" y="13"/>
                        </a:cxn>
                        <a:cxn ang="0">
                          <a:pos x="12" y="8"/>
                        </a:cxn>
                        <a:cxn ang="0">
                          <a:pos x="24" y="4"/>
                        </a:cxn>
                      </a:cxnLst>
                      <a:rect l="0" t="0" r="r" b="b"/>
                      <a:pathLst>
                        <a:path w="382" h="96">
                          <a:moveTo>
                            <a:pt x="24" y="4"/>
                          </a:moveTo>
                          <a:lnTo>
                            <a:pt x="68" y="40"/>
                          </a:lnTo>
                          <a:lnTo>
                            <a:pt x="89" y="44"/>
                          </a:lnTo>
                          <a:lnTo>
                            <a:pt x="108" y="48"/>
                          </a:lnTo>
                          <a:lnTo>
                            <a:pt x="127" y="53"/>
                          </a:lnTo>
                          <a:lnTo>
                            <a:pt x="144" y="55"/>
                          </a:lnTo>
                          <a:lnTo>
                            <a:pt x="160" y="57"/>
                          </a:lnTo>
                          <a:lnTo>
                            <a:pt x="176" y="59"/>
                          </a:lnTo>
                          <a:lnTo>
                            <a:pt x="192" y="59"/>
                          </a:lnTo>
                          <a:lnTo>
                            <a:pt x="207" y="59"/>
                          </a:lnTo>
                          <a:lnTo>
                            <a:pt x="222" y="58"/>
                          </a:lnTo>
                          <a:lnTo>
                            <a:pt x="237" y="57"/>
                          </a:lnTo>
                          <a:lnTo>
                            <a:pt x="253" y="54"/>
                          </a:lnTo>
                          <a:lnTo>
                            <a:pt x="270" y="50"/>
                          </a:lnTo>
                          <a:lnTo>
                            <a:pt x="286" y="46"/>
                          </a:lnTo>
                          <a:lnTo>
                            <a:pt x="304" y="39"/>
                          </a:lnTo>
                          <a:lnTo>
                            <a:pt x="323" y="32"/>
                          </a:lnTo>
                          <a:lnTo>
                            <a:pt x="342" y="23"/>
                          </a:lnTo>
                          <a:lnTo>
                            <a:pt x="348" y="10"/>
                          </a:lnTo>
                          <a:lnTo>
                            <a:pt x="352" y="3"/>
                          </a:lnTo>
                          <a:lnTo>
                            <a:pt x="356" y="0"/>
                          </a:lnTo>
                          <a:lnTo>
                            <a:pt x="359" y="1"/>
                          </a:lnTo>
                          <a:lnTo>
                            <a:pt x="363" y="4"/>
                          </a:lnTo>
                          <a:lnTo>
                            <a:pt x="367" y="11"/>
                          </a:lnTo>
                          <a:lnTo>
                            <a:pt x="374" y="20"/>
                          </a:lnTo>
                          <a:lnTo>
                            <a:pt x="382" y="32"/>
                          </a:lnTo>
                          <a:lnTo>
                            <a:pt x="366" y="55"/>
                          </a:lnTo>
                          <a:lnTo>
                            <a:pt x="349" y="65"/>
                          </a:lnTo>
                          <a:lnTo>
                            <a:pt x="329" y="73"/>
                          </a:lnTo>
                          <a:lnTo>
                            <a:pt x="310" y="80"/>
                          </a:lnTo>
                          <a:lnTo>
                            <a:pt x="288" y="86"/>
                          </a:lnTo>
                          <a:lnTo>
                            <a:pt x="266" y="91"/>
                          </a:lnTo>
                          <a:lnTo>
                            <a:pt x="243" y="94"/>
                          </a:lnTo>
                          <a:lnTo>
                            <a:pt x="219" y="96"/>
                          </a:lnTo>
                          <a:lnTo>
                            <a:pt x="196" y="96"/>
                          </a:lnTo>
                          <a:lnTo>
                            <a:pt x="172" y="96"/>
                          </a:lnTo>
                          <a:lnTo>
                            <a:pt x="147" y="95"/>
                          </a:lnTo>
                          <a:lnTo>
                            <a:pt x="124" y="92"/>
                          </a:lnTo>
                          <a:lnTo>
                            <a:pt x="101" y="88"/>
                          </a:lnTo>
                          <a:lnTo>
                            <a:pt x="78" y="84"/>
                          </a:lnTo>
                          <a:lnTo>
                            <a:pt x="58" y="79"/>
                          </a:lnTo>
                          <a:lnTo>
                            <a:pt x="37" y="72"/>
                          </a:lnTo>
                          <a:lnTo>
                            <a:pt x="18" y="65"/>
                          </a:lnTo>
                          <a:lnTo>
                            <a:pt x="12" y="56"/>
                          </a:lnTo>
                          <a:lnTo>
                            <a:pt x="6" y="47"/>
                          </a:lnTo>
                          <a:lnTo>
                            <a:pt x="2" y="38"/>
                          </a:lnTo>
                          <a:lnTo>
                            <a:pt x="0" y="28"/>
                          </a:lnTo>
                          <a:lnTo>
                            <a:pt x="0" y="20"/>
                          </a:lnTo>
                          <a:lnTo>
                            <a:pt x="5" y="13"/>
                          </a:lnTo>
                          <a:lnTo>
                            <a:pt x="12" y="8"/>
                          </a:lnTo>
                          <a:lnTo>
                            <a:pt x="24" y="4"/>
                          </a:lnTo>
                          <a:close/>
                        </a:path>
                      </a:pathLst>
                    </a:custGeom>
                    <a:solidFill>
                      <a:srgbClr val="E6E6E6">
                        <a:lumMod val="90000"/>
                      </a:srgbClr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pPr fontAlgn="auto">
                        <a:spcBef>
                          <a:spcPts val="0"/>
                        </a:spcBef>
                        <a:spcAft>
                          <a:spcPts val="0"/>
                        </a:spcAft>
                        <a:defRPr/>
                      </a:pPr>
                      <a:endParaRPr lang="da-DK" kern="0">
                        <a:solidFill>
                          <a:sysClr val="windowText" lastClr="000000"/>
                        </a:solidFill>
                        <a:latin typeface="+mn-lt"/>
                        <a:ea typeface="ＭＳ Ｐゴシック" pitchFamily="-97" charset="-128"/>
                        <a:cs typeface="+mn-cs"/>
                      </a:endParaRPr>
                    </a:p>
                  </p:txBody>
                </p:sp>
                <p:sp>
                  <p:nvSpPr>
                    <p:cNvPr id="269" name="Freeform 148"/>
                    <p:cNvSpPr>
                      <a:spLocks/>
                    </p:cNvSpPr>
                    <p:nvPr/>
                  </p:nvSpPr>
                  <p:spPr bwMode="auto">
                    <a:xfrm>
                      <a:off x="16212" y="5250617"/>
                      <a:ext cx="881639" cy="337580"/>
                    </a:xfrm>
                    <a:custGeom>
                      <a:avLst/>
                      <a:gdLst/>
                      <a:ahLst/>
                      <a:cxnLst>
                        <a:cxn ang="0">
                          <a:pos x="7" y="102"/>
                        </a:cxn>
                        <a:cxn ang="0">
                          <a:pos x="18" y="116"/>
                        </a:cxn>
                        <a:cxn ang="0">
                          <a:pos x="34" y="130"/>
                        </a:cxn>
                        <a:cxn ang="0">
                          <a:pos x="55" y="143"/>
                        </a:cxn>
                        <a:cxn ang="0">
                          <a:pos x="80" y="155"/>
                        </a:cxn>
                        <a:cxn ang="0">
                          <a:pos x="109" y="165"/>
                        </a:cxn>
                        <a:cxn ang="0">
                          <a:pos x="141" y="173"/>
                        </a:cxn>
                        <a:cxn ang="0">
                          <a:pos x="176" y="179"/>
                        </a:cxn>
                        <a:cxn ang="0">
                          <a:pos x="211" y="182"/>
                        </a:cxn>
                        <a:cxn ang="0">
                          <a:pos x="248" y="184"/>
                        </a:cxn>
                        <a:cxn ang="0">
                          <a:pos x="285" y="183"/>
                        </a:cxn>
                        <a:cxn ang="0">
                          <a:pos x="323" y="180"/>
                        </a:cxn>
                        <a:cxn ang="0">
                          <a:pos x="359" y="173"/>
                        </a:cxn>
                        <a:cxn ang="0">
                          <a:pos x="393" y="164"/>
                        </a:cxn>
                        <a:cxn ang="0">
                          <a:pos x="427" y="151"/>
                        </a:cxn>
                        <a:cxn ang="0">
                          <a:pos x="455" y="135"/>
                        </a:cxn>
                        <a:cxn ang="0">
                          <a:pos x="482" y="115"/>
                        </a:cxn>
                        <a:cxn ang="0">
                          <a:pos x="483" y="93"/>
                        </a:cxn>
                        <a:cxn ang="0">
                          <a:pos x="483" y="77"/>
                        </a:cxn>
                        <a:cxn ang="0">
                          <a:pos x="482" y="65"/>
                        </a:cxn>
                        <a:cxn ang="0">
                          <a:pos x="478" y="54"/>
                        </a:cxn>
                        <a:cxn ang="0">
                          <a:pos x="473" y="44"/>
                        </a:cxn>
                        <a:cxn ang="0">
                          <a:pos x="463" y="34"/>
                        </a:cxn>
                        <a:cxn ang="0">
                          <a:pos x="451" y="22"/>
                        </a:cxn>
                        <a:cxn ang="0">
                          <a:pos x="435" y="7"/>
                        </a:cxn>
                        <a:cxn ang="0">
                          <a:pos x="416" y="23"/>
                        </a:cxn>
                        <a:cxn ang="0">
                          <a:pos x="396" y="37"/>
                        </a:cxn>
                        <a:cxn ang="0">
                          <a:pos x="375" y="50"/>
                        </a:cxn>
                        <a:cxn ang="0">
                          <a:pos x="353" y="59"/>
                        </a:cxn>
                        <a:cxn ang="0">
                          <a:pos x="330" y="67"/>
                        </a:cxn>
                        <a:cxn ang="0">
                          <a:pos x="307" y="73"/>
                        </a:cxn>
                        <a:cxn ang="0">
                          <a:pos x="284" y="76"/>
                        </a:cxn>
                        <a:cxn ang="0">
                          <a:pos x="260" y="78"/>
                        </a:cxn>
                        <a:cxn ang="0">
                          <a:pos x="235" y="78"/>
                        </a:cxn>
                        <a:cxn ang="0">
                          <a:pos x="211" y="76"/>
                        </a:cxn>
                        <a:cxn ang="0">
                          <a:pos x="187" y="73"/>
                        </a:cxn>
                        <a:cxn ang="0">
                          <a:pos x="163" y="68"/>
                        </a:cxn>
                        <a:cxn ang="0">
                          <a:pos x="140" y="61"/>
                        </a:cxn>
                        <a:cxn ang="0">
                          <a:pos x="116" y="53"/>
                        </a:cxn>
                        <a:cxn ang="0">
                          <a:pos x="94" y="44"/>
                        </a:cxn>
                        <a:cxn ang="0">
                          <a:pos x="72" y="32"/>
                        </a:cxn>
                        <a:cxn ang="0">
                          <a:pos x="66" y="0"/>
                        </a:cxn>
                        <a:cxn ang="0">
                          <a:pos x="56" y="5"/>
                        </a:cxn>
                        <a:cxn ang="0">
                          <a:pos x="42" y="12"/>
                        </a:cxn>
                        <a:cxn ang="0">
                          <a:pos x="29" y="20"/>
                        </a:cxn>
                        <a:cxn ang="0">
                          <a:pos x="17" y="30"/>
                        </a:cxn>
                        <a:cxn ang="0">
                          <a:pos x="7" y="43"/>
                        </a:cxn>
                        <a:cxn ang="0">
                          <a:pos x="2" y="59"/>
                        </a:cxn>
                        <a:cxn ang="0">
                          <a:pos x="0" y="78"/>
                        </a:cxn>
                        <a:cxn ang="0">
                          <a:pos x="7" y="102"/>
                        </a:cxn>
                      </a:cxnLst>
                      <a:rect l="0" t="0" r="r" b="b"/>
                      <a:pathLst>
                        <a:path w="483" h="184">
                          <a:moveTo>
                            <a:pt x="7" y="102"/>
                          </a:moveTo>
                          <a:lnTo>
                            <a:pt x="18" y="116"/>
                          </a:lnTo>
                          <a:lnTo>
                            <a:pt x="34" y="130"/>
                          </a:lnTo>
                          <a:lnTo>
                            <a:pt x="55" y="143"/>
                          </a:lnTo>
                          <a:lnTo>
                            <a:pt x="80" y="155"/>
                          </a:lnTo>
                          <a:lnTo>
                            <a:pt x="109" y="165"/>
                          </a:lnTo>
                          <a:lnTo>
                            <a:pt x="141" y="173"/>
                          </a:lnTo>
                          <a:lnTo>
                            <a:pt x="176" y="179"/>
                          </a:lnTo>
                          <a:lnTo>
                            <a:pt x="211" y="182"/>
                          </a:lnTo>
                          <a:lnTo>
                            <a:pt x="248" y="184"/>
                          </a:lnTo>
                          <a:lnTo>
                            <a:pt x="285" y="183"/>
                          </a:lnTo>
                          <a:lnTo>
                            <a:pt x="323" y="180"/>
                          </a:lnTo>
                          <a:lnTo>
                            <a:pt x="359" y="173"/>
                          </a:lnTo>
                          <a:lnTo>
                            <a:pt x="393" y="164"/>
                          </a:lnTo>
                          <a:lnTo>
                            <a:pt x="427" y="151"/>
                          </a:lnTo>
                          <a:lnTo>
                            <a:pt x="455" y="135"/>
                          </a:lnTo>
                          <a:lnTo>
                            <a:pt x="482" y="115"/>
                          </a:lnTo>
                          <a:lnTo>
                            <a:pt x="483" y="93"/>
                          </a:lnTo>
                          <a:lnTo>
                            <a:pt x="483" y="77"/>
                          </a:lnTo>
                          <a:lnTo>
                            <a:pt x="482" y="65"/>
                          </a:lnTo>
                          <a:lnTo>
                            <a:pt x="478" y="54"/>
                          </a:lnTo>
                          <a:lnTo>
                            <a:pt x="473" y="44"/>
                          </a:lnTo>
                          <a:lnTo>
                            <a:pt x="463" y="34"/>
                          </a:lnTo>
                          <a:lnTo>
                            <a:pt x="451" y="22"/>
                          </a:lnTo>
                          <a:lnTo>
                            <a:pt x="435" y="7"/>
                          </a:lnTo>
                          <a:lnTo>
                            <a:pt x="416" y="23"/>
                          </a:lnTo>
                          <a:lnTo>
                            <a:pt x="396" y="37"/>
                          </a:lnTo>
                          <a:lnTo>
                            <a:pt x="375" y="50"/>
                          </a:lnTo>
                          <a:lnTo>
                            <a:pt x="353" y="59"/>
                          </a:lnTo>
                          <a:lnTo>
                            <a:pt x="330" y="67"/>
                          </a:lnTo>
                          <a:lnTo>
                            <a:pt x="307" y="73"/>
                          </a:lnTo>
                          <a:lnTo>
                            <a:pt x="284" y="76"/>
                          </a:lnTo>
                          <a:lnTo>
                            <a:pt x="260" y="78"/>
                          </a:lnTo>
                          <a:lnTo>
                            <a:pt x="235" y="78"/>
                          </a:lnTo>
                          <a:lnTo>
                            <a:pt x="211" y="76"/>
                          </a:lnTo>
                          <a:lnTo>
                            <a:pt x="187" y="73"/>
                          </a:lnTo>
                          <a:lnTo>
                            <a:pt x="163" y="68"/>
                          </a:lnTo>
                          <a:lnTo>
                            <a:pt x="140" y="61"/>
                          </a:lnTo>
                          <a:lnTo>
                            <a:pt x="116" y="53"/>
                          </a:lnTo>
                          <a:lnTo>
                            <a:pt x="94" y="44"/>
                          </a:lnTo>
                          <a:lnTo>
                            <a:pt x="72" y="32"/>
                          </a:lnTo>
                          <a:lnTo>
                            <a:pt x="66" y="0"/>
                          </a:lnTo>
                          <a:lnTo>
                            <a:pt x="56" y="5"/>
                          </a:lnTo>
                          <a:lnTo>
                            <a:pt x="42" y="12"/>
                          </a:lnTo>
                          <a:lnTo>
                            <a:pt x="29" y="20"/>
                          </a:lnTo>
                          <a:lnTo>
                            <a:pt x="17" y="30"/>
                          </a:lnTo>
                          <a:lnTo>
                            <a:pt x="7" y="43"/>
                          </a:lnTo>
                          <a:lnTo>
                            <a:pt x="2" y="59"/>
                          </a:lnTo>
                          <a:lnTo>
                            <a:pt x="0" y="78"/>
                          </a:lnTo>
                          <a:lnTo>
                            <a:pt x="7" y="102"/>
                          </a:lnTo>
                          <a:close/>
                        </a:path>
                      </a:pathLst>
                    </a:custGeom>
                    <a:solidFill>
                      <a:srgbClr val="E6E6E6">
                        <a:lumMod val="90000"/>
                      </a:srgbClr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pPr fontAlgn="auto">
                        <a:spcBef>
                          <a:spcPts val="0"/>
                        </a:spcBef>
                        <a:spcAft>
                          <a:spcPts val="0"/>
                        </a:spcAft>
                        <a:defRPr/>
                      </a:pPr>
                      <a:endParaRPr lang="da-DK" kern="0">
                        <a:solidFill>
                          <a:sysClr val="windowText" lastClr="000000"/>
                        </a:solidFill>
                        <a:latin typeface="+mn-lt"/>
                        <a:ea typeface="ＭＳ Ｐゴシック" pitchFamily="-97" charset="-128"/>
                        <a:cs typeface="+mn-cs"/>
                      </a:endParaRPr>
                    </a:p>
                  </p:txBody>
                </p:sp>
                <p:sp>
                  <p:nvSpPr>
                    <p:cNvPr id="270" name="Freeform 184"/>
                    <p:cNvSpPr>
                      <a:spLocks/>
                    </p:cNvSpPr>
                    <p:nvPr/>
                  </p:nvSpPr>
                  <p:spPr bwMode="auto">
                    <a:xfrm>
                      <a:off x="420297" y="3600167"/>
                      <a:ext cx="183675" cy="112519"/>
                    </a:xfrm>
                    <a:custGeom>
                      <a:avLst/>
                      <a:gdLst/>
                      <a:ahLst/>
                      <a:cxnLst>
                        <a:cxn ang="0">
                          <a:pos x="48" y="0"/>
                        </a:cxn>
                        <a:cxn ang="0">
                          <a:pos x="57" y="2"/>
                        </a:cxn>
                        <a:cxn ang="0">
                          <a:pos x="66" y="3"/>
                        </a:cxn>
                        <a:cxn ang="0">
                          <a:pos x="74" y="6"/>
                        </a:cxn>
                        <a:cxn ang="0">
                          <a:pos x="81" y="11"/>
                        </a:cxn>
                        <a:cxn ang="0">
                          <a:pos x="87" y="16"/>
                        </a:cxn>
                        <a:cxn ang="0">
                          <a:pos x="91" y="22"/>
                        </a:cxn>
                        <a:cxn ang="0">
                          <a:pos x="94" y="29"/>
                        </a:cxn>
                        <a:cxn ang="0">
                          <a:pos x="95" y="36"/>
                        </a:cxn>
                        <a:cxn ang="0">
                          <a:pos x="94" y="43"/>
                        </a:cxn>
                        <a:cxn ang="0">
                          <a:pos x="91" y="50"/>
                        </a:cxn>
                        <a:cxn ang="0">
                          <a:pos x="87" y="56"/>
                        </a:cxn>
                        <a:cxn ang="0">
                          <a:pos x="81" y="61"/>
                        </a:cxn>
                        <a:cxn ang="0">
                          <a:pos x="74" y="66"/>
                        </a:cxn>
                        <a:cxn ang="0">
                          <a:pos x="66" y="69"/>
                        </a:cxn>
                        <a:cxn ang="0">
                          <a:pos x="57" y="71"/>
                        </a:cxn>
                        <a:cxn ang="0">
                          <a:pos x="48" y="72"/>
                        </a:cxn>
                        <a:cxn ang="0">
                          <a:pos x="38" y="71"/>
                        </a:cxn>
                        <a:cxn ang="0">
                          <a:pos x="29" y="69"/>
                        </a:cxn>
                        <a:cxn ang="0">
                          <a:pos x="21" y="66"/>
                        </a:cxn>
                        <a:cxn ang="0">
                          <a:pos x="14" y="61"/>
                        </a:cxn>
                        <a:cxn ang="0">
                          <a:pos x="8" y="56"/>
                        </a:cxn>
                        <a:cxn ang="0">
                          <a:pos x="4" y="50"/>
                        </a:cxn>
                        <a:cxn ang="0">
                          <a:pos x="2" y="43"/>
                        </a:cxn>
                        <a:cxn ang="0">
                          <a:pos x="0" y="36"/>
                        </a:cxn>
                        <a:cxn ang="0">
                          <a:pos x="2" y="29"/>
                        </a:cxn>
                        <a:cxn ang="0">
                          <a:pos x="4" y="22"/>
                        </a:cxn>
                        <a:cxn ang="0">
                          <a:pos x="8" y="16"/>
                        </a:cxn>
                        <a:cxn ang="0">
                          <a:pos x="14" y="11"/>
                        </a:cxn>
                        <a:cxn ang="0">
                          <a:pos x="21" y="6"/>
                        </a:cxn>
                        <a:cxn ang="0">
                          <a:pos x="29" y="3"/>
                        </a:cxn>
                        <a:cxn ang="0">
                          <a:pos x="38" y="2"/>
                        </a:cxn>
                        <a:cxn ang="0">
                          <a:pos x="48" y="0"/>
                        </a:cxn>
                      </a:cxnLst>
                      <a:rect l="0" t="0" r="r" b="b"/>
                      <a:pathLst>
                        <a:path w="95" h="72">
                          <a:moveTo>
                            <a:pt x="48" y="0"/>
                          </a:moveTo>
                          <a:lnTo>
                            <a:pt x="57" y="2"/>
                          </a:lnTo>
                          <a:lnTo>
                            <a:pt x="66" y="3"/>
                          </a:lnTo>
                          <a:lnTo>
                            <a:pt x="74" y="6"/>
                          </a:lnTo>
                          <a:lnTo>
                            <a:pt x="81" y="11"/>
                          </a:lnTo>
                          <a:lnTo>
                            <a:pt x="87" y="16"/>
                          </a:lnTo>
                          <a:lnTo>
                            <a:pt x="91" y="22"/>
                          </a:lnTo>
                          <a:lnTo>
                            <a:pt x="94" y="29"/>
                          </a:lnTo>
                          <a:lnTo>
                            <a:pt x="95" y="36"/>
                          </a:lnTo>
                          <a:lnTo>
                            <a:pt x="94" y="43"/>
                          </a:lnTo>
                          <a:lnTo>
                            <a:pt x="91" y="50"/>
                          </a:lnTo>
                          <a:lnTo>
                            <a:pt x="87" y="56"/>
                          </a:lnTo>
                          <a:lnTo>
                            <a:pt x="81" y="61"/>
                          </a:lnTo>
                          <a:lnTo>
                            <a:pt x="74" y="66"/>
                          </a:lnTo>
                          <a:lnTo>
                            <a:pt x="66" y="69"/>
                          </a:lnTo>
                          <a:lnTo>
                            <a:pt x="57" y="71"/>
                          </a:lnTo>
                          <a:lnTo>
                            <a:pt x="48" y="72"/>
                          </a:lnTo>
                          <a:lnTo>
                            <a:pt x="38" y="71"/>
                          </a:lnTo>
                          <a:lnTo>
                            <a:pt x="29" y="69"/>
                          </a:lnTo>
                          <a:lnTo>
                            <a:pt x="21" y="66"/>
                          </a:lnTo>
                          <a:lnTo>
                            <a:pt x="14" y="61"/>
                          </a:lnTo>
                          <a:lnTo>
                            <a:pt x="8" y="56"/>
                          </a:lnTo>
                          <a:lnTo>
                            <a:pt x="4" y="50"/>
                          </a:lnTo>
                          <a:lnTo>
                            <a:pt x="2" y="43"/>
                          </a:lnTo>
                          <a:lnTo>
                            <a:pt x="0" y="36"/>
                          </a:lnTo>
                          <a:lnTo>
                            <a:pt x="2" y="29"/>
                          </a:lnTo>
                          <a:lnTo>
                            <a:pt x="4" y="22"/>
                          </a:lnTo>
                          <a:lnTo>
                            <a:pt x="8" y="16"/>
                          </a:lnTo>
                          <a:lnTo>
                            <a:pt x="14" y="11"/>
                          </a:lnTo>
                          <a:lnTo>
                            <a:pt x="21" y="6"/>
                          </a:lnTo>
                          <a:lnTo>
                            <a:pt x="29" y="3"/>
                          </a:lnTo>
                          <a:lnTo>
                            <a:pt x="38" y="2"/>
                          </a:lnTo>
                          <a:lnTo>
                            <a:pt x="48" y="0"/>
                          </a:lnTo>
                          <a:close/>
                        </a:path>
                      </a:pathLst>
                    </a:custGeom>
                    <a:solidFill>
                      <a:srgbClr val="E6E6E6">
                        <a:lumMod val="10000"/>
                      </a:srgbClr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pPr fontAlgn="auto">
                        <a:spcBef>
                          <a:spcPts val="0"/>
                        </a:spcBef>
                        <a:spcAft>
                          <a:spcPts val="0"/>
                        </a:spcAft>
                        <a:defRPr/>
                      </a:pPr>
                      <a:endParaRPr lang="da-DK" kern="0">
                        <a:solidFill>
                          <a:sysClr val="windowText" lastClr="000000"/>
                        </a:solidFill>
                        <a:latin typeface="+mn-lt"/>
                        <a:ea typeface="ＭＳ Ｐゴシック" pitchFamily="-97" charset="-128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58" name="Gruppe 813"/>
                  <p:cNvGrpSpPr/>
                  <p:nvPr/>
                </p:nvGrpSpPr>
                <p:grpSpPr>
                  <a:xfrm>
                    <a:off x="1203876" y="3975116"/>
                    <a:ext cx="443011" cy="1727207"/>
                    <a:chOff x="3781425" y="3433763"/>
                    <a:chExt cx="490538" cy="1912498"/>
                  </a:xfrm>
                  <a:solidFill>
                    <a:srgbClr val="FFFFFF">
                      <a:alpha val="9000"/>
                    </a:srgbClr>
                  </a:solidFill>
                </p:grpSpPr>
                <p:sp>
                  <p:nvSpPr>
                    <p:cNvPr id="259" name="Freeform 316"/>
                    <p:cNvSpPr>
                      <a:spLocks/>
                    </p:cNvSpPr>
                    <p:nvPr/>
                  </p:nvSpPr>
                  <p:spPr bwMode="auto">
                    <a:xfrm>
                      <a:off x="3824288" y="3986213"/>
                      <a:ext cx="365125" cy="65088"/>
                    </a:xfrm>
                    <a:custGeom>
                      <a:avLst/>
                      <a:gdLst/>
                      <a:ahLst/>
                      <a:cxnLst>
                        <a:cxn ang="0">
                          <a:pos x="13" y="0"/>
                        </a:cxn>
                        <a:cxn ang="0">
                          <a:pos x="26" y="6"/>
                        </a:cxn>
                        <a:cxn ang="0">
                          <a:pos x="39" y="13"/>
                        </a:cxn>
                        <a:cxn ang="0">
                          <a:pos x="52" y="16"/>
                        </a:cxn>
                        <a:cxn ang="0">
                          <a:pos x="65" y="19"/>
                        </a:cxn>
                        <a:cxn ang="0">
                          <a:pos x="78" y="22"/>
                        </a:cxn>
                        <a:cxn ang="0">
                          <a:pos x="93" y="23"/>
                        </a:cxn>
                        <a:cxn ang="0">
                          <a:pos x="106" y="24"/>
                        </a:cxn>
                        <a:cxn ang="0">
                          <a:pos x="120" y="23"/>
                        </a:cxn>
                        <a:cxn ang="0">
                          <a:pos x="134" y="22"/>
                        </a:cxn>
                        <a:cxn ang="0">
                          <a:pos x="147" y="20"/>
                        </a:cxn>
                        <a:cxn ang="0">
                          <a:pos x="161" y="18"/>
                        </a:cxn>
                        <a:cxn ang="0">
                          <a:pos x="176" y="15"/>
                        </a:cxn>
                        <a:cxn ang="0">
                          <a:pos x="189" y="13"/>
                        </a:cxn>
                        <a:cxn ang="0">
                          <a:pos x="203" y="9"/>
                        </a:cxn>
                        <a:cxn ang="0">
                          <a:pos x="216" y="6"/>
                        </a:cxn>
                        <a:cxn ang="0">
                          <a:pos x="230" y="2"/>
                        </a:cxn>
                        <a:cxn ang="0">
                          <a:pos x="230" y="15"/>
                        </a:cxn>
                        <a:cxn ang="0">
                          <a:pos x="221" y="19"/>
                        </a:cxn>
                        <a:cxn ang="0">
                          <a:pos x="212" y="23"/>
                        </a:cxn>
                        <a:cxn ang="0">
                          <a:pos x="200" y="27"/>
                        </a:cxn>
                        <a:cxn ang="0">
                          <a:pos x="189" y="29"/>
                        </a:cxn>
                        <a:cxn ang="0">
                          <a:pos x="174" y="33"/>
                        </a:cxn>
                        <a:cxn ang="0">
                          <a:pos x="161" y="36"/>
                        </a:cxn>
                        <a:cxn ang="0">
                          <a:pos x="146" y="39"/>
                        </a:cxn>
                        <a:cxn ang="0">
                          <a:pos x="132" y="41"/>
                        </a:cxn>
                        <a:cxn ang="0">
                          <a:pos x="115" y="41"/>
                        </a:cxn>
                        <a:cxn ang="0">
                          <a:pos x="99" y="41"/>
                        </a:cxn>
                        <a:cxn ang="0">
                          <a:pos x="82" y="40"/>
                        </a:cxn>
                        <a:cxn ang="0">
                          <a:pos x="65" y="37"/>
                        </a:cxn>
                        <a:cxn ang="0">
                          <a:pos x="50" y="32"/>
                        </a:cxn>
                        <a:cxn ang="0">
                          <a:pos x="33" y="27"/>
                        </a:cxn>
                        <a:cxn ang="0">
                          <a:pos x="16" y="19"/>
                        </a:cxn>
                        <a:cxn ang="0">
                          <a:pos x="0" y="9"/>
                        </a:cxn>
                        <a:cxn ang="0">
                          <a:pos x="13" y="0"/>
                        </a:cxn>
                      </a:cxnLst>
                      <a:rect l="0" t="0" r="r" b="b"/>
                      <a:pathLst>
                        <a:path w="230" h="41">
                          <a:moveTo>
                            <a:pt x="13" y="0"/>
                          </a:moveTo>
                          <a:lnTo>
                            <a:pt x="26" y="6"/>
                          </a:lnTo>
                          <a:lnTo>
                            <a:pt x="39" y="13"/>
                          </a:lnTo>
                          <a:lnTo>
                            <a:pt x="52" y="16"/>
                          </a:lnTo>
                          <a:lnTo>
                            <a:pt x="65" y="19"/>
                          </a:lnTo>
                          <a:lnTo>
                            <a:pt x="78" y="22"/>
                          </a:lnTo>
                          <a:lnTo>
                            <a:pt x="93" y="23"/>
                          </a:lnTo>
                          <a:lnTo>
                            <a:pt x="106" y="24"/>
                          </a:lnTo>
                          <a:lnTo>
                            <a:pt x="120" y="23"/>
                          </a:lnTo>
                          <a:lnTo>
                            <a:pt x="134" y="22"/>
                          </a:lnTo>
                          <a:lnTo>
                            <a:pt x="147" y="20"/>
                          </a:lnTo>
                          <a:lnTo>
                            <a:pt x="161" y="18"/>
                          </a:lnTo>
                          <a:lnTo>
                            <a:pt x="176" y="15"/>
                          </a:lnTo>
                          <a:lnTo>
                            <a:pt x="189" y="13"/>
                          </a:lnTo>
                          <a:lnTo>
                            <a:pt x="203" y="9"/>
                          </a:lnTo>
                          <a:lnTo>
                            <a:pt x="216" y="6"/>
                          </a:lnTo>
                          <a:lnTo>
                            <a:pt x="230" y="2"/>
                          </a:lnTo>
                          <a:lnTo>
                            <a:pt x="230" y="15"/>
                          </a:lnTo>
                          <a:lnTo>
                            <a:pt x="221" y="19"/>
                          </a:lnTo>
                          <a:lnTo>
                            <a:pt x="212" y="23"/>
                          </a:lnTo>
                          <a:lnTo>
                            <a:pt x="200" y="27"/>
                          </a:lnTo>
                          <a:lnTo>
                            <a:pt x="189" y="29"/>
                          </a:lnTo>
                          <a:lnTo>
                            <a:pt x="174" y="33"/>
                          </a:lnTo>
                          <a:lnTo>
                            <a:pt x="161" y="36"/>
                          </a:lnTo>
                          <a:lnTo>
                            <a:pt x="146" y="39"/>
                          </a:lnTo>
                          <a:lnTo>
                            <a:pt x="132" y="41"/>
                          </a:lnTo>
                          <a:lnTo>
                            <a:pt x="115" y="41"/>
                          </a:lnTo>
                          <a:lnTo>
                            <a:pt x="99" y="41"/>
                          </a:lnTo>
                          <a:lnTo>
                            <a:pt x="82" y="40"/>
                          </a:lnTo>
                          <a:lnTo>
                            <a:pt x="65" y="37"/>
                          </a:lnTo>
                          <a:lnTo>
                            <a:pt x="50" y="32"/>
                          </a:lnTo>
                          <a:lnTo>
                            <a:pt x="33" y="27"/>
                          </a:lnTo>
                          <a:lnTo>
                            <a:pt x="16" y="19"/>
                          </a:lnTo>
                          <a:lnTo>
                            <a:pt x="0" y="9"/>
                          </a:lnTo>
                          <a:lnTo>
                            <a:pt x="13" y="0"/>
                          </a:lnTo>
                          <a:close/>
                        </a:path>
                      </a:pathLst>
                    </a:custGeom>
                    <a:grpFill/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pPr fontAlgn="auto">
                        <a:spcBef>
                          <a:spcPts val="0"/>
                        </a:spcBef>
                        <a:spcAft>
                          <a:spcPts val="0"/>
                        </a:spcAft>
                        <a:defRPr/>
                      </a:pPr>
                      <a:endParaRPr lang="da-DK" kern="0">
                        <a:solidFill>
                          <a:sysClr val="windowText" lastClr="000000"/>
                        </a:solidFill>
                        <a:latin typeface="+mn-lt"/>
                        <a:ea typeface="ＭＳ Ｐゴシック" pitchFamily="-97" charset="-128"/>
                        <a:cs typeface="+mn-cs"/>
                      </a:endParaRPr>
                    </a:p>
                  </p:txBody>
                </p:sp>
                <p:sp>
                  <p:nvSpPr>
                    <p:cNvPr id="260" name="Freeform 336"/>
                    <p:cNvSpPr>
                      <a:spLocks/>
                    </p:cNvSpPr>
                    <p:nvPr/>
                  </p:nvSpPr>
                  <p:spPr bwMode="auto">
                    <a:xfrm>
                      <a:off x="3781425" y="5231961"/>
                      <a:ext cx="490538" cy="114300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29"/>
                        </a:cxn>
                        <a:cxn ang="0">
                          <a:pos x="3" y="37"/>
                        </a:cxn>
                        <a:cxn ang="0">
                          <a:pos x="7" y="45"/>
                        </a:cxn>
                        <a:cxn ang="0">
                          <a:pos x="11" y="53"/>
                        </a:cxn>
                        <a:cxn ang="0">
                          <a:pos x="15" y="61"/>
                        </a:cxn>
                        <a:cxn ang="0">
                          <a:pos x="22" y="62"/>
                        </a:cxn>
                        <a:cxn ang="0">
                          <a:pos x="29" y="63"/>
                        </a:cxn>
                        <a:cxn ang="0">
                          <a:pos x="37" y="65"/>
                        </a:cxn>
                        <a:cxn ang="0">
                          <a:pos x="44" y="66"/>
                        </a:cxn>
                        <a:cxn ang="0">
                          <a:pos x="51" y="67"/>
                        </a:cxn>
                        <a:cxn ang="0">
                          <a:pos x="59" y="68"/>
                        </a:cxn>
                        <a:cxn ang="0">
                          <a:pos x="65" y="71"/>
                        </a:cxn>
                        <a:cxn ang="0">
                          <a:pos x="73" y="72"/>
                        </a:cxn>
                        <a:cxn ang="0">
                          <a:pos x="91" y="72"/>
                        </a:cxn>
                        <a:cxn ang="0">
                          <a:pos x="109" y="71"/>
                        </a:cxn>
                        <a:cxn ang="0">
                          <a:pos x="127" y="71"/>
                        </a:cxn>
                        <a:cxn ang="0">
                          <a:pos x="146" y="70"/>
                        </a:cxn>
                        <a:cxn ang="0">
                          <a:pos x="164" y="70"/>
                        </a:cxn>
                        <a:cxn ang="0">
                          <a:pos x="183" y="68"/>
                        </a:cxn>
                        <a:cxn ang="0">
                          <a:pos x="201" y="68"/>
                        </a:cxn>
                        <a:cxn ang="0">
                          <a:pos x="220" y="67"/>
                        </a:cxn>
                        <a:cxn ang="0">
                          <a:pos x="231" y="65"/>
                        </a:cxn>
                        <a:cxn ang="0">
                          <a:pos x="242" y="61"/>
                        </a:cxn>
                        <a:cxn ang="0">
                          <a:pos x="253" y="58"/>
                        </a:cxn>
                        <a:cxn ang="0">
                          <a:pos x="265" y="54"/>
                        </a:cxn>
                        <a:cxn ang="0">
                          <a:pos x="275" y="52"/>
                        </a:cxn>
                        <a:cxn ang="0">
                          <a:pos x="287" y="48"/>
                        </a:cxn>
                        <a:cxn ang="0">
                          <a:pos x="297" y="45"/>
                        </a:cxn>
                        <a:cxn ang="0">
                          <a:pos x="309" y="41"/>
                        </a:cxn>
                        <a:cxn ang="0">
                          <a:pos x="309" y="26"/>
                        </a:cxn>
                        <a:cxn ang="0">
                          <a:pos x="307" y="13"/>
                        </a:cxn>
                        <a:cxn ang="0">
                          <a:pos x="303" y="5"/>
                        </a:cxn>
                        <a:cxn ang="0">
                          <a:pos x="297" y="1"/>
                        </a:cxn>
                        <a:cxn ang="0">
                          <a:pos x="290" y="0"/>
                        </a:cxn>
                        <a:cxn ang="0">
                          <a:pos x="279" y="0"/>
                        </a:cxn>
                        <a:cxn ang="0">
                          <a:pos x="268" y="4"/>
                        </a:cxn>
                        <a:cxn ang="0">
                          <a:pos x="252" y="9"/>
                        </a:cxn>
                        <a:cxn ang="0">
                          <a:pos x="242" y="9"/>
                        </a:cxn>
                        <a:cxn ang="0">
                          <a:pos x="231" y="10"/>
                        </a:cxn>
                        <a:cxn ang="0">
                          <a:pos x="221" y="10"/>
                        </a:cxn>
                        <a:cxn ang="0">
                          <a:pos x="211" y="10"/>
                        </a:cxn>
                        <a:cxn ang="0">
                          <a:pos x="200" y="10"/>
                        </a:cxn>
                        <a:cxn ang="0">
                          <a:pos x="188" y="10"/>
                        </a:cxn>
                        <a:cxn ang="0">
                          <a:pos x="178" y="11"/>
                        </a:cxn>
                        <a:cxn ang="0">
                          <a:pos x="168" y="11"/>
                        </a:cxn>
                        <a:cxn ang="0">
                          <a:pos x="140" y="10"/>
                        </a:cxn>
                        <a:cxn ang="0">
                          <a:pos x="116" y="9"/>
                        </a:cxn>
                        <a:cxn ang="0">
                          <a:pos x="96" y="6"/>
                        </a:cxn>
                        <a:cxn ang="0">
                          <a:pos x="77" y="5"/>
                        </a:cxn>
                        <a:cxn ang="0">
                          <a:pos x="60" y="6"/>
                        </a:cxn>
                        <a:cxn ang="0">
                          <a:pos x="42" y="9"/>
                        </a:cxn>
                        <a:cxn ang="0">
                          <a:pos x="22" y="16"/>
                        </a:cxn>
                        <a:cxn ang="0">
                          <a:pos x="0" y="29"/>
                        </a:cxn>
                      </a:cxnLst>
                      <a:rect l="0" t="0" r="r" b="b"/>
                      <a:pathLst>
                        <a:path w="309" h="72">
                          <a:moveTo>
                            <a:pt x="0" y="29"/>
                          </a:moveTo>
                          <a:lnTo>
                            <a:pt x="3" y="37"/>
                          </a:lnTo>
                          <a:lnTo>
                            <a:pt x="7" y="45"/>
                          </a:lnTo>
                          <a:lnTo>
                            <a:pt x="11" y="53"/>
                          </a:lnTo>
                          <a:lnTo>
                            <a:pt x="15" y="61"/>
                          </a:lnTo>
                          <a:lnTo>
                            <a:pt x="22" y="62"/>
                          </a:lnTo>
                          <a:lnTo>
                            <a:pt x="29" y="63"/>
                          </a:lnTo>
                          <a:lnTo>
                            <a:pt x="37" y="65"/>
                          </a:lnTo>
                          <a:lnTo>
                            <a:pt x="44" y="66"/>
                          </a:lnTo>
                          <a:lnTo>
                            <a:pt x="51" y="67"/>
                          </a:lnTo>
                          <a:lnTo>
                            <a:pt x="59" y="68"/>
                          </a:lnTo>
                          <a:lnTo>
                            <a:pt x="65" y="71"/>
                          </a:lnTo>
                          <a:lnTo>
                            <a:pt x="73" y="72"/>
                          </a:lnTo>
                          <a:lnTo>
                            <a:pt x="91" y="72"/>
                          </a:lnTo>
                          <a:lnTo>
                            <a:pt x="109" y="71"/>
                          </a:lnTo>
                          <a:lnTo>
                            <a:pt x="127" y="71"/>
                          </a:lnTo>
                          <a:lnTo>
                            <a:pt x="146" y="70"/>
                          </a:lnTo>
                          <a:lnTo>
                            <a:pt x="164" y="70"/>
                          </a:lnTo>
                          <a:lnTo>
                            <a:pt x="183" y="68"/>
                          </a:lnTo>
                          <a:lnTo>
                            <a:pt x="201" y="68"/>
                          </a:lnTo>
                          <a:lnTo>
                            <a:pt x="220" y="67"/>
                          </a:lnTo>
                          <a:lnTo>
                            <a:pt x="231" y="65"/>
                          </a:lnTo>
                          <a:lnTo>
                            <a:pt x="242" y="61"/>
                          </a:lnTo>
                          <a:lnTo>
                            <a:pt x="253" y="58"/>
                          </a:lnTo>
                          <a:lnTo>
                            <a:pt x="265" y="54"/>
                          </a:lnTo>
                          <a:lnTo>
                            <a:pt x="275" y="52"/>
                          </a:lnTo>
                          <a:lnTo>
                            <a:pt x="287" y="48"/>
                          </a:lnTo>
                          <a:lnTo>
                            <a:pt x="297" y="45"/>
                          </a:lnTo>
                          <a:lnTo>
                            <a:pt x="309" y="41"/>
                          </a:lnTo>
                          <a:lnTo>
                            <a:pt x="309" y="26"/>
                          </a:lnTo>
                          <a:lnTo>
                            <a:pt x="307" y="13"/>
                          </a:lnTo>
                          <a:lnTo>
                            <a:pt x="303" y="5"/>
                          </a:lnTo>
                          <a:lnTo>
                            <a:pt x="297" y="1"/>
                          </a:lnTo>
                          <a:lnTo>
                            <a:pt x="290" y="0"/>
                          </a:lnTo>
                          <a:lnTo>
                            <a:pt x="279" y="0"/>
                          </a:lnTo>
                          <a:lnTo>
                            <a:pt x="268" y="4"/>
                          </a:lnTo>
                          <a:lnTo>
                            <a:pt x="252" y="9"/>
                          </a:lnTo>
                          <a:lnTo>
                            <a:pt x="242" y="9"/>
                          </a:lnTo>
                          <a:lnTo>
                            <a:pt x="231" y="10"/>
                          </a:lnTo>
                          <a:lnTo>
                            <a:pt x="221" y="10"/>
                          </a:lnTo>
                          <a:lnTo>
                            <a:pt x="211" y="10"/>
                          </a:lnTo>
                          <a:lnTo>
                            <a:pt x="200" y="10"/>
                          </a:lnTo>
                          <a:lnTo>
                            <a:pt x="188" y="10"/>
                          </a:lnTo>
                          <a:lnTo>
                            <a:pt x="178" y="11"/>
                          </a:lnTo>
                          <a:lnTo>
                            <a:pt x="168" y="11"/>
                          </a:lnTo>
                          <a:lnTo>
                            <a:pt x="140" y="10"/>
                          </a:lnTo>
                          <a:lnTo>
                            <a:pt x="116" y="9"/>
                          </a:lnTo>
                          <a:lnTo>
                            <a:pt x="96" y="6"/>
                          </a:lnTo>
                          <a:lnTo>
                            <a:pt x="77" y="5"/>
                          </a:lnTo>
                          <a:lnTo>
                            <a:pt x="60" y="6"/>
                          </a:lnTo>
                          <a:lnTo>
                            <a:pt x="42" y="9"/>
                          </a:lnTo>
                          <a:lnTo>
                            <a:pt x="22" y="16"/>
                          </a:lnTo>
                          <a:lnTo>
                            <a:pt x="0" y="29"/>
                          </a:lnTo>
                          <a:close/>
                        </a:path>
                      </a:pathLst>
                    </a:custGeom>
                    <a:grpFill/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pPr fontAlgn="auto">
                        <a:spcBef>
                          <a:spcPts val="0"/>
                        </a:spcBef>
                        <a:spcAft>
                          <a:spcPts val="0"/>
                        </a:spcAft>
                        <a:defRPr/>
                      </a:pPr>
                      <a:endParaRPr lang="da-DK" kern="0">
                        <a:solidFill>
                          <a:sysClr val="windowText" lastClr="000000"/>
                        </a:solidFill>
                        <a:latin typeface="+mn-lt"/>
                        <a:ea typeface="ＭＳ Ｐゴシック" pitchFamily="-97" charset="-128"/>
                        <a:cs typeface="+mn-cs"/>
                      </a:endParaRPr>
                    </a:p>
                  </p:txBody>
                </p:sp>
                <p:sp>
                  <p:nvSpPr>
                    <p:cNvPr id="261" name="Freeform 353"/>
                    <p:cNvSpPr>
                      <a:spLocks/>
                    </p:cNvSpPr>
                    <p:nvPr/>
                  </p:nvSpPr>
                  <p:spPr bwMode="auto">
                    <a:xfrm>
                      <a:off x="3932238" y="4217988"/>
                      <a:ext cx="177800" cy="39688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11"/>
                        </a:cxn>
                        <a:cxn ang="0">
                          <a:pos x="5" y="17"/>
                        </a:cxn>
                        <a:cxn ang="0">
                          <a:pos x="26" y="25"/>
                        </a:cxn>
                        <a:cxn ang="0">
                          <a:pos x="80" y="20"/>
                        </a:cxn>
                        <a:cxn ang="0">
                          <a:pos x="112" y="13"/>
                        </a:cxn>
                        <a:cxn ang="0">
                          <a:pos x="110" y="4"/>
                        </a:cxn>
                        <a:cxn ang="0">
                          <a:pos x="108" y="0"/>
                        </a:cxn>
                        <a:cxn ang="0">
                          <a:pos x="103" y="2"/>
                        </a:cxn>
                        <a:cxn ang="0">
                          <a:pos x="92" y="4"/>
                        </a:cxn>
                        <a:cxn ang="0">
                          <a:pos x="61" y="6"/>
                        </a:cxn>
                        <a:cxn ang="0">
                          <a:pos x="51" y="6"/>
                        </a:cxn>
                        <a:cxn ang="0">
                          <a:pos x="43" y="4"/>
                        </a:cxn>
                        <a:cxn ang="0">
                          <a:pos x="35" y="4"/>
                        </a:cxn>
                        <a:cxn ang="0">
                          <a:pos x="29" y="3"/>
                        </a:cxn>
                        <a:cxn ang="0">
                          <a:pos x="22" y="3"/>
                        </a:cxn>
                        <a:cxn ang="0">
                          <a:pos x="14" y="4"/>
                        </a:cxn>
                        <a:cxn ang="0">
                          <a:pos x="8" y="7"/>
                        </a:cxn>
                        <a:cxn ang="0">
                          <a:pos x="0" y="11"/>
                        </a:cxn>
                      </a:cxnLst>
                      <a:rect l="0" t="0" r="r" b="b"/>
                      <a:pathLst>
                        <a:path w="112" h="25">
                          <a:moveTo>
                            <a:pt x="0" y="11"/>
                          </a:moveTo>
                          <a:lnTo>
                            <a:pt x="5" y="17"/>
                          </a:lnTo>
                          <a:lnTo>
                            <a:pt x="26" y="25"/>
                          </a:lnTo>
                          <a:lnTo>
                            <a:pt x="80" y="20"/>
                          </a:lnTo>
                          <a:lnTo>
                            <a:pt x="112" y="13"/>
                          </a:lnTo>
                          <a:lnTo>
                            <a:pt x="110" y="4"/>
                          </a:lnTo>
                          <a:lnTo>
                            <a:pt x="108" y="0"/>
                          </a:lnTo>
                          <a:lnTo>
                            <a:pt x="103" y="2"/>
                          </a:lnTo>
                          <a:lnTo>
                            <a:pt x="92" y="4"/>
                          </a:lnTo>
                          <a:lnTo>
                            <a:pt x="61" y="6"/>
                          </a:lnTo>
                          <a:lnTo>
                            <a:pt x="51" y="6"/>
                          </a:lnTo>
                          <a:lnTo>
                            <a:pt x="43" y="4"/>
                          </a:lnTo>
                          <a:lnTo>
                            <a:pt x="35" y="4"/>
                          </a:lnTo>
                          <a:lnTo>
                            <a:pt x="29" y="3"/>
                          </a:lnTo>
                          <a:lnTo>
                            <a:pt x="22" y="3"/>
                          </a:lnTo>
                          <a:lnTo>
                            <a:pt x="14" y="4"/>
                          </a:lnTo>
                          <a:lnTo>
                            <a:pt x="8" y="7"/>
                          </a:lnTo>
                          <a:lnTo>
                            <a:pt x="0" y="11"/>
                          </a:lnTo>
                          <a:close/>
                        </a:path>
                      </a:pathLst>
                    </a:custGeom>
                    <a:grpFill/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pPr fontAlgn="auto">
                        <a:spcBef>
                          <a:spcPts val="0"/>
                        </a:spcBef>
                        <a:spcAft>
                          <a:spcPts val="0"/>
                        </a:spcAft>
                        <a:defRPr/>
                      </a:pPr>
                      <a:endParaRPr lang="da-DK" kern="0">
                        <a:solidFill>
                          <a:sysClr val="windowText" lastClr="000000"/>
                        </a:solidFill>
                        <a:latin typeface="+mn-lt"/>
                        <a:ea typeface="ＭＳ Ｐゴシック" pitchFamily="-97" charset="-128"/>
                        <a:cs typeface="+mn-cs"/>
                      </a:endParaRPr>
                    </a:p>
                  </p:txBody>
                </p:sp>
                <p:sp>
                  <p:nvSpPr>
                    <p:cNvPr id="262" name="Freeform 367"/>
                    <p:cNvSpPr>
                      <a:spLocks/>
                    </p:cNvSpPr>
                    <p:nvPr/>
                  </p:nvSpPr>
                  <p:spPr bwMode="auto">
                    <a:xfrm>
                      <a:off x="3932238" y="3433763"/>
                      <a:ext cx="168275" cy="127000"/>
                    </a:xfrm>
                    <a:custGeom>
                      <a:avLst/>
                      <a:gdLst/>
                      <a:ahLst/>
                      <a:cxnLst>
                        <a:cxn ang="0">
                          <a:pos x="53" y="0"/>
                        </a:cxn>
                        <a:cxn ang="0">
                          <a:pos x="64" y="1"/>
                        </a:cxn>
                        <a:cxn ang="0">
                          <a:pos x="74" y="2"/>
                        </a:cxn>
                        <a:cxn ang="0">
                          <a:pos x="83" y="6"/>
                        </a:cxn>
                        <a:cxn ang="0">
                          <a:pos x="91" y="11"/>
                        </a:cxn>
                        <a:cxn ang="0">
                          <a:pos x="97" y="18"/>
                        </a:cxn>
                        <a:cxn ang="0">
                          <a:pos x="103" y="24"/>
                        </a:cxn>
                        <a:cxn ang="0">
                          <a:pos x="105" y="32"/>
                        </a:cxn>
                        <a:cxn ang="0">
                          <a:pos x="106" y="40"/>
                        </a:cxn>
                        <a:cxn ang="0">
                          <a:pos x="105" y="48"/>
                        </a:cxn>
                        <a:cxn ang="0">
                          <a:pos x="103" y="55"/>
                        </a:cxn>
                        <a:cxn ang="0">
                          <a:pos x="97" y="62"/>
                        </a:cxn>
                        <a:cxn ang="0">
                          <a:pos x="91" y="68"/>
                        </a:cxn>
                        <a:cxn ang="0">
                          <a:pos x="83" y="74"/>
                        </a:cxn>
                        <a:cxn ang="0">
                          <a:pos x="74" y="78"/>
                        </a:cxn>
                        <a:cxn ang="0">
                          <a:pos x="64" y="79"/>
                        </a:cxn>
                        <a:cxn ang="0">
                          <a:pos x="53" y="80"/>
                        </a:cxn>
                        <a:cxn ang="0">
                          <a:pos x="43" y="79"/>
                        </a:cxn>
                        <a:cxn ang="0">
                          <a:pos x="32" y="78"/>
                        </a:cxn>
                        <a:cxn ang="0">
                          <a:pos x="23" y="74"/>
                        </a:cxn>
                        <a:cxn ang="0">
                          <a:pos x="16" y="68"/>
                        </a:cxn>
                        <a:cxn ang="0">
                          <a:pos x="9" y="62"/>
                        </a:cxn>
                        <a:cxn ang="0">
                          <a:pos x="4" y="55"/>
                        </a:cxn>
                        <a:cxn ang="0">
                          <a:pos x="1" y="48"/>
                        </a:cxn>
                        <a:cxn ang="0">
                          <a:pos x="0" y="40"/>
                        </a:cxn>
                        <a:cxn ang="0">
                          <a:pos x="1" y="32"/>
                        </a:cxn>
                        <a:cxn ang="0">
                          <a:pos x="4" y="24"/>
                        </a:cxn>
                        <a:cxn ang="0">
                          <a:pos x="9" y="18"/>
                        </a:cxn>
                        <a:cxn ang="0">
                          <a:pos x="16" y="11"/>
                        </a:cxn>
                        <a:cxn ang="0">
                          <a:pos x="23" y="6"/>
                        </a:cxn>
                        <a:cxn ang="0">
                          <a:pos x="32" y="2"/>
                        </a:cxn>
                        <a:cxn ang="0">
                          <a:pos x="43" y="1"/>
                        </a:cxn>
                        <a:cxn ang="0">
                          <a:pos x="53" y="0"/>
                        </a:cxn>
                      </a:cxnLst>
                      <a:rect l="0" t="0" r="r" b="b"/>
                      <a:pathLst>
                        <a:path w="106" h="80">
                          <a:moveTo>
                            <a:pt x="53" y="0"/>
                          </a:moveTo>
                          <a:lnTo>
                            <a:pt x="64" y="1"/>
                          </a:lnTo>
                          <a:lnTo>
                            <a:pt x="74" y="2"/>
                          </a:lnTo>
                          <a:lnTo>
                            <a:pt x="83" y="6"/>
                          </a:lnTo>
                          <a:lnTo>
                            <a:pt x="91" y="11"/>
                          </a:lnTo>
                          <a:lnTo>
                            <a:pt x="97" y="18"/>
                          </a:lnTo>
                          <a:lnTo>
                            <a:pt x="103" y="24"/>
                          </a:lnTo>
                          <a:lnTo>
                            <a:pt x="105" y="32"/>
                          </a:lnTo>
                          <a:lnTo>
                            <a:pt x="106" y="40"/>
                          </a:lnTo>
                          <a:lnTo>
                            <a:pt x="105" y="48"/>
                          </a:lnTo>
                          <a:lnTo>
                            <a:pt x="103" y="55"/>
                          </a:lnTo>
                          <a:lnTo>
                            <a:pt x="97" y="62"/>
                          </a:lnTo>
                          <a:lnTo>
                            <a:pt x="91" y="68"/>
                          </a:lnTo>
                          <a:lnTo>
                            <a:pt x="83" y="74"/>
                          </a:lnTo>
                          <a:lnTo>
                            <a:pt x="74" y="78"/>
                          </a:lnTo>
                          <a:lnTo>
                            <a:pt x="64" y="79"/>
                          </a:lnTo>
                          <a:lnTo>
                            <a:pt x="53" y="80"/>
                          </a:lnTo>
                          <a:lnTo>
                            <a:pt x="43" y="79"/>
                          </a:lnTo>
                          <a:lnTo>
                            <a:pt x="32" y="78"/>
                          </a:lnTo>
                          <a:lnTo>
                            <a:pt x="23" y="74"/>
                          </a:lnTo>
                          <a:lnTo>
                            <a:pt x="16" y="68"/>
                          </a:lnTo>
                          <a:lnTo>
                            <a:pt x="9" y="62"/>
                          </a:lnTo>
                          <a:lnTo>
                            <a:pt x="4" y="55"/>
                          </a:lnTo>
                          <a:lnTo>
                            <a:pt x="1" y="48"/>
                          </a:lnTo>
                          <a:lnTo>
                            <a:pt x="0" y="40"/>
                          </a:lnTo>
                          <a:lnTo>
                            <a:pt x="1" y="32"/>
                          </a:lnTo>
                          <a:lnTo>
                            <a:pt x="4" y="24"/>
                          </a:lnTo>
                          <a:lnTo>
                            <a:pt x="9" y="18"/>
                          </a:lnTo>
                          <a:lnTo>
                            <a:pt x="16" y="11"/>
                          </a:lnTo>
                          <a:lnTo>
                            <a:pt x="23" y="6"/>
                          </a:lnTo>
                          <a:lnTo>
                            <a:pt x="32" y="2"/>
                          </a:lnTo>
                          <a:lnTo>
                            <a:pt x="43" y="1"/>
                          </a:lnTo>
                          <a:lnTo>
                            <a:pt x="53" y="0"/>
                          </a:lnTo>
                          <a:close/>
                        </a:path>
                      </a:pathLst>
                    </a:custGeom>
                    <a:grpFill/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pPr fontAlgn="auto">
                        <a:spcBef>
                          <a:spcPts val="0"/>
                        </a:spcBef>
                        <a:spcAft>
                          <a:spcPts val="0"/>
                        </a:spcAft>
                        <a:defRPr/>
                      </a:pPr>
                      <a:endParaRPr lang="da-DK" kern="0">
                        <a:solidFill>
                          <a:sysClr val="windowText" lastClr="000000"/>
                        </a:solidFill>
                        <a:latin typeface="+mn-lt"/>
                        <a:ea typeface="ＭＳ Ｐゴシック" pitchFamily="-97" charset="-128"/>
                        <a:cs typeface="+mn-cs"/>
                      </a:endParaRPr>
                    </a:p>
                  </p:txBody>
                </p:sp>
              </p:grpSp>
            </p:grpSp>
          </p:grpSp>
          <p:sp>
            <p:nvSpPr>
              <p:cNvPr id="254" name="Freeform 383"/>
              <p:cNvSpPr>
                <a:spLocks/>
              </p:cNvSpPr>
              <p:nvPr/>
            </p:nvSpPr>
            <p:spPr bwMode="auto">
              <a:xfrm>
                <a:off x="5872759" y="4596127"/>
                <a:ext cx="895444" cy="446157"/>
              </a:xfrm>
              <a:custGeom>
                <a:avLst/>
                <a:gdLst/>
                <a:ahLst/>
                <a:cxnLst>
                  <a:cxn ang="0">
                    <a:pos x="780" y="350"/>
                  </a:cxn>
                  <a:cxn ang="0">
                    <a:pos x="808" y="10"/>
                  </a:cxn>
                  <a:cxn ang="0">
                    <a:pos x="644" y="12"/>
                  </a:cxn>
                  <a:cxn ang="0">
                    <a:pos x="644" y="140"/>
                  </a:cxn>
                  <a:cxn ang="0">
                    <a:pos x="520" y="130"/>
                  </a:cxn>
                  <a:cxn ang="0">
                    <a:pos x="510" y="8"/>
                  </a:cxn>
                  <a:cxn ang="0">
                    <a:pos x="330" y="0"/>
                  </a:cxn>
                  <a:cxn ang="0">
                    <a:pos x="336" y="132"/>
                  </a:cxn>
                  <a:cxn ang="0">
                    <a:pos x="206" y="134"/>
                  </a:cxn>
                  <a:cxn ang="0">
                    <a:pos x="202" y="4"/>
                  </a:cxn>
                  <a:cxn ang="0">
                    <a:pos x="0" y="18"/>
                  </a:cxn>
                  <a:cxn ang="0">
                    <a:pos x="24" y="342"/>
                  </a:cxn>
                  <a:cxn ang="0">
                    <a:pos x="130" y="400"/>
                  </a:cxn>
                  <a:cxn ang="0">
                    <a:pos x="688" y="400"/>
                  </a:cxn>
                  <a:cxn ang="0">
                    <a:pos x="780" y="350"/>
                  </a:cxn>
                </a:cxnLst>
                <a:rect l="0" t="0" r="r" b="b"/>
                <a:pathLst>
                  <a:path w="808" h="400">
                    <a:moveTo>
                      <a:pt x="780" y="350"/>
                    </a:moveTo>
                    <a:lnTo>
                      <a:pt x="808" y="10"/>
                    </a:lnTo>
                    <a:lnTo>
                      <a:pt x="644" y="12"/>
                    </a:lnTo>
                    <a:lnTo>
                      <a:pt x="644" y="140"/>
                    </a:lnTo>
                    <a:lnTo>
                      <a:pt x="520" y="130"/>
                    </a:lnTo>
                    <a:lnTo>
                      <a:pt x="510" y="8"/>
                    </a:lnTo>
                    <a:lnTo>
                      <a:pt x="330" y="0"/>
                    </a:lnTo>
                    <a:lnTo>
                      <a:pt x="336" y="132"/>
                    </a:lnTo>
                    <a:lnTo>
                      <a:pt x="206" y="134"/>
                    </a:lnTo>
                    <a:lnTo>
                      <a:pt x="202" y="4"/>
                    </a:lnTo>
                    <a:lnTo>
                      <a:pt x="0" y="18"/>
                    </a:lnTo>
                    <a:lnTo>
                      <a:pt x="24" y="342"/>
                    </a:lnTo>
                    <a:lnTo>
                      <a:pt x="130" y="400"/>
                    </a:lnTo>
                    <a:lnTo>
                      <a:pt x="688" y="400"/>
                    </a:lnTo>
                    <a:lnTo>
                      <a:pt x="780" y="350"/>
                    </a:lnTo>
                    <a:close/>
                  </a:path>
                </a:pathLst>
              </a:custGeom>
              <a:gradFill flip="none" rotWithShape="1">
                <a:gsLst>
                  <a:gs pos="100000">
                    <a:srgbClr val="E6E6E6"/>
                  </a:gs>
                  <a:gs pos="69000">
                    <a:srgbClr val="E6E6E6">
                      <a:lumMod val="90000"/>
                    </a:srgbClr>
                  </a:gs>
                  <a:gs pos="0">
                    <a:srgbClr val="E6E6E6">
                      <a:lumMod val="75000"/>
                    </a:srgbClr>
                  </a:gs>
                </a:gsLst>
                <a:lin ang="0" scaled="1"/>
                <a:tileRect/>
              </a:gradFill>
              <a:ln w="9525" cap="flat" cmpd="sng" algn="ctr">
                <a:noFill/>
                <a:prstDash val="solid"/>
              </a:ln>
              <a:effectLst/>
            </p:spPr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>
                  <a:solidFill>
                    <a:sysClr val="window" lastClr="FFFFFF"/>
                  </a:solidFill>
                  <a:latin typeface="Calibri"/>
                  <a:cs typeface="+mn-cs"/>
                </a:endParaRPr>
              </a:p>
            </p:txBody>
          </p:sp>
        </p:grpSp>
        <p:grpSp>
          <p:nvGrpSpPr>
            <p:cNvPr id="125" name="Gruppe 186"/>
            <p:cNvGrpSpPr>
              <a:grpSpLocks/>
            </p:cNvGrpSpPr>
            <p:nvPr/>
          </p:nvGrpSpPr>
          <p:grpSpPr bwMode="auto">
            <a:xfrm flipH="1">
              <a:off x="7551738" y="3313113"/>
              <a:ext cx="1041400" cy="869950"/>
              <a:chOff x="5171512" y="5285670"/>
              <a:chExt cx="1866901" cy="1559630"/>
            </a:xfrm>
          </p:grpSpPr>
          <p:grpSp>
            <p:nvGrpSpPr>
              <p:cNvPr id="234" name="Gruppe 893"/>
              <p:cNvGrpSpPr>
                <a:grpSpLocks/>
              </p:cNvGrpSpPr>
              <p:nvPr/>
            </p:nvGrpSpPr>
            <p:grpSpPr bwMode="auto">
              <a:xfrm>
                <a:off x="5171512" y="5460998"/>
                <a:ext cx="1866901" cy="1384302"/>
                <a:chOff x="2346131" y="4876798"/>
                <a:chExt cx="1096961" cy="1384302"/>
              </a:xfrm>
            </p:grpSpPr>
            <p:sp>
              <p:nvSpPr>
                <p:cNvPr id="236" name="Ellipse 509"/>
                <p:cNvSpPr/>
                <p:nvPr/>
              </p:nvSpPr>
              <p:spPr bwMode="auto">
                <a:xfrm>
                  <a:off x="2346131" y="5953229"/>
                  <a:ext cx="1096961" cy="307871"/>
                </a:xfrm>
                <a:prstGeom prst="ellipse">
                  <a:avLst/>
                </a:prstGeom>
                <a:gradFill flip="none" rotWithShape="1">
                  <a:gsLst>
                    <a:gs pos="24000">
                      <a:sysClr val="windowText" lastClr="000000">
                        <a:alpha val="42000"/>
                      </a:sysClr>
                    </a:gs>
                    <a:gs pos="100000">
                      <a:sysClr val="window" lastClr="FFFFFF">
                        <a:alpha val="0"/>
                      </a:sysClr>
                    </a:gs>
                  </a:gsLst>
                  <a:path path="shape">
                    <a:fillToRect l="50000" t="50000" r="50000" b="50000"/>
                  </a:path>
                  <a:tileRect/>
                </a:gradFill>
                <a:ln w="952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 dirty="0" err="1">
                    <a:solidFill>
                      <a:sysClr val="window" lastClr="FFFFFF"/>
                    </a:solidFill>
                    <a:latin typeface="Calibri"/>
                    <a:ea typeface="ＭＳ Ｐゴシック" pitchFamily="-97" charset="-128"/>
                    <a:cs typeface="+mn-cs"/>
                  </a:endParaRPr>
                </a:p>
              </p:txBody>
            </p:sp>
            <p:grpSp>
              <p:nvGrpSpPr>
                <p:cNvPr id="237" name="Gruppe 823"/>
                <p:cNvGrpSpPr>
                  <a:grpSpLocks/>
                </p:cNvGrpSpPr>
                <p:nvPr/>
              </p:nvGrpSpPr>
              <p:grpSpPr bwMode="auto">
                <a:xfrm>
                  <a:off x="2506660" y="4876798"/>
                  <a:ext cx="617041" cy="1301766"/>
                  <a:chOff x="1020751" y="3975112"/>
                  <a:chExt cx="731259" cy="1898989"/>
                </a:xfrm>
              </p:grpSpPr>
              <p:grpSp>
                <p:nvGrpSpPr>
                  <p:cNvPr id="238" name="Gruppe 605"/>
                  <p:cNvGrpSpPr>
                    <a:grpSpLocks/>
                  </p:cNvGrpSpPr>
                  <p:nvPr/>
                </p:nvGrpSpPr>
                <p:grpSpPr bwMode="auto">
                  <a:xfrm>
                    <a:off x="1020751" y="4093003"/>
                    <a:ext cx="731259" cy="1781098"/>
                    <a:chOff x="-7969" y="3500826"/>
                    <a:chExt cx="969317" cy="2360922"/>
                  </a:xfrm>
                </p:grpSpPr>
                <p:sp>
                  <p:nvSpPr>
                    <p:cNvPr id="245" name="Freeform 130"/>
                    <p:cNvSpPr>
                      <a:spLocks/>
                    </p:cNvSpPr>
                    <p:nvPr/>
                  </p:nvSpPr>
                  <p:spPr bwMode="auto">
                    <a:xfrm>
                      <a:off x="-11570" y="3492728"/>
                      <a:ext cx="973545" cy="2410416"/>
                    </a:xfrm>
                    <a:custGeom>
                      <a:avLst/>
                      <a:gdLst/>
                      <a:ahLst/>
                      <a:cxnLst>
                        <a:cxn ang="0">
                          <a:pos x="145" y="87"/>
                        </a:cxn>
                        <a:cxn ang="0">
                          <a:pos x="99" y="110"/>
                        </a:cxn>
                        <a:cxn ang="0">
                          <a:pos x="93" y="162"/>
                        </a:cxn>
                        <a:cxn ang="0">
                          <a:pos x="158" y="272"/>
                        </a:cxn>
                        <a:cxn ang="0">
                          <a:pos x="138" y="326"/>
                        </a:cxn>
                        <a:cxn ang="0">
                          <a:pos x="89" y="375"/>
                        </a:cxn>
                        <a:cxn ang="0">
                          <a:pos x="70" y="414"/>
                        </a:cxn>
                        <a:cxn ang="0">
                          <a:pos x="94" y="449"/>
                        </a:cxn>
                        <a:cxn ang="0">
                          <a:pos x="168" y="522"/>
                        </a:cxn>
                        <a:cxn ang="0">
                          <a:pos x="150" y="638"/>
                        </a:cxn>
                        <a:cxn ang="0">
                          <a:pos x="115" y="750"/>
                        </a:cxn>
                        <a:cxn ang="0">
                          <a:pos x="70" y="804"/>
                        </a:cxn>
                        <a:cxn ang="0">
                          <a:pos x="53" y="835"/>
                        </a:cxn>
                        <a:cxn ang="0">
                          <a:pos x="75" y="868"/>
                        </a:cxn>
                        <a:cxn ang="0">
                          <a:pos x="34" y="905"/>
                        </a:cxn>
                        <a:cxn ang="0">
                          <a:pos x="8" y="942"/>
                        </a:cxn>
                        <a:cxn ang="0">
                          <a:pos x="15" y="999"/>
                        </a:cxn>
                        <a:cxn ang="0">
                          <a:pos x="0" y="1121"/>
                        </a:cxn>
                        <a:cxn ang="0">
                          <a:pos x="69" y="1163"/>
                        </a:cxn>
                        <a:cxn ang="0">
                          <a:pos x="171" y="1189"/>
                        </a:cxn>
                        <a:cxn ang="0">
                          <a:pos x="285" y="1193"/>
                        </a:cxn>
                        <a:cxn ang="0">
                          <a:pos x="393" y="1175"/>
                        </a:cxn>
                        <a:cxn ang="0">
                          <a:pos x="474" y="1129"/>
                        </a:cxn>
                        <a:cxn ang="0">
                          <a:pos x="484" y="1032"/>
                        </a:cxn>
                        <a:cxn ang="0">
                          <a:pos x="489" y="965"/>
                        </a:cxn>
                        <a:cxn ang="0">
                          <a:pos x="470" y="921"/>
                        </a:cxn>
                        <a:cxn ang="0">
                          <a:pos x="441" y="870"/>
                        </a:cxn>
                        <a:cxn ang="0">
                          <a:pos x="449" y="832"/>
                        </a:cxn>
                        <a:cxn ang="0">
                          <a:pos x="425" y="805"/>
                        </a:cxn>
                        <a:cxn ang="0">
                          <a:pos x="373" y="713"/>
                        </a:cxn>
                        <a:cxn ang="0">
                          <a:pos x="349" y="609"/>
                        </a:cxn>
                        <a:cxn ang="0">
                          <a:pos x="344" y="485"/>
                        </a:cxn>
                        <a:cxn ang="0">
                          <a:pos x="417" y="446"/>
                        </a:cxn>
                        <a:cxn ang="0">
                          <a:pos x="436" y="411"/>
                        </a:cxn>
                        <a:cxn ang="0">
                          <a:pos x="414" y="374"/>
                        </a:cxn>
                        <a:cxn ang="0">
                          <a:pos x="379" y="343"/>
                        </a:cxn>
                        <a:cxn ang="0">
                          <a:pos x="393" y="306"/>
                        </a:cxn>
                        <a:cxn ang="0">
                          <a:pos x="376" y="273"/>
                        </a:cxn>
                        <a:cxn ang="0">
                          <a:pos x="409" y="192"/>
                        </a:cxn>
                        <a:cxn ang="0">
                          <a:pos x="432" y="139"/>
                        </a:cxn>
                        <a:cxn ang="0">
                          <a:pos x="416" y="110"/>
                        </a:cxn>
                        <a:cxn ang="0">
                          <a:pos x="349" y="77"/>
                        </a:cxn>
                        <a:cxn ang="0">
                          <a:pos x="322" y="42"/>
                        </a:cxn>
                        <a:cxn ang="0">
                          <a:pos x="309" y="16"/>
                        </a:cxn>
                        <a:cxn ang="0">
                          <a:pos x="281" y="2"/>
                        </a:cxn>
                        <a:cxn ang="0">
                          <a:pos x="243" y="3"/>
                        </a:cxn>
                        <a:cxn ang="0">
                          <a:pos x="215" y="27"/>
                        </a:cxn>
                      </a:cxnLst>
                      <a:rect l="0" t="0" r="r" b="b"/>
                      <a:pathLst>
                        <a:path w="493" h="1194">
                          <a:moveTo>
                            <a:pt x="208" y="62"/>
                          </a:moveTo>
                          <a:lnTo>
                            <a:pt x="167" y="83"/>
                          </a:lnTo>
                          <a:lnTo>
                            <a:pt x="145" y="87"/>
                          </a:lnTo>
                          <a:lnTo>
                            <a:pt x="125" y="93"/>
                          </a:lnTo>
                          <a:lnTo>
                            <a:pt x="110" y="100"/>
                          </a:lnTo>
                          <a:lnTo>
                            <a:pt x="99" y="110"/>
                          </a:lnTo>
                          <a:lnTo>
                            <a:pt x="92" y="124"/>
                          </a:lnTo>
                          <a:lnTo>
                            <a:pt x="90" y="141"/>
                          </a:lnTo>
                          <a:lnTo>
                            <a:pt x="93" y="162"/>
                          </a:lnTo>
                          <a:lnTo>
                            <a:pt x="104" y="187"/>
                          </a:lnTo>
                          <a:lnTo>
                            <a:pt x="158" y="242"/>
                          </a:lnTo>
                          <a:lnTo>
                            <a:pt x="158" y="272"/>
                          </a:lnTo>
                          <a:lnTo>
                            <a:pt x="140" y="282"/>
                          </a:lnTo>
                          <a:lnTo>
                            <a:pt x="135" y="302"/>
                          </a:lnTo>
                          <a:lnTo>
                            <a:pt x="138" y="326"/>
                          </a:lnTo>
                          <a:lnTo>
                            <a:pt x="147" y="346"/>
                          </a:lnTo>
                          <a:lnTo>
                            <a:pt x="104" y="360"/>
                          </a:lnTo>
                          <a:lnTo>
                            <a:pt x="89" y="375"/>
                          </a:lnTo>
                          <a:lnTo>
                            <a:pt x="77" y="389"/>
                          </a:lnTo>
                          <a:lnTo>
                            <a:pt x="71" y="402"/>
                          </a:lnTo>
                          <a:lnTo>
                            <a:pt x="70" y="414"/>
                          </a:lnTo>
                          <a:lnTo>
                            <a:pt x="74" y="426"/>
                          </a:lnTo>
                          <a:lnTo>
                            <a:pt x="82" y="437"/>
                          </a:lnTo>
                          <a:lnTo>
                            <a:pt x="94" y="449"/>
                          </a:lnTo>
                          <a:lnTo>
                            <a:pt x="113" y="459"/>
                          </a:lnTo>
                          <a:lnTo>
                            <a:pt x="173" y="480"/>
                          </a:lnTo>
                          <a:lnTo>
                            <a:pt x="168" y="522"/>
                          </a:lnTo>
                          <a:lnTo>
                            <a:pt x="162" y="562"/>
                          </a:lnTo>
                          <a:lnTo>
                            <a:pt x="156" y="601"/>
                          </a:lnTo>
                          <a:lnTo>
                            <a:pt x="150" y="638"/>
                          </a:lnTo>
                          <a:lnTo>
                            <a:pt x="140" y="676"/>
                          </a:lnTo>
                          <a:lnTo>
                            <a:pt x="129" y="713"/>
                          </a:lnTo>
                          <a:lnTo>
                            <a:pt x="115" y="750"/>
                          </a:lnTo>
                          <a:lnTo>
                            <a:pt x="98" y="789"/>
                          </a:lnTo>
                          <a:lnTo>
                            <a:pt x="83" y="796"/>
                          </a:lnTo>
                          <a:lnTo>
                            <a:pt x="70" y="804"/>
                          </a:lnTo>
                          <a:lnTo>
                            <a:pt x="61" y="814"/>
                          </a:lnTo>
                          <a:lnTo>
                            <a:pt x="55" y="823"/>
                          </a:lnTo>
                          <a:lnTo>
                            <a:pt x="53" y="835"/>
                          </a:lnTo>
                          <a:lnTo>
                            <a:pt x="55" y="845"/>
                          </a:lnTo>
                          <a:lnTo>
                            <a:pt x="62" y="857"/>
                          </a:lnTo>
                          <a:lnTo>
                            <a:pt x="75" y="868"/>
                          </a:lnTo>
                          <a:lnTo>
                            <a:pt x="78" y="889"/>
                          </a:lnTo>
                          <a:lnTo>
                            <a:pt x="53" y="896"/>
                          </a:lnTo>
                          <a:lnTo>
                            <a:pt x="34" y="905"/>
                          </a:lnTo>
                          <a:lnTo>
                            <a:pt x="21" y="916"/>
                          </a:lnTo>
                          <a:lnTo>
                            <a:pt x="13" y="928"/>
                          </a:lnTo>
                          <a:lnTo>
                            <a:pt x="8" y="942"/>
                          </a:lnTo>
                          <a:lnTo>
                            <a:pt x="8" y="959"/>
                          </a:lnTo>
                          <a:lnTo>
                            <a:pt x="10" y="978"/>
                          </a:lnTo>
                          <a:lnTo>
                            <a:pt x="15" y="999"/>
                          </a:lnTo>
                          <a:lnTo>
                            <a:pt x="19" y="1032"/>
                          </a:lnTo>
                          <a:lnTo>
                            <a:pt x="0" y="1057"/>
                          </a:lnTo>
                          <a:lnTo>
                            <a:pt x="0" y="1121"/>
                          </a:lnTo>
                          <a:lnTo>
                            <a:pt x="18" y="1137"/>
                          </a:lnTo>
                          <a:lnTo>
                            <a:pt x="41" y="1151"/>
                          </a:lnTo>
                          <a:lnTo>
                            <a:pt x="69" y="1163"/>
                          </a:lnTo>
                          <a:lnTo>
                            <a:pt x="101" y="1174"/>
                          </a:lnTo>
                          <a:lnTo>
                            <a:pt x="135" y="1182"/>
                          </a:lnTo>
                          <a:lnTo>
                            <a:pt x="171" y="1189"/>
                          </a:lnTo>
                          <a:lnTo>
                            <a:pt x="208" y="1192"/>
                          </a:lnTo>
                          <a:lnTo>
                            <a:pt x="246" y="1194"/>
                          </a:lnTo>
                          <a:lnTo>
                            <a:pt x="285" y="1193"/>
                          </a:lnTo>
                          <a:lnTo>
                            <a:pt x="322" y="1190"/>
                          </a:lnTo>
                          <a:lnTo>
                            <a:pt x="359" y="1184"/>
                          </a:lnTo>
                          <a:lnTo>
                            <a:pt x="393" y="1175"/>
                          </a:lnTo>
                          <a:lnTo>
                            <a:pt x="424" y="1162"/>
                          </a:lnTo>
                          <a:lnTo>
                            <a:pt x="451" y="1147"/>
                          </a:lnTo>
                          <a:lnTo>
                            <a:pt x="474" y="1129"/>
                          </a:lnTo>
                          <a:lnTo>
                            <a:pt x="493" y="1107"/>
                          </a:lnTo>
                          <a:lnTo>
                            <a:pt x="493" y="1069"/>
                          </a:lnTo>
                          <a:lnTo>
                            <a:pt x="484" y="1032"/>
                          </a:lnTo>
                          <a:lnTo>
                            <a:pt x="487" y="1005"/>
                          </a:lnTo>
                          <a:lnTo>
                            <a:pt x="489" y="984"/>
                          </a:lnTo>
                          <a:lnTo>
                            <a:pt x="489" y="965"/>
                          </a:lnTo>
                          <a:lnTo>
                            <a:pt x="486" y="950"/>
                          </a:lnTo>
                          <a:lnTo>
                            <a:pt x="480" y="936"/>
                          </a:lnTo>
                          <a:lnTo>
                            <a:pt x="470" y="921"/>
                          </a:lnTo>
                          <a:lnTo>
                            <a:pt x="454" y="906"/>
                          </a:lnTo>
                          <a:lnTo>
                            <a:pt x="433" y="888"/>
                          </a:lnTo>
                          <a:lnTo>
                            <a:pt x="441" y="870"/>
                          </a:lnTo>
                          <a:lnTo>
                            <a:pt x="446" y="855"/>
                          </a:lnTo>
                          <a:lnTo>
                            <a:pt x="449" y="842"/>
                          </a:lnTo>
                          <a:lnTo>
                            <a:pt x="449" y="832"/>
                          </a:lnTo>
                          <a:lnTo>
                            <a:pt x="444" y="823"/>
                          </a:lnTo>
                          <a:lnTo>
                            <a:pt x="438" y="814"/>
                          </a:lnTo>
                          <a:lnTo>
                            <a:pt x="425" y="805"/>
                          </a:lnTo>
                          <a:lnTo>
                            <a:pt x="409" y="793"/>
                          </a:lnTo>
                          <a:lnTo>
                            <a:pt x="389" y="751"/>
                          </a:lnTo>
                          <a:lnTo>
                            <a:pt x="373" y="713"/>
                          </a:lnTo>
                          <a:lnTo>
                            <a:pt x="362" y="677"/>
                          </a:lnTo>
                          <a:lnTo>
                            <a:pt x="355" y="644"/>
                          </a:lnTo>
                          <a:lnTo>
                            <a:pt x="349" y="609"/>
                          </a:lnTo>
                          <a:lnTo>
                            <a:pt x="345" y="572"/>
                          </a:lnTo>
                          <a:lnTo>
                            <a:pt x="344" y="531"/>
                          </a:lnTo>
                          <a:lnTo>
                            <a:pt x="344" y="485"/>
                          </a:lnTo>
                          <a:lnTo>
                            <a:pt x="379" y="471"/>
                          </a:lnTo>
                          <a:lnTo>
                            <a:pt x="404" y="455"/>
                          </a:lnTo>
                          <a:lnTo>
                            <a:pt x="417" y="446"/>
                          </a:lnTo>
                          <a:lnTo>
                            <a:pt x="426" y="435"/>
                          </a:lnTo>
                          <a:lnTo>
                            <a:pt x="433" y="423"/>
                          </a:lnTo>
                          <a:lnTo>
                            <a:pt x="436" y="411"/>
                          </a:lnTo>
                          <a:lnTo>
                            <a:pt x="434" y="398"/>
                          </a:lnTo>
                          <a:lnTo>
                            <a:pt x="427" y="386"/>
                          </a:lnTo>
                          <a:lnTo>
                            <a:pt x="414" y="374"/>
                          </a:lnTo>
                          <a:lnTo>
                            <a:pt x="394" y="364"/>
                          </a:lnTo>
                          <a:lnTo>
                            <a:pt x="368" y="356"/>
                          </a:lnTo>
                          <a:lnTo>
                            <a:pt x="379" y="343"/>
                          </a:lnTo>
                          <a:lnTo>
                            <a:pt x="386" y="330"/>
                          </a:lnTo>
                          <a:lnTo>
                            <a:pt x="390" y="318"/>
                          </a:lnTo>
                          <a:lnTo>
                            <a:pt x="393" y="306"/>
                          </a:lnTo>
                          <a:lnTo>
                            <a:pt x="390" y="295"/>
                          </a:lnTo>
                          <a:lnTo>
                            <a:pt x="386" y="283"/>
                          </a:lnTo>
                          <a:lnTo>
                            <a:pt x="376" y="273"/>
                          </a:lnTo>
                          <a:lnTo>
                            <a:pt x="364" y="261"/>
                          </a:lnTo>
                          <a:lnTo>
                            <a:pt x="389" y="227"/>
                          </a:lnTo>
                          <a:lnTo>
                            <a:pt x="409" y="192"/>
                          </a:lnTo>
                          <a:lnTo>
                            <a:pt x="420" y="170"/>
                          </a:lnTo>
                          <a:lnTo>
                            <a:pt x="428" y="153"/>
                          </a:lnTo>
                          <a:lnTo>
                            <a:pt x="432" y="139"/>
                          </a:lnTo>
                          <a:lnTo>
                            <a:pt x="432" y="128"/>
                          </a:lnTo>
                          <a:lnTo>
                            <a:pt x="426" y="118"/>
                          </a:lnTo>
                          <a:lnTo>
                            <a:pt x="416" y="110"/>
                          </a:lnTo>
                          <a:lnTo>
                            <a:pt x="400" y="102"/>
                          </a:lnTo>
                          <a:lnTo>
                            <a:pt x="378" y="92"/>
                          </a:lnTo>
                          <a:lnTo>
                            <a:pt x="349" y="77"/>
                          </a:lnTo>
                          <a:lnTo>
                            <a:pt x="320" y="68"/>
                          </a:lnTo>
                          <a:lnTo>
                            <a:pt x="322" y="54"/>
                          </a:lnTo>
                          <a:lnTo>
                            <a:pt x="322" y="42"/>
                          </a:lnTo>
                          <a:lnTo>
                            <a:pt x="320" y="32"/>
                          </a:lnTo>
                          <a:lnTo>
                            <a:pt x="315" y="23"/>
                          </a:lnTo>
                          <a:lnTo>
                            <a:pt x="309" y="16"/>
                          </a:lnTo>
                          <a:lnTo>
                            <a:pt x="300" y="10"/>
                          </a:lnTo>
                          <a:lnTo>
                            <a:pt x="291" y="5"/>
                          </a:lnTo>
                          <a:lnTo>
                            <a:pt x="281" y="2"/>
                          </a:lnTo>
                          <a:lnTo>
                            <a:pt x="268" y="0"/>
                          </a:lnTo>
                          <a:lnTo>
                            <a:pt x="256" y="1"/>
                          </a:lnTo>
                          <a:lnTo>
                            <a:pt x="243" y="3"/>
                          </a:lnTo>
                          <a:lnTo>
                            <a:pt x="233" y="8"/>
                          </a:lnTo>
                          <a:lnTo>
                            <a:pt x="222" y="16"/>
                          </a:lnTo>
                          <a:lnTo>
                            <a:pt x="215" y="27"/>
                          </a:lnTo>
                          <a:lnTo>
                            <a:pt x="211" y="42"/>
                          </a:lnTo>
                          <a:lnTo>
                            <a:pt x="208" y="62"/>
                          </a:lnTo>
                          <a:close/>
                        </a:path>
                      </a:pathLst>
                    </a:custGeom>
                    <a:gradFill flip="none" rotWithShape="1">
                      <a:gsLst>
                        <a:gs pos="100000">
                          <a:srgbClr val="E6E6E6"/>
                        </a:gs>
                        <a:gs pos="44000">
                          <a:srgbClr val="080808"/>
                        </a:gs>
                        <a:gs pos="48000">
                          <a:srgbClr val="080808"/>
                        </a:gs>
                      </a:gsLst>
                      <a:lin ang="0" scaled="1"/>
                      <a:tileRect/>
                    </a:gradFill>
                    <a:ln w="9525" cap="flat" cmpd="sng" algn="ctr">
                      <a:noFill/>
                      <a:prstDash val="solid"/>
                    </a:ln>
                    <a:effectLst>
                      <a:outerShdw blurRad="40000" dist="23000" dir="5400000" rotWithShape="0">
                        <a:srgbClr val="000000">
                          <a:alpha val="35000"/>
                        </a:srgbClr>
                      </a:outerShdw>
                    </a:effectLst>
                  </p:spPr>
                  <p:txBody>
                    <a:bodyPr anchor="ctr"/>
                    <a:lstStyle/>
                    <a:p>
                      <a:pPr algn="ctr" fontAlgn="auto">
                        <a:spcBef>
                          <a:spcPts val="0"/>
                        </a:spcBef>
                        <a:spcAft>
                          <a:spcPts val="0"/>
                        </a:spcAft>
                        <a:defRPr/>
                      </a:pPr>
                      <a:endParaRPr lang="da-DK" kern="0">
                        <a:solidFill>
                          <a:sysClr val="window" lastClr="FFFFFF"/>
                        </a:solidFill>
                        <a:latin typeface="Calibri"/>
                        <a:cs typeface="+mn-cs"/>
                      </a:endParaRPr>
                    </a:p>
                  </p:txBody>
                </p:sp>
                <p:sp>
                  <p:nvSpPr>
                    <p:cNvPr id="246" name="Freeform 131"/>
                    <p:cNvSpPr>
                      <a:spLocks/>
                    </p:cNvSpPr>
                    <p:nvPr/>
                  </p:nvSpPr>
                  <p:spPr bwMode="auto">
                    <a:xfrm>
                      <a:off x="340559" y="3661881"/>
                      <a:ext cx="372849" cy="84576"/>
                    </a:xfrm>
                    <a:custGeom>
                      <a:avLst/>
                      <a:gdLst/>
                      <a:ahLst/>
                      <a:cxnLst>
                        <a:cxn ang="0">
                          <a:pos x="13" y="8"/>
                        </a:cxn>
                        <a:cxn ang="0">
                          <a:pos x="0" y="22"/>
                        </a:cxn>
                        <a:cxn ang="0">
                          <a:pos x="8" y="43"/>
                        </a:cxn>
                        <a:cxn ang="0">
                          <a:pos x="28" y="49"/>
                        </a:cxn>
                        <a:cxn ang="0">
                          <a:pos x="53" y="54"/>
                        </a:cxn>
                        <a:cxn ang="0">
                          <a:pos x="81" y="58"/>
                        </a:cxn>
                        <a:cxn ang="0">
                          <a:pos x="108" y="56"/>
                        </a:cxn>
                        <a:cxn ang="0">
                          <a:pos x="135" y="53"/>
                        </a:cxn>
                        <a:cxn ang="0">
                          <a:pos x="159" y="46"/>
                        </a:cxn>
                        <a:cxn ang="0">
                          <a:pos x="176" y="33"/>
                        </a:cxn>
                        <a:cxn ang="0">
                          <a:pos x="185" y="16"/>
                        </a:cxn>
                        <a:cxn ang="0">
                          <a:pos x="160" y="6"/>
                        </a:cxn>
                        <a:cxn ang="0">
                          <a:pos x="144" y="0"/>
                        </a:cxn>
                        <a:cxn ang="0">
                          <a:pos x="139" y="15"/>
                        </a:cxn>
                        <a:cxn ang="0">
                          <a:pos x="127" y="24"/>
                        </a:cxn>
                        <a:cxn ang="0">
                          <a:pos x="109" y="29"/>
                        </a:cxn>
                        <a:cxn ang="0">
                          <a:pos x="89" y="29"/>
                        </a:cxn>
                        <a:cxn ang="0">
                          <a:pos x="68" y="25"/>
                        </a:cxn>
                        <a:cxn ang="0">
                          <a:pos x="51" y="20"/>
                        </a:cxn>
                        <a:cxn ang="0">
                          <a:pos x="38" y="11"/>
                        </a:cxn>
                        <a:cxn ang="0">
                          <a:pos x="33" y="1"/>
                        </a:cxn>
                        <a:cxn ang="0">
                          <a:pos x="13" y="8"/>
                        </a:cxn>
                      </a:cxnLst>
                      <a:rect l="0" t="0" r="r" b="b"/>
                      <a:pathLst>
                        <a:path w="185" h="58">
                          <a:moveTo>
                            <a:pt x="13" y="8"/>
                          </a:moveTo>
                          <a:lnTo>
                            <a:pt x="0" y="22"/>
                          </a:lnTo>
                          <a:lnTo>
                            <a:pt x="8" y="43"/>
                          </a:lnTo>
                          <a:lnTo>
                            <a:pt x="28" y="49"/>
                          </a:lnTo>
                          <a:lnTo>
                            <a:pt x="53" y="54"/>
                          </a:lnTo>
                          <a:lnTo>
                            <a:pt x="81" y="58"/>
                          </a:lnTo>
                          <a:lnTo>
                            <a:pt x="108" y="56"/>
                          </a:lnTo>
                          <a:lnTo>
                            <a:pt x="135" y="53"/>
                          </a:lnTo>
                          <a:lnTo>
                            <a:pt x="159" y="46"/>
                          </a:lnTo>
                          <a:lnTo>
                            <a:pt x="176" y="33"/>
                          </a:lnTo>
                          <a:lnTo>
                            <a:pt x="185" y="16"/>
                          </a:lnTo>
                          <a:lnTo>
                            <a:pt x="160" y="6"/>
                          </a:lnTo>
                          <a:lnTo>
                            <a:pt x="144" y="0"/>
                          </a:lnTo>
                          <a:lnTo>
                            <a:pt x="139" y="15"/>
                          </a:lnTo>
                          <a:lnTo>
                            <a:pt x="127" y="24"/>
                          </a:lnTo>
                          <a:lnTo>
                            <a:pt x="109" y="29"/>
                          </a:lnTo>
                          <a:lnTo>
                            <a:pt x="89" y="29"/>
                          </a:lnTo>
                          <a:lnTo>
                            <a:pt x="68" y="25"/>
                          </a:lnTo>
                          <a:lnTo>
                            <a:pt x="51" y="20"/>
                          </a:lnTo>
                          <a:lnTo>
                            <a:pt x="38" y="11"/>
                          </a:lnTo>
                          <a:lnTo>
                            <a:pt x="33" y="1"/>
                          </a:lnTo>
                          <a:lnTo>
                            <a:pt x="13" y="8"/>
                          </a:lnTo>
                          <a:close/>
                        </a:path>
                      </a:pathLst>
                    </a:custGeom>
                    <a:solidFill>
                      <a:srgbClr val="E6E6E6">
                        <a:lumMod val="10000"/>
                      </a:srgbClr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pPr fontAlgn="auto">
                        <a:spcBef>
                          <a:spcPts val="0"/>
                        </a:spcBef>
                        <a:spcAft>
                          <a:spcPts val="0"/>
                        </a:spcAft>
                        <a:defRPr/>
                      </a:pPr>
                      <a:endParaRPr lang="da-DK" kern="0">
                        <a:solidFill>
                          <a:sysClr val="windowText" lastClr="000000"/>
                        </a:solidFill>
                        <a:latin typeface="+mn-lt"/>
                        <a:ea typeface="ＭＳ Ｐゴシック" pitchFamily="-97" charset="-128"/>
                        <a:cs typeface="+mn-cs"/>
                      </a:endParaRPr>
                    </a:p>
                  </p:txBody>
                </p:sp>
                <p:sp>
                  <p:nvSpPr>
                    <p:cNvPr id="247" name="Freeform 132"/>
                    <p:cNvSpPr>
                      <a:spLocks/>
                    </p:cNvSpPr>
                    <p:nvPr/>
                  </p:nvSpPr>
                  <p:spPr bwMode="auto">
                    <a:xfrm>
                      <a:off x="174848" y="3661881"/>
                      <a:ext cx="662843" cy="211428"/>
                    </a:xfrm>
                    <a:custGeom>
                      <a:avLst/>
                      <a:gdLst/>
                      <a:ahLst/>
                      <a:cxnLst>
                        <a:cxn ang="0">
                          <a:pos x="32" y="10"/>
                        </a:cxn>
                        <a:cxn ang="0">
                          <a:pos x="1" y="26"/>
                        </a:cxn>
                        <a:cxn ang="0">
                          <a:pos x="0" y="43"/>
                        </a:cxn>
                        <a:cxn ang="0">
                          <a:pos x="3" y="60"/>
                        </a:cxn>
                        <a:cxn ang="0">
                          <a:pos x="14" y="71"/>
                        </a:cxn>
                        <a:cxn ang="0">
                          <a:pos x="27" y="81"/>
                        </a:cxn>
                        <a:cxn ang="0">
                          <a:pos x="46" y="90"/>
                        </a:cxn>
                        <a:cxn ang="0">
                          <a:pos x="67" y="95"/>
                        </a:cxn>
                        <a:cxn ang="0">
                          <a:pos x="91" y="100"/>
                        </a:cxn>
                        <a:cxn ang="0">
                          <a:pos x="117" y="102"/>
                        </a:cxn>
                        <a:cxn ang="0">
                          <a:pos x="144" y="102"/>
                        </a:cxn>
                        <a:cxn ang="0">
                          <a:pos x="171" y="102"/>
                        </a:cxn>
                        <a:cxn ang="0">
                          <a:pos x="199" y="100"/>
                        </a:cxn>
                        <a:cxn ang="0">
                          <a:pos x="225" y="98"/>
                        </a:cxn>
                        <a:cxn ang="0">
                          <a:pos x="251" y="94"/>
                        </a:cxn>
                        <a:cxn ang="0">
                          <a:pos x="273" y="90"/>
                        </a:cxn>
                        <a:cxn ang="0">
                          <a:pos x="292" y="85"/>
                        </a:cxn>
                        <a:cxn ang="0">
                          <a:pos x="308" y="79"/>
                        </a:cxn>
                        <a:cxn ang="0">
                          <a:pos x="319" y="71"/>
                        </a:cxn>
                        <a:cxn ang="0">
                          <a:pos x="326" y="61"/>
                        </a:cxn>
                        <a:cxn ang="0">
                          <a:pos x="329" y="50"/>
                        </a:cxn>
                        <a:cxn ang="0">
                          <a:pos x="329" y="39"/>
                        </a:cxn>
                        <a:cxn ang="0">
                          <a:pos x="325" y="28"/>
                        </a:cxn>
                        <a:cxn ang="0">
                          <a:pos x="316" y="18"/>
                        </a:cxn>
                        <a:cxn ang="0">
                          <a:pos x="303" y="8"/>
                        </a:cxn>
                        <a:cxn ang="0">
                          <a:pos x="285" y="0"/>
                        </a:cxn>
                        <a:cxn ang="0">
                          <a:pos x="269" y="18"/>
                        </a:cxn>
                        <a:cxn ang="0">
                          <a:pos x="252" y="31"/>
                        </a:cxn>
                        <a:cxn ang="0">
                          <a:pos x="234" y="39"/>
                        </a:cxn>
                        <a:cxn ang="0">
                          <a:pos x="215" y="43"/>
                        </a:cxn>
                        <a:cxn ang="0">
                          <a:pos x="194" y="45"/>
                        </a:cxn>
                        <a:cxn ang="0">
                          <a:pos x="173" y="43"/>
                        </a:cxn>
                        <a:cxn ang="0">
                          <a:pos x="148" y="41"/>
                        </a:cxn>
                        <a:cxn ang="0">
                          <a:pos x="122" y="40"/>
                        </a:cxn>
                        <a:cxn ang="0">
                          <a:pos x="67" y="30"/>
                        </a:cxn>
                        <a:cxn ang="0">
                          <a:pos x="49" y="3"/>
                        </a:cxn>
                        <a:cxn ang="0">
                          <a:pos x="32" y="10"/>
                        </a:cxn>
                      </a:cxnLst>
                      <a:rect l="0" t="0" r="r" b="b"/>
                      <a:pathLst>
                        <a:path w="329" h="102">
                          <a:moveTo>
                            <a:pt x="32" y="10"/>
                          </a:moveTo>
                          <a:lnTo>
                            <a:pt x="1" y="26"/>
                          </a:lnTo>
                          <a:lnTo>
                            <a:pt x="0" y="43"/>
                          </a:lnTo>
                          <a:lnTo>
                            <a:pt x="3" y="60"/>
                          </a:lnTo>
                          <a:lnTo>
                            <a:pt x="14" y="71"/>
                          </a:lnTo>
                          <a:lnTo>
                            <a:pt x="27" y="81"/>
                          </a:lnTo>
                          <a:lnTo>
                            <a:pt x="46" y="90"/>
                          </a:lnTo>
                          <a:lnTo>
                            <a:pt x="67" y="95"/>
                          </a:lnTo>
                          <a:lnTo>
                            <a:pt x="91" y="100"/>
                          </a:lnTo>
                          <a:lnTo>
                            <a:pt x="117" y="102"/>
                          </a:lnTo>
                          <a:lnTo>
                            <a:pt x="144" y="102"/>
                          </a:lnTo>
                          <a:lnTo>
                            <a:pt x="171" y="102"/>
                          </a:lnTo>
                          <a:lnTo>
                            <a:pt x="199" y="100"/>
                          </a:lnTo>
                          <a:lnTo>
                            <a:pt x="225" y="98"/>
                          </a:lnTo>
                          <a:lnTo>
                            <a:pt x="251" y="94"/>
                          </a:lnTo>
                          <a:lnTo>
                            <a:pt x="273" y="90"/>
                          </a:lnTo>
                          <a:lnTo>
                            <a:pt x="292" y="85"/>
                          </a:lnTo>
                          <a:lnTo>
                            <a:pt x="308" y="79"/>
                          </a:lnTo>
                          <a:lnTo>
                            <a:pt x="319" y="71"/>
                          </a:lnTo>
                          <a:lnTo>
                            <a:pt x="326" y="61"/>
                          </a:lnTo>
                          <a:lnTo>
                            <a:pt x="329" y="50"/>
                          </a:lnTo>
                          <a:lnTo>
                            <a:pt x="329" y="39"/>
                          </a:lnTo>
                          <a:lnTo>
                            <a:pt x="325" y="28"/>
                          </a:lnTo>
                          <a:lnTo>
                            <a:pt x="316" y="18"/>
                          </a:lnTo>
                          <a:lnTo>
                            <a:pt x="303" y="8"/>
                          </a:lnTo>
                          <a:lnTo>
                            <a:pt x="285" y="0"/>
                          </a:lnTo>
                          <a:lnTo>
                            <a:pt x="269" y="18"/>
                          </a:lnTo>
                          <a:lnTo>
                            <a:pt x="252" y="31"/>
                          </a:lnTo>
                          <a:lnTo>
                            <a:pt x="234" y="39"/>
                          </a:lnTo>
                          <a:lnTo>
                            <a:pt x="215" y="43"/>
                          </a:lnTo>
                          <a:lnTo>
                            <a:pt x="194" y="45"/>
                          </a:lnTo>
                          <a:lnTo>
                            <a:pt x="173" y="43"/>
                          </a:lnTo>
                          <a:lnTo>
                            <a:pt x="148" y="41"/>
                          </a:lnTo>
                          <a:lnTo>
                            <a:pt x="122" y="40"/>
                          </a:lnTo>
                          <a:lnTo>
                            <a:pt x="67" y="30"/>
                          </a:lnTo>
                          <a:lnTo>
                            <a:pt x="49" y="3"/>
                          </a:lnTo>
                          <a:lnTo>
                            <a:pt x="32" y="10"/>
                          </a:lnTo>
                          <a:close/>
                        </a:path>
                      </a:pathLst>
                    </a:custGeom>
                    <a:solidFill>
                      <a:srgbClr val="E6E6E6">
                        <a:lumMod val="10000"/>
                      </a:srgbClr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pPr fontAlgn="auto">
                        <a:spcBef>
                          <a:spcPts val="0"/>
                        </a:spcBef>
                        <a:spcAft>
                          <a:spcPts val="0"/>
                        </a:spcAft>
                        <a:defRPr/>
                      </a:pPr>
                      <a:endParaRPr lang="da-DK" kern="0">
                        <a:solidFill>
                          <a:sysClr val="windowText" lastClr="000000"/>
                        </a:solidFill>
                        <a:latin typeface="+mn-lt"/>
                        <a:ea typeface="ＭＳ Ｐゴシック" pitchFamily="-97" charset="-128"/>
                        <a:cs typeface="+mn-cs"/>
                      </a:endParaRPr>
                    </a:p>
                  </p:txBody>
                </p:sp>
                <p:sp>
                  <p:nvSpPr>
                    <p:cNvPr id="248" name="Freeform 133"/>
                    <p:cNvSpPr>
                      <a:spLocks/>
                    </p:cNvSpPr>
                    <p:nvPr/>
                  </p:nvSpPr>
                  <p:spPr bwMode="auto">
                    <a:xfrm>
                      <a:off x="299131" y="4127038"/>
                      <a:ext cx="414277" cy="42302"/>
                    </a:xfrm>
                    <a:custGeom>
                      <a:avLst/>
                      <a:gdLst/>
                      <a:ahLst/>
                      <a:cxnLst>
                        <a:cxn ang="0">
                          <a:pos x="12" y="0"/>
                        </a:cxn>
                        <a:cxn ang="0">
                          <a:pos x="24" y="6"/>
                        </a:cxn>
                        <a:cxn ang="0">
                          <a:pos x="35" y="12"/>
                        </a:cxn>
                        <a:cxn ang="0">
                          <a:pos x="47" y="15"/>
                        </a:cxn>
                        <a:cxn ang="0">
                          <a:pos x="58" y="17"/>
                        </a:cxn>
                        <a:cxn ang="0">
                          <a:pos x="70" y="20"/>
                        </a:cxn>
                        <a:cxn ang="0">
                          <a:pos x="82" y="21"/>
                        </a:cxn>
                        <a:cxn ang="0">
                          <a:pos x="94" y="22"/>
                        </a:cxn>
                        <a:cxn ang="0">
                          <a:pos x="106" y="21"/>
                        </a:cxn>
                        <a:cxn ang="0">
                          <a:pos x="119" y="20"/>
                        </a:cxn>
                        <a:cxn ang="0">
                          <a:pos x="131" y="19"/>
                        </a:cxn>
                        <a:cxn ang="0">
                          <a:pos x="143" y="16"/>
                        </a:cxn>
                        <a:cxn ang="0">
                          <a:pos x="156" y="14"/>
                        </a:cxn>
                        <a:cxn ang="0">
                          <a:pos x="167" y="12"/>
                        </a:cxn>
                        <a:cxn ang="0">
                          <a:pos x="180" y="8"/>
                        </a:cxn>
                        <a:cxn ang="0">
                          <a:pos x="192" y="6"/>
                        </a:cxn>
                        <a:cxn ang="0">
                          <a:pos x="204" y="2"/>
                        </a:cxn>
                        <a:cxn ang="0">
                          <a:pos x="204" y="14"/>
                        </a:cxn>
                        <a:cxn ang="0">
                          <a:pos x="196" y="17"/>
                        </a:cxn>
                        <a:cxn ang="0">
                          <a:pos x="188" y="21"/>
                        </a:cxn>
                        <a:cxn ang="0">
                          <a:pos x="178" y="24"/>
                        </a:cxn>
                        <a:cxn ang="0">
                          <a:pos x="167" y="27"/>
                        </a:cxn>
                        <a:cxn ang="0">
                          <a:pos x="155" y="30"/>
                        </a:cxn>
                        <a:cxn ang="0">
                          <a:pos x="143" y="32"/>
                        </a:cxn>
                        <a:cxn ang="0">
                          <a:pos x="129" y="35"/>
                        </a:cxn>
                        <a:cxn ang="0">
                          <a:pos x="117" y="37"/>
                        </a:cxn>
                        <a:cxn ang="0">
                          <a:pos x="102" y="37"/>
                        </a:cxn>
                        <a:cxn ang="0">
                          <a:pos x="88" y="37"/>
                        </a:cxn>
                        <a:cxn ang="0">
                          <a:pos x="73" y="36"/>
                        </a:cxn>
                        <a:cxn ang="0">
                          <a:pos x="58" y="34"/>
                        </a:cxn>
                        <a:cxn ang="0">
                          <a:pos x="44" y="29"/>
                        </a:cxn>
                        <a:cxn ang="0">
                          <a:pos x="29" y="24"/>
                        </a:cxn>
                        <a:cxn ang="0">
                          <a:pos x="14" y="17"/>
                        </a:cxn>
                        <a:cxn ang="0">
                          <a:pos x="0" y="8"/>
                        </a:cxn>
                        <a:cxn ang="0">
                          <a:pos x="12" y="0"/>
                        </a:cxn>
                      </a:cxnLst>
                      <a:rect l="0" t="0" r="r" b="b"/>
                      <a:pathLst>
                        <a:path w="204" h="37">
                          <a:moveTo>
                            <a:pt x="12" y="0"/>
                          </a:moveTo>
                          <a:lnTo>
                            <a:pt x="24" y="6"/>
                          </a:lnTo>
                          <a:lnTo>
                            <a:pt x="35" y="12"/>
                          </a:lnTo>
                          <a:lnTo>
                            <a:pt x="47" y="15"/>
                          </a:lnTo>
                          <a:lnTo>
                            <a:pt x="58" y="17"/>
                          </a:lnTo>
                          <a:lnTo>
                            <a:pt x="70" y="20"/>
                          </a:lnTo>
                          <a:lnTo>
                            <a:pt x="82" y="21"/>
                          </a:lnTo>
                          <a:lnTo>
                            <a:pt x="94" y="22"/>
                          </a:lnTo>
                          <a:lnTo>
                            <a:pt x="106" y="21"/>
                          </a:lnTo>
                          <a:lnTo>
                            <a:pt x="119" y="20"/>
                          </a:lnTo>
                          <a:lnTo>
                            <a:pt x="131" y="19"/>
                          </a:lnTo>
                          <a:lnTo>
                            <a:pt x="143" y="16"/>
                          </a:lnTo>
                          <a:lnTo>
                            <a:pt x="156" y="14"/>
                          </a:lnTo>
                          <a:lnTo>
                            <a:pt x="167" y="12"/>
                          </a:lnTo>
                          <a:lnTo>
                            <a:pt x="180" y="8"/>
                          </a:lnTo>
                          <a:lnTo>
                            <a:pt x="192" y="6"/>
                          </a:lnTo>
                          <a:lnTo>
                            <a:pt x="204" y="2"/>
                          </a:lnTo>
                          <a:lnTo>
                            <a:pt x="204" y="14"/>
                          </a:lnTo>
                          <a:lnTo>
                            <a:pt x="196" y="17"/>
                          </a:lnTo>
                          <a:lnTo>
                            <a:pt x="188" y="21"/>
                          </a:lnTo>
                          <a:lnTo>
                            <a:pt x="178" y="24"/>
                          </a:lnTo>
                          <a:lnTo>
                            <a:pt x="167" y="27"/>
                          </a:lnTo>
                          <a:lnTo>
                            <a:pt x="155" y="30"/>
                          </a:lnTo>
                          <a:lnTo>
                            <a:pt x="143" y="32"/>
                          </a:lnTo>
                          <a:lnTo>
                            <a:pt x="129" y="35"/>
                          </a:lnTo>
                          <a:lnTo>
                            <a:pt x="117" y="37"/>
                          </a:lnTo>
                          <a:lnTo>
                            <a:pt x="102" y="37"/>
                          </a:lnTo>
                          <a:lnTo>
                            <a:pt x="88" y="37"/>
                          </a:lnTo>
                          <a:lnTo>
                            <a:pt x="73" y="36"/>
                          </a:lnTo>
                          <a:lnTo>
                            <a:pt x="58" y="34"/>
                          </a:lnTo>
                          <a:lnTo>
                            <a:pt x="44" y="29"/>
                          </a:lnTo>
                          <a:lnTo>
                            <a:pt x="29" y="24"/>
                          </a:lnTo>
                          <a:lnTo>
                            <a:pt x="14" y="17"/>
                          </a:lnTo>
                          <a:lnTo>
                            <a:pt x="0" y="8"/>
                          </a:lnTo>
                          <a:lnTo>
                            <a:pt x="12" y="0"/>
                          </a:lnTo>
                          <a:close/>
                        </a:path>
                      </a:pathLst>
                    </a:custGeom>
                    <a:solidFill>
                      <a:srgbClr val="E6E6E6">
                        <a:lumMod val="10000"/>
                      </a:srgbClr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pPr fontAlgn="auto">
                        <a:spcBef>
                          <a:spcPts val="0"/>
                        </a:spcBef>
                        <a:spcAft>
                          <a:spcPts val="0"/>
                        </a:spcAft>
                        <a:defRPr/>
                      </a:pPr>
                      <a:endParaRPr lang="da-DK" kern="0">
                        <a:solidFill>
                          <a:sysClr val="windowText" lastClr="000000"/>
                        </a:solidFill>
                        <a:latin typeface="+mn-lt"/>
                        <a:ea typeface="ＭＳ Ｐゴシック" pitchFamily="-97" charset="-128"/>
                        <a:cs typeface="+mn-cs"/>
                      </a:endParaRPr>
                    </a:p>
                  </p:txBody>
                </p:sp>
                <p:sp>
                  <p:nvSpPr>
                    <p:cNvPr id="249" name="Freeform 135"/>
                    <p:cNvSpPr>
                      <a:spLocks/>
                    </p:cNvSpPr>
                    <p:nvPr/>
                  </p:nvSpPr>
                  <p:spPr bwMode="auto">
                    <a:xfrm>
                      <a:off x="133420" y="4211615"/>
                      <a:ext cx="704271" cy="211454"/>
                    </a:xfrm>
                    <a:custGeom>
                      <a:avLst/>
                      <a:gdLst/>
                      <a:ahLst/>
                      <a:cxnLst>
                        <a:cxn ang="0">
                          <a:pos x="40" y="0"/>
                        </a:cxn>
                        <a:cxn ang="0">
                          <a:pos x="19" y="9"/>
                        </a:cxn>
                        <a:cxn ang="0">
                          <a:pos x="6" y="20"/>
                        </a:cxn>
                        <a:cxn ang="0">
                          <a:pos x="0" y="30"/>
                        </a:cxn>
                        <a:cxn ang="0">
                          <a:pos x="0" y="42"/>
                        </a:cxn>
                        <a:cxn ang="0">
                          <a:pos x="7" y="53"/>
                        </a:cxn>
                        <a:cxn ang="0">
                          <a:pos x="17" y="65"/>
                        </a:cxn>
                        <a:cxn ang="0">
                          <a:pos x="32" y="75"/>
                        </a:cxn>
                        <a:cxn ang="0">
                          <a:pos x="50" y="85"/>
                        </a:cxn>
                        <a:cxn ang="0">
                          <a:pos x="66" y="89"/>
                        </a:cxn>
                        <a:cxn ang="0">
                          <a:pos x="82" y="92"/>
                        </a:cxn>
                        <a:cxn ang="0">
                          <a:pos x="97" y="95"/>
                        </a:cxn>
                        <a:cxn ang="0">
                          <a:pos x="113" y="96"/>
                        </a:cxn>
                        <a:cxn ang="0">
                          <a:pos x="128" y="98"/>
                        </a:cxn>
                        <a:cxn ang="0">
                          <a:pos x="144" y="99"/>
                        </a:cxn>
                        <a:cxn ang="0">
                          <a:pos x="159" y="99"/>
                        </a:cxn>
                        <a:cxn ang="0">
                          <a:pos x="174" y="100"/>
                        </a:cxn>
                        <a:cxn ang="0">
                          <a:pos x="189" y="100"/>
                        </a:cxn>
                        <a:cxn ang="0">
                          <a:pos x="205" y="100"/>
                        </a:cxn>
                        <a:cxn ang="0">
                          <a:pos x="220" y="99"/>
                        </a:cxn>
                        <a:cxn ang="0">
                          <a:pos x="236" y="99"/>
                        </a:cxn>
                        <a:cxn ang="0">
                          <a:pos x="251" y="98"/>
                        </a:cxn>
                        <a:cxn ang="0">
                          <a:pos x="267" y="97"/>
                        </a:cxn>
                        <a:cxn ang="0">
                          <a:pos x="284" y="95"/>
                        </a:cxn>
                        <a:cxn ang="0">
                          <a:pos x="300" y="94"/>
                        </a:cxn>
                        <a:cxn ang="0">
                          <a:pos x="323" y="81"/>
                        </a:cxn>
                        <a:cxn ang="0">
                          <a:pos x="339" y="68"/>
                        </a:cxn>
                        <a:cxn ang="0">
                          <a:pos x="349" y="56"/>
                        </a:cxn>
                        <a:cxn ang="0">
                          <a:pos x="351" y="43"/>
                        </a:cxn>
                        <a:cxn ang="0">
                          <a:pos x="348" y="31"/>
                        </a:cxn>
                        <a:cxn ang="0">
                          <a:pos x="338" y="21"/>
                        </a:cxn>
                        <a:cxn ang="0">
                          <a:pos x="320" y="12"/>
                        </a:cxn>
                        <a:cxn ang="0">
                          <a:pos x="296" y="5"/>
                        </a:cxn>
                        <a:cxn ang="0">
                          <a:pos x="298" y="15"/>
                        </a:cxn>
                        <a:cxn ang="0">
                          <a:pos x="294" y="23"/>
                        </a:cxn>
                        <a:cxn ang="0">
                          <a:pos x="284" y="30"/>
                        </a:cxn>
                        <a:cxn ang="0">
                          <a:pos x="272" y="37"/>
                        </a:cxn>
                        <a:cxn ang="0">
                          <a:pos x="258" y="38"/>
                        </a:cxn>
                        <a:cxn ang="0">
                          <a:pos x="245" y="39"/>
                        </a:cxn>
                        <a:cxn ang="0">
                          <a:pos x="234" y="41"/>
                        </a:cxn>
                        <a:cxn ang="0">
                          <a:pos x="222" y="42"/>
                        </a:cxn>
                        <a:cxn ang="0">
                          <a:pos x="211" y="43"/>
                        </a:cxn>
                        <a:cxn ang="0">
                          <a:pos x="199" y="43"/>
                        </a:cxn>
                        <a:cxn ang="0">
                          <a:pos x="188" y="44"/>
                        </a:cxn>
                        <a:cxn ang="0">
                          <a:pos x="178" y="44"/>
                        </a:cxn>
                        <a:cxn ang="0">
                          <a:pos x="166" y="44"/>
                        </a:cxn>
                        <a:cxn ang="0">
                          <a:pos x="155" y="44"/>
                        </a:cxn>
                        <a:cxn ang="0">
                          <a:pos x="143" y="44"/>
                        </a:cxn>
                        <a:cxn ang="0">
                          <a:pos x="133" y="43"/>
                        </a:cxn>
                        <a:cxn ang="0">
                          <a:pos x="120" y="42"/>
                        </a:cxn>
                        <a:cxn ang="0">
                          <a:pos x="108" y="41"/>
                        </a:cxn>
                        <a:cxn ang="0">
                          <a:pos x="96" y="39"/>
                        </a:cxn>
                        <a:cxn ang="0">
                          <a:pos x="82" y="37"/>
                        </a:cxn>
                        <a:cxn ang="0">
                          <a:pos x="73" y="32"/>
                        </a:cxn>
                        <a:cxn ang="0">
                          <a:pos x="65" y="28"/>
                        </a:cxn>
                        <a:cxn ang="0">
                          <a:pos x="58" y="23"/>
                        </a:cxn>
                        <a:cxn ang="0">
                          <a:pos x="52" y="19"/>
                        </a:cxn>
                        <a:cxn ang="0">
                          <a:pos x="47" y="14"/>
                        </a:cxn>
                        <a:cxn ang="0">
                          <a:pos x="44" y="11"/>
                        </a:cxn>
                        <a:cxn ang="0">
                          <a:pos x="42" y="5"/>
                        </a:cxn>
                        <a:cxn ang="0">
                          <a:pos x="40" y="0"/>
                        </a:cxn>
                      </a:cxnLst>
                      <a:rect l="0" t="0" r="r" b="b"/>
                      <a:pathLst>
                        <a:path w="351" h="100">
                          <a:moveTo>
                            <a:pt x="40" y="0"/>
                          </a:moveTo>
                          <a:lnTo>
                            <a:pt x="19" y="9"/>
                          </a:lnTo>
                          <a:lnTo>
                            <a:pt x="6" y="20"/>
                          </a:lnTo>
                          <a:lnTo>
                            <a:pt x="0" y="30"/>
                          </a:lnTo>
                          <a:lnTo>
                            <a:pt x="0" y="42"/>
                          </a:lnTo>
                          <a:lnTo>
                            <a:pt x="7" y="53"/>
                          </a:lnTo>
                          <a:lnTo>
                            <a:pt x="17" y="65"/>
                          </a:lnTo>
                          <a:lnTo>
                            <a:pt x="32" y="75"/>
                          </a:lnTo>
                          <a:lnTo>
                            <a:pt x="50" y="85"/>
                          </a:lnTo>
                          <a:lnTo>
                            <a:pt x="66" y="89"/>
                          </a:lnTo>
                          <a:lnTo>
                            <a:pt x="82" y="92"/>
                          </a:lnTo>
                          <a:lnTo>
                            <a:pt x="97" y="95"/>
                          </a:lnTo>
                          <a:lnTo>
                            <a:pt x="113" y="96"/>
                          </a:lnTo>
                          <a:lnTo>
                            <a:pt x="128" y="98"/>
                          </a:lnTo>
                          <a:lnTo>
                            <a:pt x="144" y="99"/>
                          </a:lnTo>
                          <a:lnTo>
                            <a:pt x="159" y="99"/>
                          </a:lnTo>
                          <a:lnTo>
                            <a:pt x="174" y="100"/>
                          </a:lnTo>
                          <a:lnTo>
                            <a:pt x="189" y="100"/>
                          </a:lnTo>
                          <a:lnTo>
                            <a:pt x="205" y="100"/>
                          </a:lnTo>
                          <a:lnTo>
                            <a:pt x="220" y="99"/>
                          </a:lnTo>
                          <a:lnTo>
                            <a:pt x="236" y="99"/>
                          </a:lnTo>
                          <a:lnTo>
                            <a:pt x="251" y="98"/>
                          </a:lnTo>
                          <a:lnTo>
                            <a:pt x="267" y="97"/>
                          </a:lnTo>
                          <a:lnTo>
                            <a:pt x="284" y="95"/>
                          </a:lnTo>
                          <a:lnTo>
                            <a:pt x="300" y="94"/>
                          </a:lnTo>
                          <a:lnTo>
                            <a:pt x="323" y="81"/>
                          </a:lnTo>
                          <a:lnTo>
                            <a:pt x="339" y="68"/>
                          </a:lnTo>
                          <a:lnTo>
                            <a:pt x="349" y="56"/>
                          </a:lnTo>
                          <a:lnTo>
                            <a:pt x="351" y="43"/>
                          </a:lnTo>
                          <a:lnTo>
                            <a:pt x="348" y="31"/>
                          </a:lnTo>
                          <a:lnTo>
                            <a:pt x="338" y="21"/>
                          </a:lnTo>
                          <a:lnTo>
                            <a:pt x="320" y="12"/>
                          </a:lnTo>
                          <a:lnTo>
                            <a:pt x="296" y="5"/>
                          </a:lnTo>
                          <a:lnTo>
                            <a:pt x="298" y="15"/>
                          </a:lnTo>
                          <a:lnTo>
                            <a:pt x="294" y="23"/>
                          </a:lnTo>
                          <a:lnTo>
                            <a:pt x="284" y="30"/>
                          </a:lnTo>
                          <a:lnTo>
                            <a:pt x="272" y="37"/>
                          </a:lnTo>
                          <a:lnTo>
                            <a:pt x="258" y="38"/>
                          </a:lnTo>
                          <a:lnTo>
                            <a:pt x="245" y="39"/>
                          </a:lnTo>
                          <a:lnTo>
                            <a:pt x="234" y="41"/>
                          </a:lnTo>
                          <a:lnTo>
                            <a:pt x="222" y="42"/>
                          </a:lnTo>
                          <a:lnTo>
                            <a:pt x="211" y="43"/>
                          </a:lnTo>
                          <a:lnTo>
                            <a:pt x="199" y="43"/>
                          </a:lnTo>
                          <a:lnTo>
                            <a:pt x="188" y="44"/>
                          </a:lnTo>
                          <a:lnTo>
                            <a:pt x="178" y="44"/>
                          </a:lnTo>
                          <a:lnTo>
                            <a:pt x="166" y="44"/>
                          </a:lnTo>
                          <a:lnTo>
                            <a:pt x="155" y="44"/>
                          </a:lnTo>
                          <a:lnTo>
                            <a:pt x="143" y="44"/>
                          </a:lnTo>
                          <a:lnTo>
                            <a:pt x="133" y="43"/>
                          </a:lnTo>
                          <a:lnTo>
                            <a:pt x="120" y="42"/>
                          </a:lnTo>
                          <a:lnTo>
                            <a:pt x="108" y="41"/>
                          </a:lnTo>
                          <a:lnTo>
                            <a:pt x="96" y="39"/>
                          </a:lnTo>
                          <a:lnTo>
                            <a:pt x="82" y="37"/>
                          </a:lnTo>
                          <a:lnTo>
                            <a:pt x="73" y="32"/>
                          </a:lnTo>
                          <a:lnTo>
                            <a:pt x="65" y="28"/>
                          </a:lnTo>
                          <a:lnTo>
                            <a:pt x="58" y="23"/>
                          </a:lnTo>
                          <a:lnTo>
                            <a:pt x="52" y="19"/>
                          </a:lnTo>
                          <a:lnTo>
                            <a:pt x="47" y="14"/>
                          </a:lnTo>
                          <a:lnTo>
                            <a:pt x="44" y="11"/>
                          </a:lnTo>
                          <a:lnTo>
                            <a:pt x="42" y="5"/>
                          </a:lnTo>
                          <a:lnTo>
                            <a:pt x="40" y="0"/>
                          </a:lnTo>
                          <a:close/>
                        </a:path>
                      </a:pathLst>
                    </a:custGeom>
                    <a:solidFill>
                      <a:srgbClr val="E6E6E6">
                        <a:lumMod val="10000"/>
                      </a:srgbClr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pPr fontAlgn="auto">
                        <a:spcBef>
                          <a:spcPts val="0"/>
                        </a:spcBef>
                        <a:spcAft>
                          <a:spcPts val="0"/>
                        </a:spcAft>
                        <a:defRPr/>
                      </a:pPr>
                      <a:endParaRPr lang="da-DK" kern="0">
                        <a:solidFill>
                          <a:sysClr val="windowText" lastClr="000000"/>
                        </a:solidFill>
                        <a:latin typeface="+mn-lt"/>
                        <a:ea typeface="ＭＳ Ｐゴシック" pitchFamily="-97" charset="-128"/>
                        <a:cs typeface="+mn-cs"/>
                      </a:endParaRPr>
                    </a:p>
                  </p:txBody>
                </p:sp>
                <p:sp>
                  <p:nvSpPr>
                    <p:cNvPr id="250" name="Freeform 147"/>
                    <p:cNvSpPr>
                      <a:spLocks/>
                    </p:cNvSpPr>
                    <p:nvPr/>
                  </p:nvSpPr>
                  <p:spPr bwMode="auto">
                    <a:xfrm>
                      <a:off x="112713" y="5099681"/>
                      <a:ext cx="766406" cy="169153"/>
                    </a:xfrm>
                    <a:custGeom>
                      <a:avLst/>
                      <a:gdLst/>
                      <a:ahLst/>
                      <a:cxnLst>
                        <a:cxn ang="0">
                          <a:pos x="24" y="4"/>
                        </a:cxn>
                        <a:cxn ang="0">
                          <a:pos x="68" y="40"/>
                        </a:cxn>
                        <a:cxn ang="0">
                          <a:pos x="89" y="44"/>
                        </a:cxn>
                        <a:cxn ang="0">
                          <a:pos x="108" y="48"/>
                        </a:cxn>
                        <a:cxn ang="0">
                          <a:pos x="127" y="53"/>
                        </a:cxn>
                        <a:cxn ang="0">
                          <a:pos x="144" y="55"/>
                        </a:cxn>
                        <a:cxn ang="0">
                          <a:pos x="160" y="57"/>
                        </a:cxn>
                        <a:cxn ang="0">
                          <a:pos x="176" y="59"/>
                        </a:cxn>
                        <a:cxn ang="0">
                          <a:pos x="192" y="59"/>
                        </a:cxn>
                        <a:cxn ang="0">
                          <a:pos x="207" y="59"/>
                        </a:cxn>
                        <a:cxn ang="0">
                          <a:pos x="222" y="58"/>
                        </a:cxn>
                        <a:cxn ang="0">
                          <a:pos x="237" y="57"/>
                        </a:cxn>
                        <a:cxn ang="0">
                          <a:pos x="253" y="54"/>
                        </a:cxn>
                        <a:cxn ang="0">
                          <a:pos x="270" y="50"/>
                        </a:cxn>
                        <a:cxn ang="0">
                          <a:pos x="286" y="46"/>
                        </a:cxn>
                        <a:cxn ang="0">
                          <a:pos x="304" y="39"/>
                        </a:cxn>
                        <a:cxn ang="0">
                          <a:pos x="323" y="32"/>
                        </a:cxn>
                        <a:cxn ang="0">
                          <a:pos x="342" y="23"/>
                        </a:cxn>
                        <a:cxn ang="0">
                          <a:pos x="348" y="10"/>
                        </a:cxn>
                        <a:cxn ang="0">
                          <a:pos x="352" y="3"/>
                        </a:cxn>
                        <a:cxn ang="0">
                          <a:pos x="356" y="0"/>
                        </a:cxn>
                        <a:cxn ang="0">
                          <a:pos x="359" y="1"/>
                        </a:cxn>
                        <a:cxn ang="0">
                          <a:pos x="363" y="4"/>
                        </a:cxn>
                        <a:cxn ang="0">
                          <a:pos x="367" y="11"/>
                        </a:cxn>
                        <a:cxn ang="0">
                          <a:pos x="374" y="20"/>
                        </a:cxn>
                        <a:cxn ang="0">
                          <a:pos x="382" y="32"/>
                        </a:cxn>
                        <a:cxn ang="0">
                          <a:pos x="366" y="55"/>
                        </a:cxn>
                        <a:cxn ang="0">
                          <a:pos x="349" y="65"/>
                        </a:cxn>
                        <a:cxn ang="0">
                          <a:pos x="329" y="73"/>
                        </a:cxn>
                        <a:cxn ang="0">
                          <a:pos x="310" y="80"/>
                        </a:cxn>
                        <a:cxn ang="0">
                          <a:pos x="288" y="86"/>
                        </a:cxn>
                        <a:cxn ang="0">
                          <a:pos x="266" y="91"/>
                        </a:cxn>
                        <a:cxn ang="0">
                          <a:pos x="243" y="94"/>
                        </a:cxn>
                        <a:cxn ang="0">
                          <a:pos x="219" y="96"/>
                        </a:cxn>
                        <a:cxn ang="0">
                          <a:pos x="196" y="96"/>
                        </a:cxn>
                        <a:cxn ang="0">
                          <a:pos x="172" y="96"/>
                        </a:cxn>
                        <a:cxn ang="0">
                          <a:pos x="147" y="95"/>
                        </a:cxn>
                        <a:cxn ang="0">
                          <a:pos x="124" y="92"/>
                        </a:cxn>
                        <a:cxn ang="0">
                          <a:pos x="101" y="88"/>
                        </a:cxn>
                        <a:cxn ang="0">
                          <a:pos x="78" y="84"/>
                        </a:cxn>
                        <a:cxn ang="0">
                          <a:pos x="58" y="79"/>
                        </a:cxn>
                        <a:cxn ang="0">
                          <a:pos x="37" y="72"/>
                        </a:cxn>
                        <a:cxn ang="0">
                          <a:pos x="18" y="65"/>
                        </a:cxn>
                        <a:cxn ang="0">
                          <a:pos x="12" y="56"/>
                        </a:cxn>
                        <a:cxn ang="0">
                          <a:pos x="6" y="47"/>
                        </a:cxn>
                        <a:cxn ang="0">
                          <a:pos x="2" y="38"/>
                        </a:cxn>
                        <a:cxn ang="0">
                          <a:pos x="0" y="28"/>
                        </a:cxn>
                        <a:cxn ang="0">
                          <a:pos x="0" y="20"/>
                        </a:cxn>
                        <a:cxn ang="0">
                          <a:pos x="5" y="13"/>
                        </a:cxn>
                        <a:cxn ang="0">
                          <a:pos x="12" y="8"/>
                        </a:cxn>
                        <a:cxn ang="0">
                          <a:pos x="24" y="4"/>
                        </a:cxn>
                      </a:cxnLst>
                      <a:rect l="0" t="0" r="r" b="b"/>
                      <a:pathLst>
                        <a:path w="382" h="96">
                          <a:moveTo>
                            <a:pt x="24" y="4"/>
                          </a:moveTo>
                          <a:lnTo>
                            <a:pt x="68" y="40"/>
                          </a:lnTo>
                          <a:lnTo>
                            <a:pt x="89" y="44"/>
                          </a:lnTo>
                          <a:lnTo>
                            <a:pt x="108" y="48"/>
                          </a:lnTo>
                          <a:lnTo>
                            <a:pt x="127" y="53"/>
                          </a:lnTo>
                          <a:lnTo>
                            <a:pt x="144" y="55"/>
                          </a:lnTo>
                          <a:lnTo>
                            <a:pt x="160" y="57"/>
                          </a:lnTo>
                          <a:lnTo>
                            <a:pt x="176" y="59"/>
                          </a:lnTo>
                          <a:lnTo>
                            <a:pt x="192" y="59"/>
                          </a:lnTo>
                          <a:lnTo>
                            <a:pt x="207" y="59"/>
                          </a:lnTo>
                          <a:lnTo>
                            <a:pt x="222" y="58"/>
                          </a:lnTo>
                          <a:lnTo>
                            <a:pt x="237" y="57"/>
                          </a:lnTo>
                          <a:lnTo>
                            <a:pt x="253" y="54"/>
                          </a:lnTo>
                          <a:lnTo>
                            <a:pt x="270" y="50"/>
                          </a:lnTo>
                          <a:lnTo>
                            <a:pt x="286" y="46"/>
                          </a:lnTo>
                          <a:lnTo>
                            <a:pt x="304" y="39"/>
                          </a:lnTo>
                          <a:lnTo>
                            <a:pt x="323" y="32"/>
                          </a:lnTo>
                          <a:lnTo>
                            <a:pt x="342" y="23"/>
                          </a:lnTo>
                          <a:lnTo>
                            <a:pt x="348" y="10"/>
                          </a:lnTo>
                          <a:lnTo>
                            <a:pt x="352" y="3"/>
                          </a:lnTo>
                          <a:lnTo>
                            <a:pt x="356" y="0"/>
                          </a:lnTo>
                          <a:lnTo>
                            <a:pt x="359" y="1"/>
                          </a:lnTo>
                          <a:lnTo>
                            <a:pt x="363" y="4"/>
                          </a:lnTo>
                          <a:lnTo>
                            <a:pt x="367" y="11"/>
                          </a:lnTo>
                          <a:lnTo>
                            <a:pt x="374" y="20"/>
                          </a:lnTo>
                          <a:lnTo>
                            <a:pt x="382" y="32"/>
                          </a:lnTo>
                          <a:lnTo>
                            <a:pt x="366" y="55"/>
                          </a:lnTo>
                          <a:lnTo>
                            <a:pt x="349" y="65"/>
                          </a:lnTo>
                          <a:lnTo>
                            <a:pt x="329" y="73"/>
                          </a:lnTo>
                          <a:lnTo>
                            <a:pt x="310" y="80"/>
                          </a:lnTo>
                          <a:lnTo>
                            <a:pt x="288" y="86"/>
                          </a:lnTo>
                          <a:lnTo>
                            <a:pt x="266" y="91"/>
                          </a:lnTo>
                          <a:lnTo>
                            <a:pt x="243" y="94"/>
                          </a:lnTo>
                          <a:lnTo>
                            <a:pt x="219" y="96"/>
                          </a:lnTo>
                          <a:lnTo>
                            <a:pt x="196" y="96"/>
                          </a:lnTo>
                          <a:lnTo>
                            <a:pt x="172" y="96"/>
                          </a:lnTo>
                          <a:lnTo>
                            <a:pt x="147" y="95"/>
                          </a:lnTo>
                          <a:lnTo>
                            <a:pt x="124" y="92"/>
                          </a:lnTo>
                          <a:lnTo>
                            <a:pt x="101" y="88"/>
                          </a:lnTo>
                          <a:lnTo>
                            <a:pt x="78" y="84"/>
                          </a:lnTo>
                          <a:lnTo>
                            <a:pt x="58" y="79"/>
                          </a:lnTo>
                          <a:lnTo>
                            <a:pt x="37" y="72"/>
                          </a:lnTo>
                          <a:lnTo>
                            <a:pt x="18" y="65"/>
                          </a:lnTo>
                          <a:lnTo>
                            <a:pt x="12" y="56"/>
                          </a:lnTo>
                          <a:lnTo>
                            <a:pt x="6" y="47"/>
                          </a:lnTo>
                          <a:lnTo>
                            <a:pt x="2" y="38"/>
                          </a:lnTo>
                          <a:lnTo>
                            <a:pt x="0" y="28"/>
                          </a:lnTo>
                          <a:lnTo>
                            <a:pt x="0" y="20"/>
                          </a:lnTo>
                          <a:lnTo>
                            <a:pt x="5" y="13"/>
                          </a:lnTo>
                          <a:lnTo>
                            <a:pt x="12" y="8"/>
                          </a:lnTo>
                          <a:lnTo>
                            <a:pt x="24" y="4"/>
                          </a:lnTo>
                          <a:close/>
                        </a:path>
                      </a:pathLst>
                    </a:custGeom>
                    <a:solidFill>
                      <a:srgbClr val="E6E6E6">
                        <a:lumMod val="10000"/>
                      </a:srgbClr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pPr fontAlgn="auto">
                        <a:spcBef>
                          <a:spcPts val="0"/>
                        </a:spcBef>
                        <a:spcAft>
                          <a:spcPts val="0"/>
                        </a:spcAft>
                        <a:defRPr/>
                      </a:pPr>
                      <a:endParaRPr lang="da-DK" kern="0">
                        <a:solidFill>
                          <a:sysClr val="windowText" lastClr="000000"/>
                        </a:solidFill>
                        <a:latin typeface="+mn-lt"/>
                        <a:ea typeface="ＭＳ Ｐゴシック" pitchFamily="-97" charset="-128"/>
                        <a:cs typeface="+mn-cs"/>
                      </a:endParaRPr>
                    </a:p>
                  </p:txBody>
                </p:sp>
                <p:sp>
                  <p:nvSpPr>
                    <p:cNvPr id="251" name="Freeform 148"/>
                    <p:cNvSpPr>
                      <a:spLocks/>
                    </p:cNvSpPr>
                    <p:nvPr/>
                  </p:nvSpPr>
                  <p:spPr bwMode="auto">
                    <a:xfrm>
                      <a:off x="9137" y="5268834"/>
                      <a:ext cx="932130" cy="338306"/>
                    </a:xfrm>
                    <a:custGeom>
                      <a:avLst/>
                      <a:gdLst/>
                      <a:ahLst/>
                      <a:cxnLst>
                        <a:cxn ang="0">
                          <a:pos x="7" y="102"/>
                        </a:cxn>
                        <a:cxn ang="0">
                          <a:pos x="18" y="116"/>
                        </a:cxn>
                        <a:cxn ang="0">
                          <a:pos x="34" y="130"/>
                        </a:cxn>
                        <a:cxn ang="0">
                          <a:pos x="55" y="143"/>
                        </a:cxn>
                        <a:cxn ang="0">
                          <a:pos x="80" y="155"/>
                        </a:cxn>
                        <a:cxn ang="0">
                          <a:pos x="109" y="165"/>
                        </a:cxn>
                        <a:cxn ang="0">
                          <a:pos x="141" y="173"/>
                        </a:cxn>
                        <a:cxn ang="0">
                          <a:pos x="176" y="179"/>
                        </a:cxn>
                        <a:cxn ang="0">
                          <a:pos x="211" y="182"/>
                        </a:cxn>
                        <a:cxn ang="0">
                          <a:pos x="248" y="184"/>
                        </a:cxn>
                        <a:cxn ang="0">
                          <a:pos x="285" y="183"/>
                        </a:cxn>
                        <a:cxn ang="0">
                          <a:pos x="323" y="180"/>
                        </a:cxn>
                        <a:cxn ang="0">
                          <a:pos x="359" y="173"/>
                        </a:cxn>
                        <a:cxn ang="0">
                          <a:pos x="393" y="164"/>
                        </a:cxn>
                        <a:cxn ang="0">
                          <a:pos x="427" y="151"/>
                        </a:cxn>
                        <a:cxn ang="0">
                          <a:pos x="455" y="135"/>
                        </a:cxn>
                        <a:cxn ang="0">
                          <a:pos x="482" y="115"/>
                        </a:cxn>
                        <a:cxn ang="0">
                          <a:pos x="483" y="93"/>
                        </a:cxn>
                        <a:cxn ang="0">
                          <a:pos x="483" y="77"/>
                        </a:cxn>
                        <a:cxn ang="0">
                          <a:pos x="482" y="65"/>
                        </a:cxn>
                        <a:cxn ang="0">
                          <a:pos x="478" y="54"/>
                        </a:cxn>
                        <a:cxn ang="0">
                          <a:pos x="473" y="44"/>
                        </a:cxn>
                        <a:cxn ang="0">
                          <a:pos x="463" y="34"/>
                        </a:cxn>
                        <a:cxn ang="0">
                          <a:pos x="451" y="22"/>
                        </a:cxn>
                        <a:cxn ang="0">
                          <a:pos x="435" y="7"/>
                        </a:cxn>
                        <a:cxn ang="0">
                          <a:pos x="416" y="23"/>
                        </a:cxn>
                        <a:cxn ang="0">
                          <a:pos x="396" y="37"/>
                        </a:cxn>
                        <a:cxn ang="0">
                          <a:pos x="375" y="50"/>
                        </a:cxn>
                        <a:cxn ang="0">
                          <a:pos x="353" y="59"/>
                        </a:cxn>
                        <a:cxn ang="0">
                          <a:pos x="330" y="67"/>
                        </a:cxn>
                        <a:cxn ang="0">
                          <a:pos x="307" y="73"/>
                        </a:cxn>
                        <a:cxn ang="0">
                          <a:pos x="284" y="76"/>
                        </a:cxn>
                        <a:cxn ang="0">
                          <a:pos x="260" y="78"/>
                        </a:cxn>
                        <a:cxn ang="0">
                          <a:pos x="235" y="78"/>
                        </a:cxn>
                        <a:cxn ang="0">
                          <a:pos x="211" y="76"/>
                        </a:cxn>
                        <a:cxn ang="0">
                          <a:pos x="187" y="73"/>
                        </a:cxn>
                        <a:cxn ang="0">
                          <a:pos x="163" y="68"/>
                        </a:cxn>
                        <a:cxn ang="0">
                          <a:pos x="140" y="61"/>
                        </a:cxn>
                        <a:cxn ang="0">
                          <a:pos x="116" y="53"/>
                        </a:cxn>
                        <a:cxn ang="0">
                          <a:pos x="94" y="44"/>
                        </a:cxn>
                        <a:cxn ang="0">
                          <a:pos x="72" y="32"/>
                        </a:cxn>
                        <a:cxn ang="0">
                          <a:pos x="66" y="0"/>
                        </a:cxn>
                        <a:cxn ang="0">
                          <a:pos x="56" y="5"/>
                        </a:cxn>
                        <a:cxn ang="0">
                          <a:pos x="42" y="12"/>
                        </a:cxn>
                        <a:cxn ang="0">
                          <a:pos x="29" y="20"/>
                        </a:cxn>
                        <a:cxn ang="0">
                          <a:pos x="17" y="30"/>
                        </a:cxn>
                        <a:cxn ang="0">
                          <a:pos x="7" y="43"/>
                        </a:cxn>
                        <a:cxn ang="0">
                          <a:pos x="2" y="59"/>
                        </a:cxn>
                        <a:cxn ang="0">
                          <a:pos x="0" y="78"/>
                        </a:cxn>
                        <a:cxn ang="0">
                          <a:pos x="7" y="102"/>
                        </a:cxn>
                      </a:cxnLst>
                      <a:rect l="0" t="0" r="r" b="b"/>
                      <a:pathLst>
                        <a:path w="483" h="184">
                          <a:moveTo>
                            <a:pt x="7" y="102"/>
                          </a:moveTo>
                          <a:lnTo>
                            <a:pt x="18" y="116"/>
                          </a:lnTo>
                          <a:lnTo>
                            <a:pt x="34" y="130"/>
                          </a:lnTo>
                          <a:lnTo>
                            <a:pt x="55" y="143"/>
                          </a:lnTo>
                          <a:lnTo>
                            <a:pt x="80" y="155"/>
                          </a:lnTo>
                          <a:lnTo>
                            <a:pt x="109" y="165"/>
                          </a:lnTo>
                          <a:lnTo>
                            <a:pt x="141" y="173"/>
                          </a:lnTo>
                          <a:lnTo>
                            <a:pt x="176" y="179"/>
                          </a:lnTo>
                          <a:lnTo>
                            <a:pt x="211" y="182"/>
                          </a:lnTo>
                          <a:lnTo>
                            <a:pt x="248" y="184"/>
                          </a:lnTo>
                          <a:lnTo>
                            <a:pt x="285" y="183"/>
                          </a:lnTo>
                          <a:lnTo>
                            <a:pt x="323" y="180"/>
                          </a:lnTo>
                          <a:lnTo>
                            <a:pt x="359" y="173"/>
                          </a:lnTo>
                          <a:lnTo>
                            <a:pt x="393" y="164"/>
                          </a:lnTo>
                          <a:lnTo>
                            <a:pt x="427" y="151"/>
                          </a:lnTo>
                          <a:lnTo>
                            <a:pt x="455" y="135"/>
                          </a:lnTo>
                          <a:lnTo>
                            <a:pt x="482" y="115"/>
                          </a:lnTo>
                          <a:lnTo>
                            <a:pt x="483" y="93"/>
                          </a:lnTo>
                          <a:lnTo>
                            <a:pt x="483" y="77"/>
                          </a:lnTo>
                          <a:lnTo>
                            <a:pt x="482" y="65"/>
                          </a:lnTo>
                          <a:lnTo>
                            <a:pt x="478" y="54"/>
                          </a:lnTo>
                          <a:lnTo>
                            <a:pt x="473" y="44"/>
                          </a:lnTo>
                          <a:lnTo>
                            <a:pt x="463" y="34"/>
                          </a:lnTo>
                          <a:lnTo>
                            <a:pt x="451" y="22"/>
                          </a:lnTo>
                          <a:lnTo>
                            <a:pt x="435" y="7"/>
                          </a:lnTo>
                          <a:lnTo>
                            <a:pt x="416" y="23"/>
                          </a:lnTo>
                          <a:lnTo>
                            <a:pt x="396" y="37"/>
                          </a:lnTo>
                          <a:lnTo>
                            <a:pt x="375" y="50"/>
                          </a:lnTo>
                          <a:lnTo>
                            <a:pt x="353" y="59"/>
                          </a:lnTo>
                          <a:lnTo>
                            <a:pt x="330" y="67"/>
                          </a:lnTo>
                          <a:lnTo>
                            <a:pt x="307" y="73"/>
                          </a:lnTo>
                          <a:lnTo>
                            <a:pt x="284" y="76"/>
                          </a:lnTo>
                          <a:lnTo>
                            <a:pt x="260" y="78"/>
                          </a:lnTo>
                          <a:lnTo>
                            <a:pt x="235" y="78"/>
                          </a:lnTo>
                          <a:lnTo>
                            <a:pt x="211" y="76"/>
                          </a:lnTo>
                          <a:lnTo>
                            <a:pt x="187" y="73"/>
                          </a:lnTo>
                          <a:lnTo>
                            <a:pt x="163" y="68"/>
                          </a:lnTo>
                          <a:lnTo>
                            <a:pt x="140" y="61"/>
                          </a:lnTo>
                          <a:lnTo>
                            <a:pt x="116" y="53"/>
                          </a:lnTo>
                          <a:lnTo>
                            <a:pt x="94" y="44"/>
                          </a:lnTo>
                          <a:lnTo>
                            <a:pt x="72" y="32"/>
                          </a:lnTo>
                          <a:lnTo>
                            <a:pt x="66" y="0"/>
                          </a:lnTo>
                          <a:lnTo>
                            <a:pt x="56" y="5"/>
                          </a:lnTo>
                          <a:lnTo>
                            <a:pt x="42" y="12"/>
                          </a:lnTo>
                          <a:lnTo>
                            <a:pt x="29" y="20"/>
                          </a:lnTo>
                          <a:lnTo>
                            <a:pt x="17" y="30"/>
                          </a:lnTo>
                          <a:lnTo>
                            <a:pt x="7" y="43"/>
                          </a:lnTo>
                          <a:lnTo>
                            <a:pt x="2" y="59"/>
                          </a:lnTo>
                          <a:lnTo>
                            <a:pt x="0" y="78"/>
                          </a:lnTo>
                          <a:lnTo>
                            <a:pt x="7" y="102"/>
                          </a:lnTo>
                          <a:close/>
                        </a:path>
                      </a:pathLst>
                    </a:custGeom>
                    <a:solidFill>
                      <a:srgbClr val="E6E6E6">
                        <a:lumMod val="10000"/>
                      </a:srgbClr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pPr fontAlgn="auto">
                        <a:spcBef>
                          <a:spcPts val="0"/>
                        </a:spcBef>
                        <a:spcAft>
                          <a:spcPts val="0"/>
                        </a:spcAft>
                        <a:defRPr/>
                      </a:pPr>
                      <a:endParaRPr lang="da-DK" kern="0">
                        <a:solidFill>
                          <a:sysClr val="windowText" lastClr="000000"/>
                        </a:solidFill>
                        <a:latin typeface="+mn-lt"/>
                        <a:ea typeface="ＭＳ Ｐゴシック" pitchFamily="-97" charset="-128"/>
                        <a:cs typeface="+mn-cs"/>
                      </a:endParaRPr>
                    </a:p>
                  </p:txBody>
                </p:sp>
                <p:sp>
                  <p:nvSpPr>
                    <p:cNvPr id="252" name="Freeform 184"/>
                    <p:cNvSpPr>
                      <a:spLocks/>
                    </p:cNvSpPr>
                    <p:nvPr/>
                  </p:nvSpPr>
                  <p:spPr bwMode="auto">
                    <a:xfrm>
                      <a:off x="423414" y="3492728"/>
                      <a:ext cx="186431" cy="169153"/>
                    </a:xfrm>
                    <a:custGeom>
                      <a:avLst/>
                      <a:gdLst/>
                      <a:ahLst/>
                      <a:cxnLst>
                        <a:cxn ang="0">
                          <a:pos x="48" y="0"/>
                        </a:cxn>
                        <a:cxn ang="0">
                          <a:pos x="57" y="2"/>
                        </a:cxn>
                        <a:cxn ang="0">
                          <a:pos x="66" y="3"/>
                        </a:cxn>
                        <a:cxn ang="0">
                          <a:pos x="74" y="6"/>
                        </a:cxn>
                        <a:cxn ang="0">
                          <a:pos x="81" y="11"/>
                        </a:cxn>
                        <a:cxn ang="0">
                          <a:pos x="87" y="16"/>
                        </a:cxn>
                        <a:cxn ang="0">
                          <a:pos x="91" y="22"/>
                        </a:cxn>
                        <a:cxn ang="0">
                          <a:pos x="94" y="29"/>
                        </a:cxn>
                        <a:cxn ang="0">
                          <a:pos x="95" y="36"/>
                        </a:cxn>
                        <a:cxn ang="0">
                          <a:pos x="94" y="43"/>
                        </a:cxn>
                        <a:cxn ang="0">
                          <a:pos x="91" y="50"/>
                        </a:cxn>
                        <a:cxn ang="0">
                          <a:pos x="87" y="56"/>
                        </a:cxn>
                        <a:cxn ang="0">
                          <a:pos x="81" y="61"/>
                        </a:cxn>
                        <a:cxn ang="0">
                          <a:pos x="74" y="66"/>
                        </a:cxn>
                        <a:cxn ang="0">
                          <a:pos x="66" y="69"/>
                        </a:cxn>
                        <a:cxn ang="0">
                          <a:pos x="57" y="71"/>
                        </a:cxn>
                        <a:cxn ang="0">
                          <a:pos x="48" y="72"/>
                        </a:cxn>
                        <a:cxn ang="0">
                          <a:pos x="38" y="71"/>
                        </a:cxn>
                        <a:cxn ang="0">
                          <a:pos x="29" y="69"/>
                        </a:cxn>
                        <a:cxn ang="0">
                          <a:pos x="21" y="66"/>
                        </a:cxn>
                        <a:cxn ang="0">
                          <a:pos x="14" y="61"/>
                        </a:cxn>
                        <a:cxn ang="0">
                          <a:pos x="8" y="56"/>
                        </a:cxn>
                        <a:cxn ang="0">
                          <a:pos x="4" y="50"/>
                        </a:cxn>
                        <a:cxn ang="0">
                          <a:pos x="2" y="43"/>
                        </a:cxn>
                        <a:cxn ang="0">
                          <a:pos x="0" y="36"/>
                        </a:cxn>
                        <a:cxn ang="0">
                          <a:pos x="2" y="29"/>
                        </a:cxn>
                        <a:cxn ang="0">
                          <a:pos x="4" y="22"/>
                        </a:cxn>
                        <a:cxn ang="0">
                          <a:pos x="8" y="16"/>
                        </a:cxn>
                        <a:cxn ang="0">
                          <a:pos x="14" y="11"/>
                        </a:cxn>
                        <a:cxn ang="0">
                          <a:pos x="21" y="6"/>
                        </a:cxn>
                        <a:cxn ang="0">
                          <a:pos x="29" y="3"/>
                        </a:cxn>
                        <a:cxn ang="0">
                          <a:pos x="38" y="2"/>
                        </a:cxn>
                        <a:cxn ang="0">
                          <a:pos x="48" y="0"/>
                        </a:cxn>
                      </a:cxnLst>
                      <a:rect l="0" t="0" r="r" b="b"/>
                      <a:pathLst>
                        <a:path w="95" h="72">
                          <a:moveTo>
                            <a:pt x="48" y="0"/>
                          </a:moveTo>
                          <a:lnTo>
                            <a:pt x="57" y="2"/>
                          </a:lnTo>
                          <a:lnTo>
                            <a:pt x="66" y="3"/>
                          </a:lnTo>
                          <a:lnTo>
                            <a:pt x="74" y="6"/>
                          </a:lnTo>
                          <a:lnTo>
                            <a:pt x="81" y="11"/>
                          </a:lnTo>
                          <a:lnTo>
                            <a:pt x="87" y="16"/>
                          </a:lnTo>
                          <a:lnTo>
                            <a:pt x="91" y="22"/>
                          </a:lnTo>
                          <a:lnTo>
                            <a:pt x="94" y="29"/>
                          </a:lnTo>
                          <a:lnTo>
                            <a:pt x="95" y="36"/>
                          </a:lnTo>
                          <a:lnTo>
                            <a:pt x="94" y="43"/>
                          </a:lnTo>
                          <a:lnTo>
                            <a:pt x="91" y="50"/>
                          </a:lnTo>
                          <a:lnTo>
                            <a:pt x="87" y="56"/>
                          </a:lnTo>
                          <a:lnTo>
                            <a:pt x="81" y="61"/>
                          </a:lnTo>
                          <a:lnTo>
                            <a:pt x="74" y="66"/>
                          </a:lnTo>
                          <a:lnTo>
                            <a:pt x="66" y="69"/>
                          </a:lnTo>
                          <a:lnTo>
                            <a:pt x="57" y="71"/>
                          </a:lnTo>
                          <a:lnTo>
                            <a:pt x="48" y="72"/>
                          </a:lnTo>
                          <a:lnTo>
                            <a:pt x="38" y="71"/>
                          </a:lnTo>
                          <a:lnTo>
                            <a:pt x="29" y="69"/>
                          </a:lnTo>
                          <a:lnTo>
                            <a:pt x="21" y="66"/>
                          </a:lnTo>
                          <a:lnTo>
                            <a:pt x="14" y="61"/>
                          </a:lnTo>
                          <a:lnTo>
                            <a:pt x="8" y="56"/>
                          </a:lnTo>
                          <a:lnTo>
                            <a:pt x="4" y="50"/>
                          </a:lnTo>
                          <a:lnTo>
                            <a:pt x="2" y="43"/>
                          </a:lnTo>
                          <a:lnTo>
                            <a:pt x="0" y="36"/>
                          </a:lnTo>
                          <a:lnTo>
                            <a:pt x="2" y="29"/>
                          </a:lnTo>
                          <a:lnTo>
                            <a:pt x="4" y="22"/>
                          </a:lnTo>
                          <a:lnTo>
                            <a:pt x="8" y="16"/>
                          </a:lnTo>
                          <a:lnTo>
                            <a:pt x="14" y="11"/>
                          </a:lnTo>
                          <a:lnTo>
                            <a:pt x="21" y="6"/>
                          </a:lnTo>
                          <a:lnTo>
                            <a:pt x="29" y="3"/>
                          </a:lnTo>
                          <a:lnTo>
                            <a:pt x="38" y="2"/>
                          </a:lnTo>
                          <a:lnTo>
                            <a:pt x="48" y="0"/>
                          </a:lnTo>
                          <a:close/>
                        </a:path>
                      </a:pathLst>
                    </a:custGeom>
                    <a:solidFill>
                      <a:srgbClr val="E6E6E6">
                        <a:lumMod val="10000"/>
                      </a:srgbClr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pPr fontAlgn="auto">
                        <a:spcBef>
                          <a:spcPts val="0"/>
                        </a:spcBef>
                        <a:spcAft>
                          <a:spcPts val="0"/>
                        </a:spcAft>
                        <a:defRPr/>
                      </a:pPr>
                      <a:endParaRPr lang="da-DK" kern="0">
                        <a:solidFill>
                          <a:sysClr val="windowText" lastClr="000000"/>
                        </a:solidFill>
                        <a:latin typeface="+mn-lt"/>
                        <a:ea typeface="ＭＳ Ｐゴシック" pitchFamily="-97" charset="-128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39" name="Gruppe 813"/>
                  <p:cNvGrpSpPr/>
                  <p:nvPr/>
                </p:nvGrpSpPr>
                <p:grpSpPr>
                  <a:xfrm>
                    <a:off x="1090613" y="3975112"/>
                    <a:ext cx="617921" cy="1727207"/>
                    <a:chOff x="3656013" y="3433763"/>
                    <a:chExt cx="684213" cy="1912498"/>
                  </a:xfrm>
                  <a:solidFill>
                    <a:srgbClr val="FFFFFF">
                      <a:alpha val="9000"/>
                    </a:srgbClr>
                  </a:solidFill>
                </p:grpSpPr>
                <p:sp>
                  <p:nvSpPr>
                    <p:cNvPr id="240" name="Freeform 316"/>
                    <p:cNvSpPr>
                      <a:spLocks/>
                    </p:cNvSpPr>
                    <p:nvPr/>
                  </p:nvSpPr>
                  <p:spPr bwMode="auto">
                    <a:xfrm>
                      <a:off x="3824288" y="3986213"/>
                      <a:ext cx="365125" cy="65088"/>
                    </a:xfrm>
                    <a:custGeom>
                      <a:avLst/>
                      <a:gdLst/>
                      <a:ahLst/>
                      <a:cxnLst>
                        <a:cxn ang="0">
                          <a:pos x="13" y="0"/>
                        </a:cxn>
                        <a:cxn ang="0">
                          <a:pos x="26" y="6"/>
                        </a:cxn>
                        <a:cxn ang="0">
                          <a:pos x="39" y="13"/>
                        </a:cxn>
                        <a:cxn ang="0">
                          <a:pos x="52" y="16"/>
                        </a:cxn>
                        <a:cxn ang="0">
                          <a:pos x="65" y="19"/>
                        </a:cxn>
                        <a:cxn ang="0">
                          <a:pos x="78" y="22"/>
                        </a:cxn>
                        <a:cxn ang="0">
                          <a:pos x="93" y="23"/>
                        </a:cxn>
                        <a:cxn ang="0">
                          <a:pos x="106" y="24"/>
                        </a:cxn>
                        <a:cxn ang="0">
                          <a:pos x="120" y="23"/>
                        </a:cxn>
                        <a:cxn ang="0">
                          <a:pos x="134" y="22"/>
                        </a:cxn>
                        <a:cxn ang="0">
                          <a:pos x="147" y="20"/>
                        </a:cxn>
                        <a:cxn ang="0">
                          <a:pos x="161" y="18"/>
                        </a:cxn>
                        <a:cxn ang="0">
                          <a:pos x="176" y="15"/>
                        </a:cxn>
                        <a:cxn ang="0">
                          <a:pos x="189" y="13"/>
                        </a:cxn>
                        <a:cxn ang="0">
                          <a:pos x="203" y="9"/>
                        </a:cxn>
                        <a:cxn ang="0">
                          <a:pos x="216" y="6"/>
                        </a:cxn>
                        <a:cxn ang="0">
                          <a:pos x="230" y="2"/>
                        </a:cxn>
                        <a:cxn ang="0">
                          <a:pos x="230" y="15"/>
                        </a:cxn>
                        <a:cxn ang="0">
                          <a:pos x="221" y="19"/>
                        </a:cxn>
                        <a:cxn ang="0">
                          <a:pos x="212" y="23"/>
                        </a:cxn>
                        <a:cxn ang="0">
                          <a:pos x="200" y="27"/>
                        </a:cxn>
                        <a:cxn ang="0">
                          <a:pos x="189" y="29"/>
                        </a:cxn>
                        <a:cxn ang="0">
                          <a:pos x="174" y="33"/>
                        </a:cxn>
                        <a:cxn ang="0">
                          <a:pos x="161" y="36"/>
                        </a:cxn>
                        <a:cxn ang="0">
                          <a:pos x="146" y="39"/>
                        </a:cxn>
                        <a:cxn ang="0">
                          <a:pos x="132" y="41"/>
                        </a:cxn>
                        <a:cxn ang="0">
                          <a:pos x="115" y="41"/>
                        </a:cxn>
                        <a:cxn ang="0">
                          <a:pos x="99" y="41"/>
                        </a:cxn>
                        <a:cxn ang="0">
                          <a:pos x="82" y="40"/>
                        </a:cxn>
                        <a:cxn ang="0">
                          <a:pos x="65" y="37"/>
                        </a:cxn>
                        <a:cxn ang="0">
                          <a:pos x="50" y="32"/>
                        </a:cxn>
                        <a:cxn ang="0">
                          <a:pos x="33" y="27"/>
                        </a:cxn>
                        <a:cxn ang="0">
                          <a:pos x="16" y="19"/>
                        </a:cxn>
                        <a:cxn ang="0">
                          <a:pos x="0" y="9"/>
                        </a:cxn>
                        <a:cxn ang="0">
                          <a:pos x="13" y="0"/>
                        </a:cxn>
                      </a:cxnLst>
                      <a:rect l="0" t="0" r="r" b="b"/>
                      <a:pathLst>
                        <a:path w="230" h="41">
                          <a:moveTo>
                            <a:pt x="13" y="0"/>
                          </a:moveTo>
                          <a:lnTo>
                            <a:pt x="26" y="6"/>
                          </a:lnTo>
                          <a:lnTo>
                            <a:pt x="39" y="13"/>
                          </a:lnTo>
                          <a:lnTo>
                            <a:pt x="52" y="16"/>
                          </a:lnTo>
                          <a:lnTo>
                            <a:pt x="65" y="19"/>
                          </a:lnTo>
                          <a:lnTo>
                            <a:pt x="78" y="22"/>
                          </a:lnTo>
                          <a:lnTo>
                            <a:pt x="93" y="23"/>
                          </a:lnTo>
                          <a:lnTo>
                            <a:pt x="106" y="24"/>
                          </a:lnTo>
                          <a:lnTo>
                            <a:pt x="120" y="23"/>
                          </a:lnTo>
                          <a:lnTo>
                            <a:pt x="134" y="22"/>
                          </a:lnTo>
                          <a:lnTo>
                            <a:pt x="147" y="20"/>
                          </a:lnTo>
                          <a:lnTo>
                            <a:pt x="161" y="18"/>
                          </a:lnTo>
                          <a:lnTo>
                            <a:pt x="176" y="15"/>
                          </a:lnTo>
                          <a:lnTo>
                            <a:pt x="189" y="13"/>
                          </a:lnTo>
                          <a:lnTo>
                            <a:pt x="203" y="9"/>
                          </a:lnTo>
                          <a:lnTo>
                            <a:pt x="216" y="6"/>
                          </a:lnTo>
                          <a:lnTo>
                            <a:pt x="230" y="2"/>
                          </a:lnTo>
                          <a:lnTo>
                            <a:pt x="230" y="15"/>
                          </a:lnTo>
                          <a:lnTo>
                            <a:pt x="221" y="19"/>
                          </a:lnTo>
                          <a:lnTo>
                            <a:pt x="212" y="23"/>
                          </a:lnTo>
                          <a:lnTo>
                            <a:pt x="200" y="27"/>
                          </a:lnTo>
                          <a:lnTo>
                            <a:pt x="189" y="29"/>
                          </a:lnTo>
                          <a:lnTo>
                            <a:pt x="174" y="33"/>
                          </a:lnTo>
                          <a:lnTo>
                            <a:pt x="161" y="36"/>
                          </a:lnTo>
                          <a:lnTo>
                            <a:pt x="146" y="39"/>
                          </a:lnTo>
                          <a:lnTo>
                            <a:pt x="132" y="41"/>
                          </a:lnTo>
                          <a:lnTo>
                            <a:pt x="115" y="41"/>
                          </a:lnTo>
                          <a:lnTo>
                            <a:pt x="99" y="41"/>
                          </a:lnTo>
                          <a:lnTo>
                            <a:pt x="82" y="40"/>
                          </a:lnTo>
                          <a:lnTo>
                            <a:pt x="65" y="37"/>
                          </a:lnTo>
                          <a:lnTo>
                            <a:pt x="50" y="32"/>
                          </a:lnTo>
                          <a:lnTo>
                            <a:pt x="33" y="27"/>
                          </a:lnTo>
                          <a:lnTo>
                            <a:pt x="16" y="19"/>
                          </a:lnTo>
                          <a:lnTo>
                            <a:pt x="0" y="9"/>
                          </a:lnTo>
                          <a:lnTo>
                            <a:pt x="13" y="0"/>
                          </a:lnTo>
                          <a:close/>
                        </a:path>
                      </a:pathLst>
                    </a:custGeom>
                    <a:grpFill/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pPr fontAlgn="auto">
                        <a:spcBef>
                          <a:spcPts val="0"/>
                        </a:spcBef>
                        <a:spcAft>
                          <a:spcPts val="0"/>
                        </a:spcAft>
                        <a:defRPr/>
                      </a:pPr>
                      <a:endParaRPr lang="da-DK" kern="0">
                        <a:solidFill>
                          <a:sysClr val="windowText" lastClr="000000"/>
                        </a:solidFill>
                        <a:latin typeface="+mn-lt"/>
                        <a:ea typeface="ＭＳ Ｐゴシック" pitchFamily="-97" charset="-128"/>
                        <a:cs typeface="+mn-cs"/>
                      </a:endParaRPr>
                    </a:p>
                  </p:txBody>
                </p:sp>
                <p:sp>
                  <p:nvSpPr>
                    <p:cNvPr id="241" name="Freeform 330"/>
                    <p:cNvSpPr>
                      <a:spLocks/>
                    </p:cNvSpPr>
                    <p:nvPr/>
                  </p:nvSpPr>
                  <p:spPr bwMode="auto">
                    <a:xfrm>
                      <a:off x="3656013" y="4872038"/>
                      <a:ext cx="684213" cy="173038"/>
                    </a:xfrm>
                    <a:custGeom>
                      <a:avLst/>
                      <a:gdLst/>
                      <a:ahLst/>
                      <a:cxnLst>
                        <a:cxn ang="0">
                          <a:pos x="27" y="5"/>
                        </a:cxn>
                        <a:cxn ang="0">
                          <a:pos x="77" y="45"/>
                        </a:cxn>
                        <a:cxn ang="0">
                          <a:pos x="100" y="51"/>
                        </a:cxn>
                        <a:cxn ang="0">
                          <a:pos x="122" y="54"/>
                        </a:cxn>
                        <a:cxn ang="0">
                          <a:pos x="143" y="60"/>
                        </a:cxn>
                        <a:cxn ang="0">
                          <a:pos x="162" y="62"/>
                        </a:cxn>
                        <a:cxn ang="0">
                          <a:pos x="180" y="65"/>
                        </a:cxn>
                        <a:cxn ang="0">
                          <a:pos x="199" y="67"/>
                        </a:cxn>
                        <a:cxn ang="0">
                          <a:pos x="217" y="67"/>
                        </a:cxn>
                        <a:cxn ang="0">
                          <a:pos x="234" y="67"/>
                        </a:cxn>
                        <a:cxn ang="0">
                          <a:pos x="251" y="66"/>
                        </a:cxn>
                        <a:cxn ang="0">
                          <a:pos x="267" y="65"/>
                        </a:cxn>
                        <a:cxn ang="0">
                          <a:pos x="286" y="61"/>
                        </a:cxn>
                        <a:cxn ang="0">
                          <a:pos x="304" y="57"/>
                        </a:cxn>
                        <a:cxn ang="0">
                          <a:pos x="322" y="52"/>
                        </a:cxn>
                        <a:cxn ang="0">
                          <a:pos x="343" y="44"/>
                        </a:cxn>
                        <a:cxn ang="0">
                          <a:pos x="363" y="36"/>
                        </a:cxn>
                        <a:cxn ang="0">
                          <a:pos x="386" y="26"/>
                        </a:cxn>
                        <a:cxn ang="0">
                          <a:pos x="392" y="12"/>
                        </a:cxn>
                        <a:cxn ang="0">
                          <a:pos x="397" y="4"/>
                        </a:cxn>
                        <a:cxn ang="0">
                          <a:pos x="401" y="0"/>
                        </a:cxn>
                        <a:cxn ang="0">
                          <a:pos x="405" y="1"/>
                        </a:cxn>
                        <a:cxn ang="0">
                          <a:pos x="409" y="5"/>
                        </a:cxn>
                        <a:cxn ang="0">
                          <a:pos x="414" y="13"/>
                        </a:cxn>
                        <a:cxn ang="0">
                          <a:pos x="422" y="23"/>
                        </a:cxn>
                        <a:cxn ang="0">
                          <a:pos x="431" y="36"/>
                        </a:cxn>
                        <a:cxn ang="0">
                          <a:pos x="413" y="62"/>
                        </a:cxn>
                        <a:cxn ang="0">
                          <a:pos x="393" y="74"/>
                        </a:cxn>
                        <a:cxn ang="0">
                          <a:pos x="371" y="83"/>
                        </a:cxn>
                        <a:cxn ang="0">
                          <a:pos x="349" y="91"/>
                        </a:cxn>
                        <a:cxn ang="0">
                          <a:pos x="325" y="97"/>
                        </a:cxn>
                        <a:cxn ang="0">
                          <a:pos x="300" y="103"/>
                        </a:cxn>
                        <a:cxn ang="0">
                          <a:pos x="274" y="106"/>
                        </a:cxn>
                        <a:cxn ang="0">
                          <a:pos x="247" y="109"/>
                        </a:cxn>
                        <a:cxn ang="0">
                          <a:pos x="221" y="109"/>
                        </a:cxn>
                        <a:cxn ang="0">
                          <a:pos x="193" y="109"/>
                        </a:cxn>
                        <a:cxn ang="0">
                          <a:pos x="166" y="108"/>
                        </a:cxn>
                        <a:cxn ang="0">
                          <a:pos x="140" y="104"/>
                        </a:cxn>
                        <a:cxn ang="0">
                          <a:pos x="114" y="100"/>
                        </a:cxn>
                        <a:cxn ang="0">
                          <a:pos x="88" y="95"/>
                        </a:cxn>
                        <a:cxn ang="0">
                          <a:pos x="65" y="90"/>
                        </a:cxn>
                        <a:cxn ang="0">
                          <a:pos x="42" y="82"/>
                        </a:cxn>
                        <a:cxn ang="0">
                          <a:pos x="21" y="74"/>
                        </a:cxn>
                        <a:cxn ang="0">
                          <a:pos x="13" y="64"/>
                        </a:cxn>
                        <a:cxn ang="0">
                          <a:pos x="7" y="53"/>
                        </a:cxn>
                        <a:cxn ang="0">
                          <a:pos x="3" y="43"/>
                        </a:cxn>
                        <a:cxn ang="0">
                          <a:pos x="0" y="32"/>
                        </a:cxn>
                        <a:cxn ang="0">
                          <a:pos x="0" y="23"/>
                        </a:cxn>
                        <a:cxn ang="0">
                          <a:pos x="5" y="16"/>
                        </a:cxn>
                        <a:cxn ang="0">
                          <a:pos x="13" y="9"/>
                        </a:cxn>
                        <a:cxn ang="0">
                          <a:pos x="27" y="5"/>
                        </a:cxn>
                      </a:cxnLst>
                      <a:rect l="0" t="0" r="r" b="b"/>
                      <a:pathLst>
                        <a:path w="431" h="109">
                          <a:moveTo>
                            <a:pt x="27" y="5"/>
                          </a:moveTo>
                          <a:lnTo>
                            <a:pt x="77" y="45"/>
                          </a:lnTo>
                          <a:lnTo>
                            <a:pt x="100" y="51"/>
                          </a:lnTo>
                          <a:lnTo>
                            <a:pt x="122" y="54"/>
                          </a:lnTo>
                          <a:lnTo>
                            <a:pt x="143" y="60"/>
                          </a:lnTo>
                          <a:lnTo>
                            <a:pt x="162" y="62"/>
                          </a:lnTo>
                          <a:lnTo>
                            <a:pt x="180" y="65"/>
                          </a:lnTo>
                          <a:lnTo>
                            <a:pt x="199" y="67"/>
                          </a:lnTo>
                          <a:lnTo>
                            <a:pt x="217" y="67"/>
                          </a:lnTo>
                          <a:lnTo>
                            <a:pt x="234" y="67"/>
                          </a:lnTo>
                          <a:lnTo>
                            <a:pt x="251" y="66"/>
                          </a:lnTo>
                          <a:lnTo>
                            <a:pt x="267" y="65"/>
                          </a:lnTo>
                          <a:lnTo>
                            <a:pt x="286" y="61"/>
                          </a:lnTo>
                          <a:lnTo>
                            <a:pt x="304" y="57"/>
                          </a:lnTo>
                          <a:lnTo>
                            <a:pt x="322" y="52"/>
                          </a:lnTo>
                          <a:lnTo>
                            <a:pt x="343" y="44"/>
                          </a:lnTo>
                          <a:lnTo>
                            <a:pt x="363" y="36"/>
                          </a:lnTo>
                          <a:lnTo>
                            <a:pt x="386" y="26"/>
                          </a:lnTo>
                          <a:lnTo>
                            <a:pt x="392" y="12"/>
                          </a:lnTo>
                          <a:lnTo>
                            <a:pt x="397" y="4"/>
                          </a:lnTo>
                          <a:lnTo>
                            <a:pt x="401" y="0"/>
                          </a:lnTo>
                          <a:lnTo>
                            <a:pt x="405" y="1"/>
                          </a:lnTo>
                          <a:lnTo>
                            <a:pt x="409" y="5"/>
                          </a:lnTo>
                          <a:lnTo>
                            <a:pt x="414" y="13"/>
                          </a:lnTo>
                          <a:lnTo>
                            <a:pt x="422" y="23"/>
                          </a:lnTo>
                          <a:lnTo>
                            <a:pt x="431" y="36"/>
                          </a:lnTo>
                          <a:lnTo>
                            <a:pt x="413" y="62"/>
                          </a:lnTo>
                          <a:lnTo>
                            <a:pt x="393" y="74"/>
                          </a:lnTo>
                          <a:lnTo>
                            <a:pt x="371" y="83"/>
                          </a:lnTo>
                          <a:lnTo>
                            <a:pt x="349" y="91"/>
                          </a:lnTo>
                          <a:lnTo>
                            <a:pt x="325" y="97"/>
                          </a:lnTo>
                          <a:lnTo>
                            <a:pt x="300" y="103"/>
                          </a:lnTo>
                          <a:lnTo>
                            <a:pt x="274" y="106"/>
                          </a:lnTo>
                          <a:lnTo>
                            <a:pt x="247" y="109"/>
                          </a:lnTo>
                          <a:lnTo>
                            <a:pt x="221" y="109"/>
                          </a:lnTo>
                          <a:lnTo>
                            <a:pt x="193" y="109"/>
                          </a:lnTo>
                          <a:lnTo>
                            <a:pt x="166" y="108"/>
                          </a:lnTo>
                          <a:lnTo>
                            <a:pt x="140" y="104"/>
                          </a:lnTo>
                          <a:lnTo>
                            <a:pt x="114" y="100"/>
                          </a:lnTo>
                          <a:lnTo>
                            <a:pt x="88" y="95"/>
                          </a:lnTo>
                          <a:lnTo>
                            <a:pt x="65" y="90"/>
                          </a:lnTo>
                          <a:lnTo>
                            <a:pt x="42" y="82"/>
                          </a:lnTo>
                          <a:lnTo>
                            <a:pt x="21" y="74"/>
                          </a:lnTo>
                          <a:lnTo>
                            <a:pt x="13" y="64"/>
                          </a:lnTo>
                          <a:lnTo>
                            <a:pt x="7" y="53"/>
                          </a:lnTo>
                          <a:lnTo>
                            <a:pt x="3" y="43"/>
                          </a:lnTo>
                          <a:lnTo>
                            <a:pt x="0" y="32"/>
                          </a:lnTo>
                          <a:lnTo>
                            <a:pt x="0" y="23"/>
                          </a:lnTo>
                          <a:lnTo>
                            <a:pt x="5" y="16"/>
                          </a:lnTo>
                          <a:lnTo>
                            <a:pt x="13" y="9"/>
                          </a:lnTo>
                          <a:lnTo>
                            <a:pt x="27" y="5"/>
                          </a:lnTo>
                          <a:close/>
                        </a:path>
                      </a:pathLst>
                    </a:custGeom>
                    <a:grpFill/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pPr fontAlgn="auto">
                        <a:spcBef>
                          <a:spcPts val="0"/>
                        </a:spcBef>
                        <a:spcAft>
                          <a:spcPts val="0"/>
                        </a:spcAft>
                        <a:defRPr/>
                      </a:pPr>
                      <a:endParaRPr lang="da-DK" kern="0">
                        <a:solidFill>
                          <a:sysClr val="windowText" lastClr="000000"/>
                        </a:solidFill>
                        <a:latin typeface="+mn-lt"/>
                        <a:ea typeface="ＭＳ Ｐゴシック" pitchFamily="-97" charset="-128"/>
                        <a:cs typeface="+mn-cs"/>
                      </a:endParaRPr>
                    </a:p>
                  </p:txBody>
                </p:sp>
                <p:sp>
                  <p:nvSpPr>
                    <p:cNvPr id="242" name="Freeform 336"/>
                    <p:cNvSpPr>
                      <a:spLocks/>
                    </p:cNvSpPr>
                    <p:nvPr/>
                  </p:nvSpPr>
                  <p:spPr bwMode="auto">
                    <a:xfrm>
                      <a:off x="3781425" y="5231961"/>
                      <a:ext cx="490538" cy="114300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29"/>
                        </a:cxn>
                        <a:cxn ang="0">
                          <a:pos x="3" y="37"/>
                        </a:cxn>
                        <a:cxn ang="0">
                          <a:pos x="7" y="45"/>
                        </a:cxn>
                        <a:cxn ang="0">
                          <a:pos x="11" y="53"/>
                        </a:cxn>
                        <a:cxn ang="0">
                          <a:pos x="15" y="61"/>
                        </a:cxn>
                        <a:cxn ang="0">
                          <a:pos x="22" y="62"/>
                        </a:cxn>
                        <a:cxn ang="0">
                          <a:pos x="29" y="63"/>
                        </a:cxn>
                        <a:cxn ang="0">
                          <a:pos x="37" y="65"/>
                        </a:cxn>
                        <a:cxn ang="0">
                          <a:pos x="44" y="66"/>
                        </a:cxn>
                        <a:cxn ang="0">
                          <a:pos x="51" y="67"/>
                        </a:cxn>
                        <a:cxn ang="0">
                          <a:pos x="59" y="68"/>
                        </a:cxn>
                        <a:cxn ang="0">
                          <a:pos x="65" y="71"/>
                        </a:cxn>
                        <a:cxn ang="0">
                          <a:pos x="73" y="72"/>
                        </a:cxn>
                        <a:cxn ang="0">
                          <a:pos x="91" y="72"/>
                        </a:cxn>
                        <a:cxn ang="0">
                          <a:pos x="109" y="71"/>
                        </a:cxn>
                        <a:cxn ang="0">
                          <a:pos x="127" y="71"/>
                        </a:cxn>
                        <a:cxn ang="0">
                          <a:pos x="146" y="70"/>
                        </a:cxn>
                        <a:cxn ang="0">
                          <a:pos x="164" y="70"/>
                        </a:cxn>
                        <a:cxn ang="0">
                          <a:pos x="183" y="68"/>
                        </a:cxn>
                        <a:cxn ang="0">
                          <a:pos x="201" y="68"/>
                        </a:cxn>
                        <a:cxn ang="0">
                          <a:pos x="220" y="67"/>
                        </a:cxn>
                        <a:cxn ang="0">
                          <a:pos x="231" y="65"/>
                        </a:cxn>
                        <a:cxn ang="0">
                          <a:pos x="242" y="61"/>
                        </a:cxn>
                        <a:cxn ang="0">
                          <a:pos x="253" y="58"/>
                        </a:cxn>
                        <a:cxn ang="0">
                          <a:pos x="265" y="54"/>
                        </a:cxn>
                        <a:cxn ang="0">
                          <a:pos x="275" y="52"/>
                        </a:cxn>
                        <a:cxn ang="0">
                          <a:pos x="287" y="48"/>
                        </a:cxn>
                        <a:cxn ang="0">
                          <a:pos x="297" y="45"/>
                        </a:cxn>
                        <a:cxn ang="0">
                          <a:pos x="309" y="41"/>
                        </a:cxn>
                        <a:cxn ang="0">
                          <a:pos x="309" y="26"/>
                        </a:cxn>
                        <a:cxn ang="0">
                          <a:pos x="307" y="13"/>
                        </a:cxn>
                        <a:cxn ang="0">
                          <a:pos x="303" y="5"/>
                        </a:cxn>
                        <a:cxn ang="0">
                          <a:pos x="297" y="1"/>
                        </a:cxn>
                        <a:cxn ang="0">
                          <a:pos x="290" y="0"/>
                        </a:cxn>
                        <a:cxn ang="0">
                          <a:pos x="279" y="0"/>
                        </a:cxn>
                        <a:cxn ang="0">
                          <a:pos x="268" y="4"/>
                        </a:cxn>
                        <a:cxn ang="0">
                          <a:pos x="252" y="9"/>
                        </a:cxn>
                        <a:cxn ang="0">
                          <a:pos x="242" y="9"/>
                        </a:cxn>
                        <a:cxn ang="0">
                          <a:pos x="231" y="10"/>
                        </a:cxn>
                        <a:cxn ang="0">
                          <a:pos x="221" y="10"/>
                        </a:cxn>
                        <a:cxn ang="0">
                          <a:pos x="211" y="10"/>
                        </a:cxn>
                        <a:cxn ang="0">
                          <a:pos x="200" y="10"/>
                        </a:cxn>
                        <a:cxn ang="0">
                          <a:pos x="188" y="10"/>
                        </a:cxn>
                        <a:cxn ang="0">
                          <a:pos x="178" y="11"/>
                        </a:cxn>
                        <a:cxn ang="0">
                          <a:pos x="168" y="11"/>
                        </a:cxn>
                        <a:cxn ang="0">
                          <a:pos x="140" y="10"/>
                        </a:cxn>
                        <a:cxn ang="0">
                          <a:pos x="116" y="9"/>
                        </a:cxn>
                        <a:cxn ang="0">
                          <a:pos x="96" y="6"/>
                        </a:cxn>
                        <a:cxn ang="0">
                          <a:pos x="77" y="5"/>
                        </a:cxn>
                        <a:cxn ang="0">
                          <a:pos x="60" y="6"/>
                        </a:cxn>
                        <a:cxn ang="0">
                          <a:pos x="42" y="9"/>
                        </a:cxn>
                        <a:cxn ang="0">
                          <a:pos x="22" y="16"/>
                        </a:cxn>
                        <a:cxn ang="0">
                          <a:pos x="0" y="29"/>
                        </a:cxn>
                      </a:cxnLst>
                      <a:rect l="0" t="0" r="r" b="b"/>
                      <a:pathLst>
                        <a:path w="309" h="72">
                          <a:moveTo>
                            <a:pt x="0" y="29"/>
                          </a:moveTo>
                          <a:lnTo>
                            <a:pt x="3" y="37"/>
                          </a:lnTo>
                          <a:lnTo>
                            <a:pt x="7" y="45"/>
                          </a:lnTo>
                          <a:lnTo>
                            <a:pt x="11" y="53"/>
                          </a:lnTo>
                          <a:lnTo>
                            <a:pt x="15" y="61"/>
                          </a:lnTo>
                          <a:lnTo>
                            <a:pt x="22" y="62"/>
                          </a:lnTo>
                          <a:lnTo>
                            <a:pt x="29" y="63"/>
                          </a:lnTo>
                          <a:lnTo>
                            <a:pt x="37" y="65"/>
                          </a:lnTo>
                          <a:lnTo>
                            <a:pt x="44" y="66"/>
                          </a:lnTo>
                          <a:lnTo>
                            <a:pt x="51" y="67"/>
                          </a:lnTo>
                          <a:lnTo>
                            <a:pt x="59" y="68"/>
                          </a:lnTo>
                          <a:lnTo>
                            <a:pt x="65" y="71"/>
                          </a:lnTo>
                          <a:lnTo>
                            <a:pt x="73" y="72"/>
                          </a:lnTo>
                          <a:lnTo>
                            <a:pt x="91" y="72"/>
                          </a:lnTo>
                          <a:lnTo>
                            <a:pt x="109" y="71"/>
                          </a:lnTo>
                          <a:lnTo>
                            <a:pt x="127" y="71"/>
                          </a:lnTo>
                          <a:lnTo>
                            <a:pt x="146" y="70"/>
                          </a:lnTo>
                          <a:lnTo>
                            <a:pt x="164" y="70"/>
                          </a:lnTo>
                          <a:lnTo>
                            <a:pt x="183" y="68"/>
                          </a:lnTo>
                          <a:lnTo>
                            <a:pt x="201" y="68"/>
                          </a:lnTo>
                          <a:lnTo>
                            <a:pt x="220" y="67"/>
                          </a:lnTo>
                          <a:lnTo>
                            <a:pt x="231" y="65"/>
                          </a:lnTo>
                          <a:lnTo>
                            <a:pt x="242" y="61"/>
                          </a:lnTo>
                          <a:lnTo>
                            <a:pt x="253" y="58"/>
                          </a:lnTo>
                          <a:lnTo>
                            <a:pt x="265" y="54"/>
                          </a:lnTo>
                          <a:lnTo>
                            <a:pt x="275" y="52"/>
                          </a:lnTo>
                          <a:lnTo>
                            <a:pt x="287" y="48"/>
                          </a:lnTo>
                          <a:lnTo>
                            <a:pt x="297" y="45"/>
                          </a:lnTo>
                          <a:lnTo>
                            <a:pt x="309" y="41"/>
                          </a:lnTo>
                          <a:lnTo>
                            <a:pt x="309" y="26"/>
                          </a:lnTo>
                          <a:lnTo>
                            <a:pt x="307" y="13"/>
                          </a:lnTo>
                          <a:lnTo>
                            <a:pt x="303" y="5"/>
                          </a:lnTo>
                          <a:lnTo>
                            <a:pt x="297" y="1"/>
                          </a:lnTo>
                          <a:lnTo>
                            <a:pt x="290" y="0"/>
                          </a:lnTo>
                          <a:lnTo>
                            <a:pt x="279" y="0"/>
                          </a:lnTo>
                          <a:lnTo>
                            <a:pt x="268" y="4"/>
                          </a:lnTo>
                          <a:lnTo>
                            <a:pt x="252" y="9"/>
                          </a:lnTo>
                          <a:lnTo>
                            <a:pt x="242" y="9"/>
                          </a:lnTo>
                          <a:lnTo>
                            <a:pt x="231" y="10"/>
                          </a:lnTo>
                          <a:lnTo>
                            <a:pt x="221" y="10"/>
                          </a:lnTo>
                          <a:lnTo>
                            <a:pt x="211" y="10"/>
                          </a:lnTo>
                          <a:lnTo>
                            <a:pt x="200" y="10"/>
                          </a:lnTo>
                          <a:lnTo>
                            <a:pt x="188" y="10"/>
                          </a:lnTo>
                          <a:lnTo>
                            <a:pt x="178" y="11"/>
                          </a:lnTo>
                          <a:lnTo>
                            <a:pt x="168" y="11"/>
                          </a:lnTo>
                          <a:lnTo>
                            <a:pt x="140" y="10"/>
                          </a:lnTo>
                          <a:lnTo>
                            <a:pt x="116" y="9"/>
                          </a:lnTo>
                          <a:lnTo>
                            <a:pt x="96" y="6"/>
                          </a:lnTo>
                          <a:lnTo>
                            <a:pt x="77" y="5"/>
                          </a:lnTo>
                          <a:lnTo>
                            <a:pt x="60" y="6"/>
                          </a:lnTo>
                          <a:lnTo>
                            <a:pt x="42" y="9"/>
                          </a:lnTo>
                          <a:lnTo>
                            <a:pt x="22" y="16"/>
                          </a:lnTo>
                          <a:lnTo>
                            <a:pt x="0" y="29"/>
                          </a:lnTo>
                          <a:close/>
                        </a:path>
                      </a:pathLst>
                    </a:custGeom>
                    <a:grpFill/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pPr fontAlgn="auto">
                        <a:spcBef>
                          <a:spcPts val="0"/>
                        </a:spcBef>
                        <a:spcAft>
                          <a:spcPts val="0"/>
                        </a:spcAft>
                        <a:defRPr/>
                      </a:pPr>
                      <a:endParaRPr lang="da-DK" kern="0">
                        <a:solidFill>
                          <a:sysClr val="windowText" lastClr="000000"/>
                        </a:solidFill>
                        <a:latin typeface="+mn-lt"/>
                        <a:ea typeface="ＭＳ Ｐゴシック" pitchFamily="-97" charset="-128"/>
                        <a:cs typeface="+mn-cs"/>
                      </a:endParaRPr>
                    </a:p>
                  </p:txBody>
                </p:sp>
                <p:sp>
                  <p:nvSpPr>
                    <p:cNvPr id="243" name="Freeform 353"/>
                    <p:cNvSpPr>
                      <a:spLocks/>
                    </p:cNvSpPr>
                    <p:nvPr/>
                  </p:nvSpPr>
                  <p:spPr bwMode="auto">
                    <a:xfrm>
                      <a:off x="3932238" y="4217988"/>
                      <a:ext cx="177800" cy="39688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11"/>
                        </a:cxn>
                        <a:cxn ang="0">
                          <a:pos x="5" y="17"/>
                        </a:cxn>
                        <a:cxn ang="0">
                          <a:pos x="26" y="25"/>
                        </a:cxn>
                        <a:cxn ang="0">
                          <a:pos x="80" y="20"/>
                        </a:cxn>
                        <a:cxn ang="0">
                          <a:pos x="112" y="13"/>
                        </a:cxn>
                        <a:cxn ang="0">
                          <a:pos x="110" y="4"/>
                        </a:cxn>
                        <a:cxn ang="0">
                          <a:pos x="108" y="0"/>
                        </a:cxn>
                        <a:cxn ang="0">
                          <a:pos x="103" y="2"/>
                        </a:cxn>
                        <a:cxn ang="0">
                          <a:pos x="92" y="4"/>
                        </a:cxn>
                        <a:cxn ang="0">
                          <a:pos x="61" y="6"/>
                        </a:cxn>
                        <a:cxn ang="0">
                          <a:pos x="51" y="6"/>
                        </a:cxn>
                        <a:cxn ang="0">
                          <a:pos x="43" y="4"/>
                        </a:cxn>
                        <a:cxn ang="0">
                          <a:pos x="35" y="4"/>
                        </a:cxn>
                        <a:cxn ang="0">
                          <a:pos x="29" y="3"/>
                        </a:cxn>
                        <a:cxn ang="0">
                          <a:pos x="22" y="3"/>
                        </a:cxn>
                        <a:cxn ang="0">
                          <a:pos x="14" y="4"/>
                        </a:cxn>
                        <a:cxn ang="0">
                          <a:pos x="8" y="7"/>
                        </a:cxn>
                        <a:cxn ang="0">
                          <a:pos x="0" y="11"/>
                        </a:cxn>
                      </a:cxnLst>
                      <a:rect l="0" t="0" r="r" b="b"/>
                      <a:pathLst>
                        <a:path w="112" h="25">
                          <a:moveTo>
                            <a:pt x="0" y="11"/>
                          </a:moveTo>
                          <a:lnTo>
                            <a:pt x="5" y="17"/>
                          </a:lnTo>
                          <a:lnTo>
                            <a:pt x="26" y="25"/>
                          </a:lnTo>
                          <a:lnTo>
                            <a:pt x="80" y="20"/>
                          </a:lnTo>
                          <a:lnTo>
                            <a:pt x="112" y="13"/>
                          </a:lnTo>
                          <a:lnTo>
                            <a:pt x="110" y="4"/>
                          </a:lnTo>
                          <a:lnTo>
                            <a:pt x="108" y="0"/>
                          </a:lnTo>
                          <a:lnTo>
                            <a:pt x="103" y="2"/>
                          </a:lnTo>
                          <a:lnTo>
                            <a:pt x="92" y="4"/>
                          </a:lnTo>
                          <a:lnTo>
                            <a:pt x="61" y="6"/>
                          </a:lnTo>
                          <a:lnTo>
                            <a:pt x="51" y="6"/>
                          </a:lnTo>
                          <a:lnTo>
                            <a:pt x="43" y="4"/>
                          </a:lnTo>
                          <a:lnTo>
                            <a:pt x="35" y="4"/>
                          </a:lnTo>
                          <a:lnTo>
                            <a:pt x="29" y="3"/>
                          </a:lnTo>
                          <a:lnTo>
                            <a:pt x="22" y="3"/>
                          </a:lnTo>
                          <a:lnTo>
                            <a:pt x="14" y="4"/>
                          </a:lnTo>
                          <a:lnTo>
                            <a:pt x="8" y="7"/>
                          </a:lnTo>
                          <a:lnTo>
                            <a:pt x="0" y="11"/>
                          </a:lnTo>
                          <a:close/>
                        </a:path>
                      </a:pathLst>
                    </a:custGeom>
                    <a:grpFill/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pPr fontAlgn="auto">
                        <a:spcBef>
                          <a:spcPts val="0"/>
                        </a:spcBef>
                        <a:spcAft>
                          <a:spcPts val="0"/>
                        </a:spcAft>
                        <a:defRPr/>
                      </a:pPr>
                      <a:endParaRPr lang="da-DK" kern="0">
                        <a:solidFill>
                          <a:sysClr val="windowText" lastClr="000000"/>
                        </a:solidFill>
                        <a:latin typeface="+mn-lt"/>
                        <a:ea typeface="ＭＳ Ｐゴシック" pitchFamily="-97" charset="-128"/>
                        <a:cs typeface="+mn-cs"/>
                      </a:endParaRPr>
                    </a:p>
                  </p:txBody>
                </p:sp>
                <p:sp>
                  <p:nvSpPr>
                    <p:cNvPr id="244" name="Freeform 367"/>
                    <p:cNvSpPr>
                      <a:spLocks/>
                    </p:cNvSpPr>
                    <p:nvPr/>
                  </p:nvSpPr>
                  <p:spPr bwMode="auto">
                    <a:xfrm>
                      <a:off x="3932238" y="3433763"/>
                      <a:ext cx="168275" cy="127000"/>
                    </a:xfrm>
                    <a:custGeom>
                      <a:avLst/>
                      <a:gdLst/>
                      <a:ahLst/>
                      <a:cxnLst>
                        <a:cxn ang="0">
                          <a:pos x="53" y="0"/>
                        </a:cxn>
                        <a:cxn ang="0">
                          <a:pos x="64" y="1"/>
                        </a:cxn>
                        <a:cxn ang="0">
                          <a:pos x="74" y="2"/>
                        </a:cxn>
                        <a:cxn ang="0">
                          <a:pos x="83" y="6"/>
                        </a:cxn>
                        <a:cxn ang="0">
                          <a:pos x="91" y="11"/>
                        </a:cxn>
                        <a:cxn ang="0">
                          <a:pos x="97" y="18"/>
                        </a:cxn>
                        <a:cxn ang="0">
                          <a:pos x="103" y="24"/>
                        </a:cxn>
                        <a:cxn ang="0">
                          <a:pos x="105" y="32"/>
                        </a:cxn>
                        <a:cxn ang="0">
                          <a:pos x="106" y="40"/>
                        </a:cxn>
                        <a:cxn ang="0">
                          <a:pos x="105" y="48"/>
                        </a:cxn>
                        <a:cxn ang="0">
                          <a:pos x="103" y="55"/>
                        </a:cxn>
                        <a:cxn ang="0">
                          <a:pos x="97" y="62"/>
                        </a:cxn>
                        <a:cxn ang="0">
                          <a:pos x="91" y="68"/>
                        </a:cxn>
                        <a:cxn ang="0">
                          <a:pos x="83" y="74"/>
                        </a:cxn>
                        <a:cxn ang="0">
                          <a:pos x="74" y="78"/>
                        </a:cxn>
                        <a:cxn ang="0">
                          <a:pos x="64" y="79"/>
                        </a:cxn>
                        <a:cxn ang="0">
                          <a:pos x="53" y="80"/>
                        </a:cxn>
                        <a:cxn ang="0">
                          <a:pos x="43" y="79"/>
                        </a:cxn>
                        <a:cxn ang="0">
                          <a:pos x="32" y="78"/>
                        </a:cxn>
                        <a:cxn ang="0">
                          <a:pos x="23" y="74"/>
                        </a:cxn>
                        <a:cxn ang="0">
                          <a:pos x="16" y="68"/>
                        </a:cxn>
                        <a:cxn ang="0">
                          <a:pos x="9" y="62"/>
                        </a:cxn>
                        <a:cxn ang="0">
                          <a:pos x="4" y="55"/>
                        </a:cxn>
                        <a:cxn ang="0">
                          <a:pos x="1" y="48"/>
                        </a:cxn>
                        <a:cxn ang="0">
                          <a:pos x="0" y="40"/>
                        </a:cxn>
                        <a:cxn ang="0">
                          <a:pos x="1" y="32"/>
                        </a:cxn>
                        <a:cxn ang="0">
                          <a:pos x="4" y="24"/>
                        </a:cxn>
                        <a:cxn ang="0">
                          <a:pos x="9" y="18"/>
                        </a:cxn>
                        <a:cxn ang="0">
                          <a:pos x="16" y="11"/>
                        </a:cxn>
                        <a:cxn ang="0">
                          <a:pos x="23" y="6"/>
                        </a:cxn>
                        <a:cxn ang="0">
                          <a:pos x="32" y="2"/>
                        </a:cxn>
                        <a:cxn ang="0">
                          <a:pos x="43" y="1"/>
                        </a:cxn>
                        <a:cxn ang="0">
                          <a:pos x="53" y="0"/>
                        </a:cxn>
                      </a:cxnLst>
                      <a:rect l="0" t="0" r="r" b="b"/>
                      <a:pathLst>
                        <a:path w="106" h="80">
                          <a:moveTo>
                            <a:pt x="53" y="0"/>
                          </a:moveTo>
                          <a:lnTo>
                            <a:pt x="64" y="1"/>
                          </a:lnTo>
                          <a:lnTo>
                            <a:pt x="74" y="2"/>
                          </a:lnTo>
                          <a:lnTo>
                            <a:pt x="83" y="6"/>
                          </a:lnTo>
                          <a:lnTo>
                            <a:pt x="91" y="11"/>
                          </a:lnTo>
                          <a:lnTo>
                            <a:pt x="97" y="18"/>
                          </a:lnTo>
                          <a:lnTo>
                            <a:pt x="103" y="24"/>
                          </a:lnTo>
                          <a:lnTo>
                            <a:pt x="105" y="32"/>
                          </a:lnTo>
                          <a:lnTo>
                            <a:pt x="106" y="40"/>
                          </a:lnTo>
                          <a:lnTo>
                            <a:pt x="105" y="48"/>
                          </a:lnTo>
                          <a:lnTo>
                            <a:pt x="103" y="55"/>
                          </a:lnTo>
                          <a:lnTo>
                            <a:pt x="97" y="62"/>
                          </a:lnTo>
                          <a:lnTo>
                            <a:pt x="91" y="68"/>
                          </a:lnTo>
                          <a:lnTo>
                            <a:pt x="83" y="74"/>
                          </a:lnTo>
                          <a:lnTo>
                            <a:pt x="74" y="78"/>
                          </a:lnTo>
                          <a:lnTo>
                            <a:pt x="64" y="79"/>
                          </a:lnTo>
                          <a:lnTo>
                            <a:pt x="53" y="80"/>
                          </a:lnTo>
                          <a:lnTo>
                            <a:pt x="43" y="79"/>
                          </a:lnTo>
                          <a:lnTo>
                            <a:pt x="32" y="78"/>
                          </a:lnTo>
                          <a:lnTo>
                            <a:pt x="23" y="74"/>
                          </a:lnTo>
                          <a:lnTo>
                            <a:pt x="16" y="68"/>
                          </a:lnTo>
                          <a:lnTo>
                            <a:pt x="9" y="62"/>
                          </a:lnTo>
                          <a:lnTo>
                            <a:pt x="4" y="55"/>
                          </a:lnTo>
                          <a:lnTo>
                            <a:pt x="1" y="48"/>
                          </a:lnTo>
                          <a:lnTo>
                            <a:pt x="0" y="40"/>
                          </a:lnTo>
                          <a:lnTo>
                            <a:pt x="1" y="32"/>
                          </a:lnTo>
                          <a:lnTo>
                            <a:pt x="4" y="24"/>
                          </a:lnTo>
                          <a:lnTo>
                            <a:pt x="9" y="18"/>
                          </a:lnTo>
                          <a:lnTo>
                            <a:pt x="16" y="11"/>
                          </a:lnTo>
                          <a:lnTo>
                            <a:pt x="23" y="6"/>
                          </a:lnTo>
                          <a:lnTo>
                            <a:pt x="32" y="2"/>
                          </a:lnTo>
                          <a:lnTo>
                            <a:pt x="43" y="1"/>
                          </a:lnTo>
                          <a:lnTo>
                            <a:pt x="53" y="0"/>
                          </a:lnTo>
                          <a:close/>
                        </a:path>
                      </a:pathLst>
                    </a:custGeom>
                    <a:grpFill/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pPr fontAlgn="auto">
                        <a:spcBef>
                          <a:spcPts val="0"/>
                        </a:spcBef>
                        <a:spcAft>
                          <a:spcPts val="0"/>
                        </a:spcAft>
                        <a:defRPr/>
                      </a:pPr>
                      <a:endParaRPr lang="da-DK" kern="0">
                        <a:solidFill>
                          <a:sysClr val="windowText" lastClr="000000"/>
                        </a:solidFill>
                        <a:latin typeface="+mn-lt"/>
                        <a:ea typeface="ＭＳ Ｐゴシック" pitchFamily="-97" charset="-128"/>
                        <a:cs typeface="+mn-cs"/>
                      </a:endParaRPr>
                    </a:p>
                  </p:txBody>
                </p:sp>
              </p:grpSp>
            </p:grpSp>
          </p:grpSp>
          <p:sp>
            <p:nvSpPr>
              <p:cNvPr id="235" name="Freeform 383"/>
              <p:cNvSpPr>
                <a:spLocks/>
              </p:cNvSpPr>
              <p:nvPr/>
            </p:nvSpPr>
            <p:spPr bwMode="auto">
              <a:xfrm>
                <a:off x="5553001" y="5275186"/>
                <a:ext cx="897637" cy="459253"/>
              </a:xfrm>
              <a:custGeom>
                <a:avLst/>
                <a:gdLst/>
                <a:ahLst/>
                <a:cxnLst>
                  <a:cxn ang="0">
                    <a:pos x="780" y="350"/>
                  </a:cxn>
                  <a:cxn ang="0">
                    <a:pos x="808" y="10"/>
                  </a:cxn>
                  <a:cxn ang="0">
                    <a:pos x="644" y="12"/>
                  </a:cxn>
                  <a:cxn ang="0">
                    <a:pos x="644" y="140"/>
                  </a:cxn>
                  <a:cxn ang="0">
                    <a:pos x="520" y="130"/>
                  </a:cxn>
                  <a:cxn ang="0">
                    <a:pos x="510" y="8"/>
                  </a:cxn>
                  <a:cxn ang="0">
                    <a:pos x="330" y="0"/>
                  </a:cxn>
                  <a:cxn ang="0">
                    <a:pos x="336" y="132"/>
                  </a:cxn>
                  <a:cxn ang="0">
                    <a:pos x="206" y="134"/>
                  </a:cxn>
                  <a:cxn ang="0">
                    <a:pos x="202" y="4"/>
                  </a:cxn>
                  <a:cxn ang="0">
                    <a:pos x="0" y="18"/>
                  </a:cxn>
                  <a:cxn ang="0">
                    <a:pos x="24" y="342"/>
                  </a:cxn>
                  <a:cxn ang="0">
                    <a:pos x="130" y="400"/>
                  </a:cxn>
                  <a:cxn ang="0">
                    <a:pos x="688" y="400"/>
                  </a:cxn>
                  <a:cxn ang="0">
                    <a:pos x="780" y="350"/>
                  </a:cxn>
                </a:cxnLst>
                <a:rect l="0" t="0" r="r" b="b"/>
                <a:pathLst>
                  <a:path w="808" h="400">
                    <a:moveTo>
                      <a:pt x="780" y="350"/>
                    </a:moveTo>
                    <a:lnTo>
                      <a:pt x="808" y="10"/>
                    </a:lnTo>
                    <a:lnTo>
                      <a:pt x="644" y="12"/>
                    </a:lnTo>
                    <a:lnTo>
                      <a:pt x="644" y="140"/>
                    </a:lnTo>
                    <a:lnTo>
                      <a:pt x="520" y="130"/>
                    </a:lnTo>
                    <a:lnTo>
                      <a:pt x="510" y="8"/>
                    </a:lnTo>
                    <a:lnTo>
                      <a:pt x="330" y="0"/>
                    </a:lnTo>
                    <a:lnTo>
                      <a:pt x="336" y="132"/>
                    </a:lnTo>
                    <a:lnTo>
                      <a:pt x="206" y="134"/>
                    </a:lnTo>
                    <a:lnTo>
                      <a:pt x="202" y="4"/>
                    </a:lnTo>
                    <a:lnTo>
                      <a:pt x="0" y="18"/>
                    </a:lnTo>
                    <a:lnTo>
                      <a:pt x="24" y="342"/>
                    </a:lnTo>
                    <a:lnTo>
                      <a:pt x="130" y="400"/>
                    </a:lnTo>
                    <a:lnTo>
                      <a:pt x="688" y="400"/>
                    </a:lnTo>
                    <a:lnTo>
                      <a:pt x="780" y="350"/>
                    </a:lnTo>
                    <a:close/>
                  </a:path>
                </a:pathLst>
              </a:custGeom>
              <a:gradFill flip="none" rotWithShape="1">
                <a:gsLst>
                  <a:gs pos="100000">
                    <a:srgbClr val="E6E6E6"/>
                  </a:gs>
                  <a:gs pos="44000">
                    <a:srgbClr val="080808"/>
                  </a:gs>
                  <a:gs pos="48000">
                    <a:srgbClr val="080808"/>
                  </a:gs>
                </a:gsLst>
                <a:lin ang="0" scaled="1"/>
                <a:tileRect/>
              </a:gradFill>
              <a:ln w="9525" cap="flat" cmpd="sng" algn="ctr">
                <a:noFill/>
                <a:prstDash val="solid"/>
              </a:ln>
              <a:effectLst/>
            </p:spPr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>
                  <a:solidFill>
                    <a:sysClr val="window" lastClr="FFFFFF"/>
                  </a:solidFill>
                  <a:latin typeface="Calibri"/>
                  <a:cs typeface="+mn-cs"/>
                </a:endParaRPr>
              </a:p>
            </p:txBody>
          </p:sp>
        </p:grpSp>
        <p:grpSp>
          <p:nvGrpSpPr>
            <p:cNvPr id="126" name="Gruppe 206"/>
            <p:cNvGrpSpPr>
              <a:grpSpLocks/>
            </p:cNvGrpSpPr>
            <p:nvPr/>
          </p:nvGrpSpPr>
          <p:grpSpPr bwMode="auto">
            <a:xfrm flipH="1">
              <a:off x="4178300" y="3308350"/>
              <a:ext cx="758825" cy="1030288"/>
              <a:chOff x="5503628" y="2578100"/>
              <a:chExt cx="1204961" cy="1638300"/>
            </a:xfrm>
          </p:grpSpPr>
          <p:grpSp>
            <p:nvGrpSpPr>
              <p:cNvPr id="223" name="Gruppe 1100"/>
              <p:cNvGrpSpPr>
                <a:grpSpLocks/>
              </p:cNvGrpSpPr>
              <p:nvPr/>
            </p:nvGrpSpPr>
            <p:grpSpPr bwMode="auto">
              <a:xfrm>
                <a:off x="5682607" y="2578100"/>
                <a:ext cx="794065" cy="1542374"/>
                <a:chOff x="7154220" y="3771900"/>
                <a:chExt cx="794065" cy="1542374"/>
              </a:xfrm>
            </p:grpSpPr>
            <p:sp>
              <p:nvSpPr>
                <p:cNvPr id="225" name="Freeform 484"/>
                <p:cNvSpPr>
                  <a:spLocks/>
                </p:cNvSpPr>
                <p:nvPr/>
              </p:nvSpPr>
              <p:spPr bwMode="auto">
                <a:xfrm>
                  <a:off x="7133084" y="3770177"/>
                  <a:ext cx="814976" cy="1551807"/>
                </a:xfrm>
                <a:custGeom>
                  <a:avLst/>
                  <a:gdLst/>
                  <a:ahLst/>
                  <a:cxnLst>
                    <a:cxn ang="0">
                      <a:pos x="948" y="1490"/>
                    </a:cxn>
                    <a:cxn ang="0">
                      <a:pos x="872" y="1429"/>
                    </a:cxn>
                    <a:cxn ang="0">
                      <a:pos x="881" y="1364"/>
                    </a:cxn>
                    <a:cxn ang="0">
                      <a:pos x="845" y="1330"/>
                    </a:cxn>
                    <a:cxn ang="0">
                      <a:pos x="917" y="1158"/>
                    </a:cxn>
                    <a:cxn ang="0">
                      <a:pos x="885" y="919"/>
                    </a:cxn>
                    <a:cxn ang="0">
                      <a:pos x="812" y="804"/>
                    </a:cxn>
                    <a:cxn ang="0">
                      <a:pos x="719" y="691"/>
                    </a:cxn>
                    <a:cxn ang="0">
                      <a:pos x="626" y="570"/>
                    </a:cxn>
                    <a:cxn ang="0">
                      <a:pos x="571" y="487"/>
                    </a:cxn>
                    <a:cxn ang="0">
                      <a:pos x="589" y="454"/>
                    </a:cxn>
                    <a:cxn ang="0">
                      <a:pos x="639" y="416"/>
                    </a:cxn>
                    <a:cxn ang="0">
                      <a:pos x="705" y="413"/>
                    </a:cxn>
                    <a:cxn ang="0">
                      <a:pos x="779" y="466"/>
                    </a:cxn>
                    <a:cxn ang="0">
                      <a:pos x="829" y="427"/>
                    </a:cxn>
                    <a:cxn ang="0">
                      <a:pos x="922" y="357"/>
                    </a:cxn>
                    <a:cxn ang="0">
                      <a:pos x="937" y="275"/>
                    </a:cxn>
                    <a:cxn ang="0">
                      <a:pos x="891" y="236"/>
                    </a:cxn>
                    <a:cxn ang="0">
                      <a:pos x="862" y="198"/>
                    </a:cxn>
                    <a:cxn ang="0">
                      <a:pos x="834" y="162"/>
                    </a:cxn>
                    <a:cxn ang="0">
                      <a:pos x="756" y="149"/>
                    </a:cxn>
                    <a:cxn ang="0">
                      <a:pos x="659" y="142"/>
                    </a:cxn>
                    <a:cxn ang="0">
                      <a:pos x="589" y="140"/>
                    </a:cxn>
                    <a:cxn ang="0">
                      <a:pos x="567" y="123"/>
                    </a:cxn>
                    <a:cxn ang="0">
                      <a:pos x="514" y="105"/>
                    </a:cxn>
                    <a:cxn ang="0">
                      <a:pos x="445" y="99"/>
                    </a:cxn>
                    <a:cxn ang="0">
                      <a:pos x="395" y="99"/>
                    </a:cxn>
                    <a:cxn ang="0">
                      <a:pos x="295" y="0"/>
                    </a:cxn>
                    <a:cxn ang="0">
                      <a:pos x="251" y="7"/>
                    </a:cxn>
                    <a:cxn ang="0">
                      <a:pos x="189" y="34"/>
                    </a:cxn>
                    <a:cxn ang="0">
                      <a:pos x="118" y="87"/>
                    </a:cxn>
                    <a:cxn ang="0">
                      <a:pos x="53" y="179"/>
                    </a:cxn>
                    <a:cxn ang="0">
                      <a:pos x="6" y="337"/>
                    </a:cxn>
                    <a:cxn ang="0">
                      <a:pos x="12" y="537"/>
                    </a:cxn>
                    <a:cxn ang="0">
                      <a:pos x="87" y="728"/>
                    </a:cxn>
                    <a:cxn ang="0">
                      <a:pos x="181" y="944"/>
                    </a:cxn>
                    <a:cxn ang="0">
                      <a:pos x="145" y="1138"/>
                    </a:cxn>
                    <a:cxn ang="0">
                      <a:pos x="60" y="1218"/>
                    </a:cxn>
                    <a:cxn ang="0">
                      <a:pos x="34" y="1265"/>
                    </a:cxn>
                    <a:cxn ang="0">
                      <a:pos x="43" y="1300"/>
                    </a:cxn>
                    <a:cxn ang="0">
                      <a:pos x="106" y="1357"/>
                    </a:cxn>
                    <a:cxn ang="0">
                      <a:pos x="122" y="1387"/>
                    </a:cxn>
                    <a:cxn ang="0">
                      <a:pos x="80" y="1469"/>
                    </a:cxn>
                    <a:cxn ang="0">
                      <a:pos x="46" y="1599"/>
                    </a:cxn>
                    <a:cxn ang="0">
                      <a:pos x="63" y="1644"/>
                    </a:cxn>
                    <a:cxn ang="0">
                      <a:pos x="20" y="1695"/>
                    </a:cxn>
                    <a:cxn ang="0">
                      <a:pos x="43" y="1794"/>
                    </a:cxn>
                    <a:cxn ang="0">
                      <a:pos x="100" y="1841"/>
                    </a:cxn>
                    <a:cxn ang="0">
                      <a:pos x="198" y="1884"/>
                    </a:cxn>
                    <a:cxn ang="0">
                      <a:pos x="328" y="1920"/>
                    </a:cxn>
                    <a:cxn ang="0">
                      <a:pos x="487" y="1942"/>
                    </a:cxn>
                    <a:cxn ang="0">
                      <a:pos x="646" y="1930"/>
                    </a:cxn>
                    <a:cxn ang="0">
                      <a:pos x="786" y="1890"/>
                    </a:cxn>
                    <a:cxn ang="0">
                      <a:pos x="898" y="1834"/>
                    </a:cxn>
                    <a:cxn ang="0">
                      <a:pos x="985" y="1758"/>
                    </a:cxn>
                    <a:cxn ang="0">
                      <a:pos x="978" y="1655"/>
                    </a:cxn>
                  </a:cxnLst>
                  <a:rect l="0" t="0" r="r" b="b"/>
                  <a:pathLst>
                    <a:path w="998" h="1943">
                      <a:moveTo>
                        <a:pt x="948" y="1627"/>
                      </a:moveTo>
                      <a:lnTo>
                        <a:pt x="961" y="1571"/>
                      </a:lnTo>
                      <a:lnTo>
                        <a:pt x="960" y="1525"/>
                      </a:lnTo>
                      <a:lnTo>
                        <a:pt x="948" y="1490"/>
                      </a:lnTo>
                      <a:lnTo>
                        <a:pt x="930" y="1465"/>
                      </a:lnTo>
                      <a:lnTo>
                        <a:pt x="908" y="1446"/>
                      </a:lnTo>
                      <a:lnTo>
                        <a:pt x="888" y="1434"/>
                      </a:lnTo>
                      <a:lnTo>
                        <a:pt x="872" y="1429"/>
                      </a:lnTo>
                      <a:lnTo>
                        <a:pt x="866" y="1427"/>
                      </a:lnTo>
                      <a:lnTo>
                        <a:pt x="879" y="1402"/>
                      </a:lnTo>
                      <a:lnTo>
                        <a:pt x="884" y="1381"/>
                      </a:lnTo>
                      <a:lnTo>
                        <a:pt x="881" y="1364"/>
                      </a:lnTo>
                      <a:lnTo>
                        <a:pt x="872" y="1350"/>
                      </a:lnTo>
                      <a:lnTo>
                        <a:pt x="862" y="1340"/>
                      </a:lnTo>
                      <a:lnTo>
                        <a:pt x="852" y="1334"/>
                      </a:lnTo>
                      <a:lnTo>
                        <a:pt x="845" y="1330"/>
                      </a:lnTo>
                      <a:lnTo>
                        <a:pt x="842" y="1328"/>
                      </a:lnTo>
                      <a:lnTo>
                        <a:pt x="866" y="1287"/>
                      </a:lnTo>
                      <a:lnTo>
                        <a:pt x="898" y="1224"/>
                      </a:lnTo>
                      <a:lnTo>
                        <a:pt x="917" y="1158"/>
                      </a:lnTo>
                      <a:lnTo>
                        <a:pt x="921" y="1093"/>
                      </a:lnTo>
                      <a:lnTo>
                        <a:pt x="917" y="1030"/>
                      </a:lnTo>
                      <a:lnTo>
                        <a:pt x="904" y="972"/>
                      </a:lnTo>
                      <a:lnTo>
                        <a:pt x="885" y="919"/>
                      </a:lnTo>
                      <a:lnTo>
                        <a:pt x="864" y="876"/>
                      </a:lnTo>
                      <a:lnTo>
                        <a:pt x="842" y="841"/>
                      </a:lnTo>
                      <a:lnTo>
                        <a:pt x="829" y="825"/>
                      </a:lnTo>
                      <a:lnTo>
                        <a:pt x="812" y="804"/>
                      </a:lnTo>
                      <a:lnTo>
                        <a:pt x="792" y="780"/>
                      </a:lnTo>
                      <a:lnTo>
                        <a:pt x="769" y="751"/>
                      </a:lnTo>
                      <a:lnTo>
                        <a:pt x="745" y="722"/>
                      </a:lnTo>
                      <a:lnTo>
                        <a:pt x="719" y="691"/>
                      </a:lnTo>
                      <a:lnTo>
                        <a:pt x="695" y="659"/>
                      </a:lnTo>
                      <a:lnTo>
                        <a:pt x="669" y="628"/>
                      </a:lnTo>
                      <a:lnTo>
                        <a:pt x="646" y="599"/>
                      </a:lnTo>
                      <a:lnTo>
                        <a:pt x="626" y="570"/>
                      </a:lnTo>
                      <a:lnTo>
                        <a:pt x="607" y="546"/>
                      </a:lnTo>
                      <a:lnTo>
                        <a:pt x="592" y="523"/>
                      </a:lnTo>
                      <a:lnTo>
                        <a:pt x="579" y="503"/>
                      </a:lnTo>
                      <a:lnTo>
                        <a:pt x="571" y="487"/>
                      </a:lnTo>
                      <a:lnTo>
                        <a:pt x="567" y="476"/>
                      </a:lnTo>
                      <a:lnTo>
                        <a:pt x="569" y="470"/>
                      </a:lnTo>
                      <a:lnTo>
                        <a:pt x="579" y="463"/>
                      </a:lnTo>
                      <a:lnTo>
                        <a:pt x="589" y="454"/>
                      </a:lnTo>
                      <a:lnTo>
                        <a:pt x="600" y="444"/>
                      </a:lnTo>
                      <a:lnTo>
                        <a:pt x="613" y="434"/>
                      </a:lnTo>
                      <a:lnTo>
                        <a:pt x="626" y="424"/>
                      </a:lnTo>
                      <a:lnTo>
                        <a:pt x="639" y="416"/>
                      </a:lnTo>
                      <a:lnTo>
                        <a:pt x="653" y="408"/>
                      </a:lnTo>
                      <a:lnTo>
                        <a:pt x="669" y="404"/>
                      </a:lnTo>
                      <a:lnTo>
                        <a:pt x="686" y="406"/>
                      </a:lnTo>
                      <a:lnTo>
                        <a:pt x="705" y="413"/>
                      </a:lnTo>
                      <a:lnTo>
                        <a:pt x="726" y="424"/>
                      </a:lnTo>
                      <a:lnTo>
                        <a:pt x="746" y="439"/>
                      </a:lnTo>
                      <a:lnTo>
                        <a:pt x="763" y="453"/>
                      </a:lnTo>
                      <a:lnTo>
                        <a:pt x="779" y="466"/>
                      </a:lnTo>
                      <a:lnTo>
                        <a:pt x="788" y="476"/>
                      </a:lnTo>
                      <a:lnTo>
                        <a:pt x="792" y="479"/>
                      </a:lnTo>
                      <a:lnTo>
                        <a:pt x="808" y="451"/>
                      </a:lnTo>
                      <a:lnTo>
                        <a:pt x="829" y="427"/>
                      </a:lnTo>
                      <a:lnTo>
                        <a:pt x="854" y="404"/>
                      </a:lnTo>
                      <a:lnTo>
                        <a:pt x="879" y="384"/>
                      </a:lnTo>
                      <a:lnTo>
                        <a:pt x="902" y="368"/>
                      </a:lnTo>
                      <a:lnTo>
                        <a:pt x="922" y="357"/>
                      </a:lnTo>
                      <a:lnTo>
                        <a:pt x="935" y="350"/>
                      </a:lnTo>
                      <a:lnTo>
                        <a:pt x="941" y="347"/>
                      </a:lnTo>
                      <a:lnTo>
                        <a:pt x="942" y="304"/>
                      </a:lnTo>
                      <a:lnTo>
                        <a:pt x="937" y="275"/>
                      </a:lnTo>
                      <a:lnTo>
                        <a:pt x="924" y="257"/>
                      </a:lnTo>
                      <a:lnTo>
                        <a:pt x="908" y="246"/>
                      </a:lnTo>
                      <a:lnTo>
                        <a:pt x="899" y="242"/>
                      </a:lnTo>
                      <a:lnTo>
                        <a:pt x="891" y="236"/>
                      </a:lnTo>
                      <a:lnTo>
                        <a:pt x="882" y="229"/>
                      </a:lnTo>
                      <a:lnTo>
                        <a:pt x="875" y="219"/>
                      </a:lnTo>
                      <a:lnTo>
                        <a:pt x="869" y="209"/>
                      </a:lnTo>
                      <a:lnTo>
                        <a:pt x="862" y="198"/>
                      </a:lnTo>
                      <a:lnTo>
                        <a:pt x="855" y="186"/>
                      </a:lnTo>
                      <a:lnTo>
                        <a:pt x="849" y="173"/>
                      </a:lnTo>
                      <a:lnTo>
                        <a:pt x="844" y="168"/>
                      </a:lnTo>
                      <a:lnTo>
                        <a:pt x="834" y="162"/>
                      </a:lnTo>
                      <a:lnTo>
                        <a:pt x="818" y="158"/>
                      </a:lnTo>
                      <a:lnTo>
                        <a:pt x="801" y="155"/>
                      </a:lnTo>
                      <a:lnTo>
                        <a:pt x="779" y="150"/>
                      </a:lnTo>
                      <a:lnTo>
                        <a:pt x="756" y="149"/>
                      </a:lnTo>
                      <a:lnTo>
                        <a:pt x="732" y="146"/>
                      </a:lnTo>
                      <a:lnTo>
                        <a:pt x="708" y="145"/>
                      </a:lnTo>
                      <a:lnTo>
                        <a:pt x="683" y="143"/>
                      </a:lnTo>
                      <a:lnTo>
                        <a:pt x="659" y="142"/>
                      </a:lnTo>
                      <a:lnTo>
                        <a:pt x="637" y="142"/>
                      </a:lnTo>
                      <a:lnTo>
                        <a:pt x="617" y="140"/>
                      </a:lnTo>
                      <a:lnTo>
                        <a:pt x="602" y="140"/>
                      </a:lnTo>
                      <a:lnTo>
                        <a:pt x="589" y="140"/>
                      </a:lnTo>
                      <a:lnTo>
                        <a:pt x="580" y="140"/>
                      </a:lnTo>
                      <a:lnTo>
                        <a:pt x="577" y="140"/>
                      </a:lnTo>
                      <a:lnTo>
                        <a:pt x="574" y="132"/>
                      </a:lnTo>
                      <a:lnTo>
                        <a:pt x="567" y="123"/>
                      </a:lnTo>
                      <a:lnTo>
                        <a:pt x="557" y="118"/>
                      </a:lnTo>
                      <a:lnTo>
                        <a:pt x="544" y="112"/>
                      </a:lnTo>
                      <a:lnTo>
                        <a:pt x="530" y="107"/>
                      </a:lnTo>
                      <a:lnTo>
                        <a:pt x="514" y="105"/>
                      </a:lnTo>
                      <a:lnTo>
                        <a:pt x="497" y="102"/>
                      </a:lnTo>
                      <a:lnTo>
                        <a:pt x="480" y="100"/>
                      </a:lnTo>
                      <a:lnTo>
                        <a:pt x="463" y="99"/>
                      </a:lnTo>
                      <a:lnTo>
                        <a:pt x="445" y="99"/>
                      </a:lnTo>
                      <a:lnTo>
                        <a:pt x="430" y="97"/>
                      </a:lnTo>
                      <a:lnTo>
                        <a:pt x="417" y="97"/>
                      </a:lnTo>
                      <a:lnTo>
                        <a:pt x="405" y="99"/>
                      </a:lnTo>
                      <a:lnTo>
                        <a:pt x="395" y="99"/>
                      </a:lnTo>
                      <a:lnTo>
                        <a:pt x="390" y="99"/>
                      </a:lnTo>
                      <a:lnTo>
                        <a:pt x="388" y="99"/>
                      </a:lnTo>
                      <a:lnTo>
                        <a:pt x="298" y="0"/>
                      </a:lnTo>
                      <a:lnTo>
                        <a:pt x="295" y="0"/>
                      </a:lnTo>
                      <a:lnTo>
                        <a:pt x="289" y="0"/>
                      </a:lnTo>
                      <a:lnTo>
                        <a:pt x="278" y="1"/>
                      </a:lnTo>
                      <a:lnTo>
                        <a:pt x="264" y="4"/>
                      </a:lnTo>
                      <a:lnTo>
                        <a:pt x="251" y="7"/>
                      </a:lnTo>
                      <a:lnTo>
                        <a:pt x="236" y="13"/>
                      </a:lnTo>
                      <a:lnTo>
                        <a:pt x="222" y="19"/>
                      </a:lnTo>
                      <a:lnTo>
                        <a:pt x="205" y="26"/>
                      </a:lnTo>
                      <a:lnTo>
                        <a:pt x="189" y="34"/>
                      </a:lnTo>
                      <a:lnTo>
                        <a:pt x="170" y="44"/>
                      </a:lnTo>
                      <a:lnTo>
                        <a:pt x="153" y="57"/>
                      </a:lnTo>
                      <a:lnTo>
                        <a:pt x="136" y="72"/>
                      </a:lnTo>
                      <a:lnTo>
                        <a:pt x="118" y="87"/>
                      </a:lnTo>
                      <a:lnTo>
                        <a:pt x="100" y="107"/>
                      </a:lnTo>
                      <a:lnTo>
                        <a:pt x="85" y="129"/>
                      </a:lnTo>
                      <a:lnTo>
                        <a:pt x="67" y="153"/>
                      </a:lnTo>
                      <a:lnTo>
                        <a:pt x="53" y="179"/>
                      </a:lnTo>
                      <a:lnTo>
                        <a:pt x="40" y="209"/>
                      </a:lnTo>
                      <a:lnTo>
                        <a:pt x="27" y="244"/>
                      </a:lnTo>
                      <a:lnTo>
                        <a:pt x="17" y="279"/>
                      </a:lnTo>
                      <a:lnTo>
                        <a:pt x="6" y="337"/>
                      </a:lnTo>
                      <a:lnTo>
                        <a:pt x="0" y="388"/>
                      </a:lnTo>
                      <a:lnTo>
                        <a:pt x="0" y="439"/>
                      </a:lnTo>
                      <a:lnTo>
                        <a:pt x="3" y="484"/>
                      </a:lnTo>
                      <a:lnTo>
                        <a:pt x="12" y="537"/>
                      </a:lnTo>
                      <a:lnTo>
                        <a:pt x="26" y="588"/>
                      </a:lnTo>
                      <a:lnTo>
                        <a:pt x="44" y="635"/>
                      </a:lnTo>
                      <a:lnTo>
                        <a:pt x="65" y="681"/>
                      </a:lnTo>
                      <a:lnTo>
                        <a:pt x="87" y="728"/>
                      </a:lnTo>
                      <a:lnTo>
                        <a:pt x="112" y="774"/>
                      </a:lnTo>
                      <a:lnTo>
                        <a:pt x="135" y="823"/>
                      </a:lnTo>
                      <a:lnTo>
                        <a:pt x="158" y="874"/>
                      </a:lnTo>
                      <a:lnTo>
                        <a:pt x="181" y="944"/>
                      </a:lnTo>
                      <a:lnTo>
                        <a:pt x="186" y="1005"/>
                      </a:lnTo>
                      <a:lnTo>
                        <a:pt x="181" y="1058"/>
                      </a:lnTo>
                      <a:lnTo>
                        <a:pt x="166" y="1102"/>
                      </a:lnTo>
                      <a:lnTo>
                        <a:pt x="145" y="1138"/>
                      </a:lnTo>
                      <a:lnTo>
                        <a:pt x="120" y="1168"/>
                      </a:lnTo>
                      <a:lnTo>
                        <a:pt x="97" y="1189"/>
                      </a:lnTo>
                      <a:lnTo>
                        <a:pt x="76" y="1205"/>
                      </a:lnTo>
                      <a:lnTo>
                        <a:pt x="60" y="1218"/>
                      </a:lnTo>
                      <a:lnTo>
                        <a:pt x="49" y="1231"/>
                      </a:lnTo>
                      <a:lnTo>
                        <a:pt x="40" y="1244"/>
                      </a:lnTo>
                      <a:lnTo>
                        <a:pt x="36" y="1255"/>
                      </a:lnTo>
                      <a:lnTo>
                        <a:pt x="34" y="1265"/>
                      </a:lnTo>
                      <a:lnTo>
                        <a:pt x="34" y="1273"/>
                      </a:lnTo>
                      <a:lnTo>
                        <a:pt x="34" y="1278"/>
                      </a:lnTo>
                      <a:lnTo>
                        <a:pt x="34" y="1280"/>
                      </a:lnTo>
                      <a:lnTo>
                        <a:pt x="43" y="1300"/>
                      </a:lnTo>
                      <a:lnTo>
                        <a:pt x="56" y="1318"/>
                      </a:lnTo>
                      <a:lnTo>
                        <a:pt x="73" y="1334"/>
                      </a:lnTo>
                      <a:lnTo>
                        <a:pt x="90" y="1346"/>
                      </a:lnTo>
                      <a:lnTo>
                        <a:pt x="106" y="1357"/>
                      </a:lnTo>
                      <a:lnTo>
                        <a:pt x="120" y="1364"/>
                      </a:lnTo>
                      <a:lnTo>
                        <a:pt x="129" y="1369"/>
                      </a:lnTo>
                      <a:lnTo>
                        <a:pt x="133" y="1370"/>
                      </a:lnTo>
                      <a:lnTo>
                        <a:pt x="122" y="1387"/>
                      </a:lnTo>
                      <a:lnTo>
                        <a:pt x="120" y="1409"/>
                      </a:lnTo>
                      <a:lnTo>
                        <a:pt x="123" y="1427"/>
                      </a:lnTo>
                      <a:lnTo>
                        <a:pt x="125" y="1436"/>
                      </a:lnTo>
                      <a:lnTo>
                        <a:pt x="80" y="1469"/>
                      </a:lnTo>
                      <a:lnTo>
                        <a:pt x="53" y="1503"/>
                      </a:lnTo>
                      <a:lnTo>
                        <a:pt x="42" y="1538"/>
                      </a:lnTo>
                      <a:lnTo>
                        <a:pt x="40" y="1571"/>
                      </a:lnTo>
                      <a:lnTo>
                        <a:pt x="46" y="1599"/>
                      </a:lnTo>
                      <a:lnTo>
                        <a:pt x="56" y="1622"/>
                      </a:lnTo>
                      <a:lnTo>
                        <a:pt x="63" y="1637"/>
                      </a:lnTo>
                      <a:lnTo>
                        <a:pt x="67" y="1642"/>
                      </a:lnTo>
                      <a:lnTo>
                        <a:pt x="63" y="1644"/>
                      </a:lnTo>
                      <a:lnTo>
                        <a:pt x="54" y="1651"/>
                      </a:lnTo>
                      <a:lnTo>
                        <a:pt x="42" y="1661"/>
                      </a:lnTo>
                      <a:lnTo>
                        <a:pt x="30" y="1675"/>
                      </a:lnTo>
                      <a:lnTo>
                        <a:pt x="20" y="1695"/>
                      </a:lnTo>
                      <a:lnTo>
                        <a:pt x="16" y="1720"/>
                      </a:lnTo>
                      <a:lnTo>
                        <a:pt x="20" y="1748"/>
                      </a:lnTo>
                      <a:lnTo>
                        <a:pt x="34" y="1783"/>
                      </a:lnTo>
                      <a:lnTo>
                        <a:pt x="43" y="1794"/>
                      </a:lnTo>
                      <a:lnTo>
                        <a:pt x="53" y="1806"/>
                      </a:lnTo>
                      <a:lnTo>
                        <a:pt x="66" y="1817"/>
                      </a:lnTo>
                      <a:lnTo>
                        <a:pt x="83" y="1830"/>
                      </a:lnTo>
                      <a:lnTo>
                        <a:pt x="100" y="1841"/>
                      </a:lnTo>
                      <a:lnTo>
                        <a:pt x="122" y="1853"/>
                      </a:lnTo>
                      <a:lnTo>
                        <a:pt x="145" y="1863"/>
                      </a:lnTo>
                      <a:lnTo>
                        <a:pt x="170" y="1874"/>
                      </a:lnTo>
                      <a:lnTo>
                        <a:pt x="198" y="1884"/>
                      </a:lnTo>
                      <a:lnTo>
                        <a:pt x="228" y="1894"/>
                      </a:lnTo>
                      <a:lnTo>
                        <a:pt x="259" y="1903"/>
                      </a:lnTo>
                      <a:lnTo>
                        <a:pt x="292" y="1912"/>
                      </a:lnTo>
                      <a:lnTo>
                        <a:pt x="328" y="1920"/>
                      </a:lnTo>
                      <a:lnTo>
                        <a:pt x="365" y="1927"/>
                      </a:lnTo>
                      <a:lnTo>
                        <a:pt x="405" y="1933"/>
                      </a:lnTo>
                      <a:lnTo>
                        <a:pt x="445" y="1939"/>
                      </a:lnTo>
                      <a:lnTo>
                        <a:pt x="487" y="1942"/>
                      </a:lnTo>
                      <a:lnTo>
                        <a:pt x="529" y="1943"/>
                      </a:lnTo>
                      <a:lnTo>
                        <a:pt x="569" y="1940"/>
                      </a:lnTo>
                      <a:lnTo>
                        <a:pt x="607" y="1936"/>
                      </a:lnTo>
                      <a:lnTo>
                        <a:pt x="646" y="1930"/>
                      </a:lnTo>
                      <a:lnTo>
                        <a:pt x="683" y="1923"/>
                      </a:lnTo>
                      <a:lnTo>
                        <a:pt x="719" y="1913"/>
                      </a:lnTo>
                      <a:lnTo>
                        <a:pt x="753" y="1902"/>
                      </a:lnTo>
                      <a:lnTo>
                        <a:pt x="786" y="1890"/>
                      </a:lnTo>
                      <a:lnTo>
                        <a:pt x="816" y="1877"/>
                      </a:lnTo>
                      <a:lnTo>
                        <a:pt x="845" y="1863"/>
                      </a:lnTo>
                      <a:lnTo>
                        <a:pt x="872" y="1849"/>
                      </a:lnTo>
                      <a:lnTo>
                        <a:pt x="898" y="1834"/>
                      </a:lnTo>
                      <a:lnTo>
                        <a:pt x="919" y="1820"/>
                      </a:lnTo>
                      <a:lnTo>
                        <a:pt x="940" y="1806"/>
                      </a:lnTo>
                      <a:lnTo>
                        <a:pt x="957" y="1791"/>
                      </a:lnTo>
                      <a:lnTo>
                        <a:pt x="985" y="1758"/>
                      </a:lnTo>
                      <a:lnTo>
                        <a:pt x="998" y="1728"/>
                      </a:lnTo>
                      <a:lnTo>
                        <a:pt x="998" y="1700"/>
                      </a:lnTo>
                      <a:lnTo>
                        <a:pt x="991" y="1675"/>
                      </a:lnTo>
                      <a:lnTo>
                        <a:pt x="978" y="1655"/>
                      </a:lnTo>
                      <a:lnTo>
                        <a:pt x="964" y="1639"/>
                      </a:lnTo>
                      <a:lnTo>
                        <a:pt x="952" y="1629"/>
                      </a:lnTo>
                      <a:lnTo>
                        <a:pt x="948" y="1627"/>
                      </a:lnTo>
                      <a:close/>
                    </a:path>
                  </a:pathLst>
                </a:custGeom>
                <a:gradFill flip="none" rotWithShape="1">
                  <a:gsLst>
                    <a:gs pos="100000">
                      <a:srgbClr val="E6E6E6">
                        <a:lumMod val="75000"/>
                      </a:srgbClr>
                    </a:gs>
                    <a:gs pos="44000">
                      <a:srgbClr val="080808"/>
                    </a:gs>
                    <a:gs pos="48000">
                      <a:srgbClr val="080808"/>
                    </a:gs>
                  </a:gsLst>
                  <a:lin ang="0" scaled="1"/>
                  <a:tileRect/>
                </a:gradFill>
                <a:ln w="9525" cap="flat" cmpd="sng" algn="ctr">
                  <a:noFill/>
                  <a:prstDash val="solid"/>
                </a:ln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" lastClr="FFFFFF"/>
                    </a:solidFill>
                    <a:latin typeface="Calibri"/>
                    <a:cs typeface="+mn-cs"/>
                  </a:endParaRPr>
                </a:p>
              </p:txBody>
            </p:sp>
            <p:grpSp>
              <p:nvGrpSpPr>
                <p:cNvPr id="226" name="Gruppe 1099"/>
                <p:cNvGrpSpPr/>
                <p:nvPr/>
              </p:nvGrpSpPr>
              <p:grpSpPr>
                <a:xfrm>
                  <a:off x="7159625" y="3929063"/>
                  <a:ext cx="619125" cy="1311275"/>
                  <a:chOff x="7159625" y="3929063"/>
                  <a:chExt cx="619125" cy="1311275"/>
                </a:xfrm>
                <a:solidFill>
                  <a:srgbClr val="D7D8D9">
                    <a:lumMod val="25000"/>
                  </a:srgbClr>
                </a:solidFill>
              </p:grpSpPr>
              <p:sp>
                <p:nvSpPr>
                  <p:cNvPr id="227" name="Freeform 497"/>
                  <p:cNvSpPr>
                    <a:spLocks/>
                  </p:cNvSpPr>
                  <p:nvPr/>
                </p:nvSpPr>
                <p:spPr bwMode="auto">
                  <a:xfrm>
                    <a:off x="7167563" y="3929063"/>
                    <a:ext cx="134938" cy="360363"/>
                  </a:xfrm>
                  <a:custGeom>
                    <a:avLst/>
                    <a:gdLst/>
                    <a:ahLst/>
                    <a:cxnLst>
                      <a:cxn ang="0">
                        <a:pos x="86" y="276"/>
                      </a:cxn>
                      <a:cxn ang="0">
                        <a:pos x="73" y="213"/>
                      </a:cxn>
                      <a:cxn ang="0">
                        <a:pos x="70" y="159"/>
                      </a:cxn>
                      <a:cxn ang="0">
                        <a:pos x="76" y="110"/>
                      </a:cxn>
                      <a:cxn ang="0">
                        <a:pos x="85" y="71"/>
                      </a:cxn>
                      <a:cxn ang="0">
                        <a:pos x="96" y="40"/>
                      </a:cxn>
                      <a:cxn ang="0">
                        <a:pos x="107" y="18"/>
                      </a:cxn>
                      <a:cxn ang="0">
                        <a:pos x="117" y="4"/>
                      </a:cxn>
                      <a:cxn ang="0">
                        <a:pos x="120" y="0"/>
                      </a:cxn>
                      <a:cxn ang="0">
                        <a:pos x="76" y="31"/>
                      </a:cxn>
                      <a:cxn ang="0">
                        <a:pos x="42" y="65"/>
                      </a:cxn>
                      <a:cxn ang="0">
                        <a:pos x="19" y="98"/>
                      </a:cxn>
                      <a:cxn ang="0">
                        <a:pos x="6" y="134"/>
                      </a:cxn>
                      <a:cxn ang="0">
                        <a:pos x="0" y="169"/>
                      </a:cxn>
                      <a:cxn ang="0">
                        <a:pos x="1" y="203"/>
                      </a:cxn>
                      <a:cxn ang="0">
                        <a:pos x="9" y="237"/>
                      </a:cxn>
                      <a:cxn ang="0">
                        <a:pos x="22" y="270"/>
                      </a:cxn>
                      <a:cxn ang="0">
                        <a:pos x="42" y="308"/>
                      </a:cxn>
                      <a:cxn ang="0">
                        <a:pos x="64" y="342"/>
                      </a:cxn>
                      <a:cxn ang="0">
                        <a:pos x="89" y="374"/>
                      </a:cxn>
                      <a:cxn ang="0">
                        <a:pos x="113" y="401"/>
                      </a:cxn>
                      <a:cxn ang="0">
                        <a:pos x="135" y="422"/>
                      </a:cxn>
                      <a:cxn ang="0">
                        <a:pos x="152" y="439"/>
                      </a:cxn>
                      <a:cxn ang="0">
                        <a:pos x="165" y="450"/>
                      </a:cxn>
                      <a:cxn ang="0">
                        <a:pos x="169" y="454"/>
                      </a:cxn>
                      <a:cxn ang="0">
                        <a:pos x="153" y="429"/>
                      </a:cxn>
                      <a:cxn ang="0">
                        <a:pos x="140" y="405"/>
                      </a:cxn>
                      <a:cxn ang="0">
                        <a:pos x="127" y="382"/>
                      </a:cxn>
                      <a:cxn ang="0">
                        <a:pos x="117" y="359"/>
                      </a:cxn>
                      <a:cxn ang="0">
                        <a:pos x="107" y="338"/>
                      </a:cxn>
                      <a:cxn ang="0">
                        <a:pos x="99" y="316"/>
                      </a:cxn>
                      <a:cxn ang="0">
                        <a:pos x="92" y="296"/>
                      </a:cxn>
                      <a:cxn ang="0">
                        <a:pos x="86" y="276"/>
                      </a:cxn>
                    </a:cxnLst>
                    <a:rect l="0" t="0" r="r" b="b"/>
                    <a:pathLst>
                      <a:path w="169" h="454">
                        <a:moveTo>
                          <a:pt x="86" y="276"/>
                        </a:moveTo>
                        <a:lnTo>
                          <a:pt x="73" y="213"/>
                        </a:lnTo>
                        <a:lnTo>
                          <a:pt x="70" y="159"/>
                        </a:lnTo>
                        <a:lnTo>
                          <a:pt x="76" y="110"/>
                        </a:lnTo>
                        <a:lnTo>
                          <a:pt x="85" y="71"/>
                        </a:lnTo>
                        <a:lnTo>
                          <a:pt x="96" y="40"/>
                        </a:lnTo>
                        <a:lnTo>
                          <a:pt x="107" y="18"/>
                        </a:lnTo>
                        <a:lnTo>
                          <a:pt x="117" y="4"/>
                        </a:lnTo>
                        <a:lnTo>
                          <a:pt x="120" y="0"/>
                        </a:lnTo>
                        <a:lnTo>
                          <a:pt x="76" y="31"/>
                        </a:lnTo>
                        <a:lnTo>
                          <a:pt x="42" y="65"/>
                        </a:lnTo>
                        <a:lnTo>
                          <a:pt x="19" y="98"/>
                        </a:lnTo>
                        <a:lnTo>
                          <a:pt x="6" y="134"/>
                        </a:lnTo>
                        <a:lnTo>
                          <a:pt x="0" y="169"/>
                        </a:lnTo>
                        <a:lnTo>
                          <a:pt x="1" y="203"/>
                        </a:lnTo>
                        <a:lnTo>
                          <a:pt x="9" y="237"/>
                        </a:lnTo>
                        <a:lnTo>
                          <a:pt x="22" y="270"/>
                        </a:lnTo>
                        <a:lnTo>
                          <a:pt x="42" y="308"/>
                        </a:lnTo>
                        <a:lnTo>
                          <a:pt x="64" y="342"/>
                        </a:lnTo>
                        <a:lnTo>
                          <a:pt x="89" y="374"/>
                        </a:lnTo>
                        <a:lnTo>
                          <a:pt x="113" y="401"/>
                        </a:lnTo>
                        <a:lnTo>
                          <a:pt x="135" y="422"/>
                        </a:lnTo>
                        <a:lnTo>
                          <a:pt x="152" y="439"/>
                        </a:lnTo>
                        <a:lnTo>
                          <a:pt x="165" y="450"/>
                        </a:lnTo>
                        <a:lnTo>
                          <a:pt x="169" y="454"/>
                        </a:lnTo>
                        <a:lnTo>
                          <a:pt x="153" y="429"/>
                        </a:lnTo>
                        <a:lnTo>
                          <a:pt x="140" y="405"/>
                        </a:lnTo>
                        <a:lnTo>
                          <a:pt x="127" y="382"/>
                        </a:lnTo>
                        <a:lnTo>
                          <a:pt x="117" y="359"/>
                        </a:lnTo>
                        <a:lnTo>
                          <a:pt x="107" y="338"/>
                        </a:lnTo>
                        <a:lnTo>
                          <a:pt x="99" y="316"/>
                        </a:lnTo>
                        <a:lnTo>
                          <a:pt x="92" y="296"/>
                        </a:lnTo>
                        <a:lnTo>
                          <a:pt x="86" y="276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da-DK" kern="0">
                      <a:solidFill>
                        <a:sysClr val="windowText" lastClr="000000"/>
                      </a:solidFill>
                      <a:latin typeface="+mn-lt"/>
                      <a:ea typeface="ＭＳ Ｐゴシック" pitchFamily="-97" charset="-128"/>
                      <a:cs typeface="+mn-cs"/>
                    </a:endParaRPr>
                  </a:p>
                </p:txBody>
              </p:sp>
              <p:sp>
                <p:nvSpPr>
                  <p:cNvPr id="228" name="Freeform 499"/>
                  <p:cNvSpPr>
                    <a:spLocks/>
                  </p:cNvSpPr>
                  <p:nvPr/>
                </p:nvSpPr>
                <p:spPr bwMode="auto">
                  <a:xfrm>
                    <a:off x="7189788" y="4394200"/>
                    <a:ext cx="276225" cy="428625"/>
                  </a:xfrm>
                  <a:custGeom>
                    <a:avLst/>
                    <a:gdLst/>
                    <a:ahLst/>
                    <a:cxnLst>
                      <a:cxn ang="0">
                        <a:pos x="85" y="0"/>
                      </a:cxn>
                      <a:cxn ang="0">
                        <a:pos x="86" y="4"/>
                      </a:cxn>
                      <a:cxn ang="0">
                        <a:pos x="92" y="14"/>
                      </a:cxn>
                      <a:cxn ang="0">
                        <a:pos x="99" y="31"/>
                      </a:cxn>
                      <a:cxn ang="0">
                        <a:pos x="108" y="53"/>
                      </a:cxn>
                      <a:cxn ang="0">
                        <a:pos x="118" y="80"/>
                      </a:cxn>
                      <a:cxn ang="0">
                        <a:pos x="126" y="110"/>
                      </a:cxn>
                      <a:cxn ang="0">
                        <a:pos x="133" y="143"/>
                      </a:cxn>
                      <a:cxn ang="0">
                        <a:pos x="141" y="179"/>
                      </a:cxn>
                      <a:cxn ang="0">
                        <a:pos x="143" y="215"/>
                      </a:cxn>
                      <a:cxn ang="0">
                        <a:pos x="142" y="252"/>
                      </a:cxn>
                      <a:cxn ang="0">
                        <a:pos x="136" y="289"/>
                      </a:cxn>
                      <a:cxn ang="0">
                        <a:pos x="126" y="325"/>
                      </a:cxn>
                      <a:cxn ang="0">
                        <a:pos x="109" y="358"/>
                      </a:cxn>
                      <a:cxn ang="0">
                        <a:pos x="85" y="388"/>
                      </a:cxn>
                      <a:cxn ang="0">
                        <a:pos x="52" y="415"/>
                      </a:cxn>
                      <a:cxn ang="0">
                        <a:pos x="10" y="438"/>
                      </a:cxn>
                      <a:cxn ang="0">
                        <a:pos x="7" y="441"/>
                      </a:cxn>
                      <a:cxn ang="0">
                        <a:pos x="3" y="450"/>
                      </a:cxn>
                      <a:cxn ang="0">
                        <a:pos x="0" y="461"/>
                      </a:cxn>
                      <a:cxn ang="0">
                        <a:pos x="2" y="475"/>
                      </a:cxn>
                      <a:cxn ang="0">
                        <a:pos x="13" y="491"/>
                      </a:cxn>
                      <a:cxn ang="0">
                        <a:pos x="37" y="508"/>
                      </a:cxn>
                      <a:cxn ang="0">
                        <a:pos x="79" y="523"/>
                      </a:cxn>
                      <a:cxn ang="0">
                        <a:pos x="142" y="537"/>
                      </a:cxn>
                      <a:cxn ang="0">
                        <a:pos x="174" y="540"/>
                      </a:cxn>
                      <a:cxn ang="0">
                        <a:pos x="204" y="537"/>
                      </a:cxn>
                      <a:cxn ang="0">
                        <a:pos x="231" y="528"/>
                      </a:cxn>
                      <a:cxn ang="0">
                        <a:pos x="257" y="516"/>
                      </a:cxn>
                      <a:cxn ang="0">
                        <a:pos x="279" y="498"/>
                      </a:cxn>
                      <a:cxn ang="0">
                        <a:pos x="300" y="475"/>
                      </a:cxn>
                      <a:cxn ang="0">
                        <a:pos x="317" y="448"/>
                      </a:cxn>
                      <a:cxn ang="0">
                        <a:pos x="331" y="418"/>
                      </a:cxn>
                      <a:cxn ang="0">
                        <a:pos x="341" y="382"/>
                      </a:cxn>
                      <a:cxn ang="0">
                        <a:pos x="347" y="344"/>
                      </a:cxn>
                      <a:cxn ang="0">
                        <a:pos x="350" y="301"/>
                      </a:cxn>
                      <a:cxn ang="0">
                        <a:pos x="345" y="255"/>
                      </a:cxn>
                      <a:cxn ang="0">
                        <a:pos x="338" y="206"/>
                      </a:cxn>
                      <a:cxn ang="0">
                        <a:pos x="325" y="154"/>
                      </a:cxn>
                      <a:cxn ang="0">
                        <a:pos x="305" y="99"/>
                      </a:cxn>
                      <a:cxn ang="0">
                        <a:pos x="281" y="41"/>
                      </a:cxn>
                      <a:cxn ang="0">
                        <a:pos x="282" y="53"/>
                      </a:cxn>
                      <a:cxn ang="0">
                        <a:pos x="284" y="81"/>
                      </a:cxn>
                      <a:cxn ang="0">
                        <a:pos x="284" y="124"/>
                      </a:cxn>
                      <a:cxn ang="0">
                        <a:pos x="281" y="176"/>
                      </a:cxn>
                      <a:cxn ang="0">
                        <a:pos x="274" y="230"/>
                      </a:cxn>
                      <a:cxn ang="0">
                        <a:pos x="261" y="285"/>
                      </a:cxn>
                      <a:cxn ang="0">
                        <a:pos x="239" y="334"/>
                      </a:cxn>
                      <a:cxn ang="0">
                        <a:pos x="208" y="372"/>
                      </a:cxn>
                      <a:cxn ang="0">
                        <a:pos x="208" y="362"/>
                      </a:cxn>
                      <a:cxn ang="0">
                        <a:pos x="208" y="335"/>
                      </a:cxn>
                      <a:cxn ang="0">
                        <a:pos x="206" y="293"/>
                      </a:cxn>
                      <a:cxn ang="0">
                        <a:pos x="199" y="242"/>
                      </a:cxn>
                      <a:cxn ang="0">
                        <a:pos x="185" y="183"/>
                      </a:cxn>
                      <a:cxn ang="0">
                        <a:pos x="163" y="120"/>
                      </a:cxn>
                      <a:cxn ang="0">
                        <a:pos x="131" y="58"/>
                      </a:cxn>
                      <a:cxn ang="0">
                        <a:pos x="85" y="0"/>
                      </a:cxn>
                    </a:cxnLst>
                    <a:rect l="0" t="0" r="r" b="b"/>
                    <a:pathLst>
                      <a:path w="350" h="540">
                        <a:moveTo>
                          <a:pt x="85" y="0"/>
                        </a:moveTo>
                        <a:lnTo>
                          <a:pt x="86" y="4"/>
                        </a:lnTo>
                        <a:lnTo>
                          <a:pt x="92" y="14"/>
                        </a:lnTo>
                        <a:lnTo>
                          <a:pt x="99" y="31"/>
                        </a:lnTo>
                        <a:lnTo>
                          <a:pt x="108" y="53"/>
                        </a:lnTo>
                        <a:lnTo>
                          <a:pt x="118" y="80"/>
                        </a:lnTo>
                        <a:lnTo>
                          <a:pt x="126" y="110"/>
                        </a:lnTo>
                        <a:lnTo>
                          <a:pt x="133" y="143"/>
                        </a:lnTo>
                        <a:lnTo>
                          <a:pt x="141" y="179"/>
                        </a:lnTo>
                        <a:lnTo>
                          <a:pt x="143" y="215"/>
                        </a:lnTo>
                        <a:lnTo>
                          <a:pt x="142" y="252"/>
                        </a:lnTo>
                        <a:lnTo>
                          <a:pt x="136" y="289"/>
                        </a:lnTo>
                        <a:lnTo>
                          <a:pt x="126" y="325"/>
                        </a:lnTo>
                        <a:lnTo>
                          <a:pt x="109" y="358"/>
                        </a:lnTo>
                        <a:lnTo>
                          <a:pt x="85" y="388"/>
                        </a:lnTo>
                        <a:lnTo>
                          <a:pt x="52" y="415"/>
                        </a:lnTo>
                        <a:lnTo>
                          <a:pt x="10" y="438"/>
                        </a:lnTo>
                        <a:lnTo>
                          <a:pt x="7" y="441"/>
                        </a:lnTo>
                        <a:lnTo>
                          <a:pt x="3" y="450"/>
                        </a:lnTo>
                        <a:lnTo>
                          <a:pt x="0" y="461"/>
                        </a:lnTo>
                        <a:lnTo>
                          <a:pt x="2" y="475"/>
                        </a:lnTo>
                        <a:lnTo>
                          <a:pt x="13" y="491"/>
                        </a:lnTo>
                        <a:lnTo>
                          <a:pt x="37" y="508"/>
                        </a:lnTo>
                        <a:lnTo>
                          <a:pt x="79" y="523"/>
                        </a:lnTo>
                        <a:lnTo>
                          <a:pt x="142" y="537"/>
                        </a:lnTo>
                        <a:lnTo>
                          <a:pt x="174" y="540"/>
                        </a:lnTo>
                        <a:lnTo>
                          <a:pt x="204" y="537"/>
                        </a:lnTo>
                        <a:lnTo>
                          <a:pt x="231" y="528"/>
                        </a:lnTo>
                        <a:lnTo>
                          <a:pt x="257" y="516"/>
                        </a:lnTo>
                        <a:lnTo>
                          <a:pt x="279" y="498"/>
                        </a:lnTo>
                        <a:lnTo>
                          <a:pt x="300" y="475"/>
                        </a:lnTo>
                        <a:lnTo>
                          <a:pt x="317" y="448"/>
                        </a:lnTo>
                        <a:lnTo>
                          <a:pt x="331" y="418"/>
                        </a:lnTo>
                        <a:lnTo>
                          <a:pt x="341" y="382"/>
                        </a:lnTo>
                        <a:lnTo>
                          <a:pt x="347" y="344"/>
                        </a:lnTo>
                        <a:lnTo>
                          <a:pt x="350" y="301"/>
                        </a:lnTo>
                        <a:lnTo>
                          <a:pt x="345" y="255"/>
                        </a:lnTo>
                        <a:lnTo>
                          <a:pt x="338" y="206"/>
                        </a:lnTo>
                        <a:lnTo>
                          <a:pt x="325" y="154"/>
                        </a:lnTo>
                        <a:lnTo>
                          <a:pt x="305" y="99"/>
                        </a:lnTo>
                        <a:lnTo>
                          <a:pt x="281" y="41"/>
                        </a:lnTo>
                        <a:lnTo>
                          <a:pt x="282" y="53"/>
                        </a:lnTo>
                        <a:lnTo>
                          <a:pt x="284" y="81"/>
                        </a:lnTo>
                        <a:lnTo>
                          <a:pt x="284" y="124"/>
                        </a:lnTo>
                        <a:lnTo>
                          <a:pt x="281" y="176"/>
                        </a:lnTo>
                        <a:lnTo>
                          <a:pt x="274" y="230"/>
                        </a:lnTo>
                        <a:lnTo>
                          <a:pt x="261" y="285"/>
                        </a:lnTo>
                        <a:lnTo>
                          <a:pt x="239" y="334"/>
                        </a:lnTo>
                        <a:lnTo>
                          <a:pt x="208" y="372"/>
                        </a:lnTo>
                        <a:lnTo>
                          <a:pt x="208" y="362"/>
                        </a:lnTo>
                        <a:lnTo>
                          <a:pt x="208" y="335"/>
                        </a:lnTo>
                        <a:lnTo>
                          <a:pt x="206" y="293"/>
                        </a:lnTo>
                        <a:lnTo>
                          <a:pt x="199" y="242"/>
                        </a:lnTo>
                        <a:lnTo>
                          <a:pt x="185" y="183"/>
                        </a:lnTo>
                        <a:lnTo>
                          <a:pt x="163" y="120"/>
                        </a:lnTo>
                        <a:lnTo>
                          <a:pt x="131" y="58"/>
                        </a:lnTo>
                        <a:lnTo>
                          <a:pt x="85" y="0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da-DK" kern="0">
                      <a:solidFill>
                        <a:sysClr val="windowText" lastClr="000000"/>
                      </a:solidFill>
                      <a:latin typeface="+mn-lt"/>
                      <a:ea typeface="ＭＳ Ｐゴシック" pitchFamily="-97" charset="-128"/>
                      <a:cs typeface="+mn-cs"/>
                    </a:endParaRPr>
                  </a:p>
                </p:txBody>
              </p:sp>
              <p:sp>
                <p:nvSpPr>
                  <p:cNvPr id="229" name="Freeform 503"/>
                  <p:cNvSpPr>
                    <a:spLocks/>
                  </p:cNvSpPr>
                  <p:nvPr/>
                </p:nvSpPr>
                <p:spPr bwMode="auto">
                  <a:xfrm>
                    <a:off x="7231063" y="4868863"/>
                    <a:ext cx="155575" cy="63500"/>
                  </a:xfrm>
                  <a:custGeom>
                    <a:avLst/>
                    <a:gdLst/>
                    <a:ahLst/>
                    <a:cxnLst>
                      <a:cxn ang="0">
                        <a:pos x="196" y="53"/>
                      </a:cxn>
                      <a:cxn ang="0">
                        <a:pos x="191" y="52"/>
                      </a:cxn>
                      <a:cxn ang="0">
                        <a:pos x="174" y="48"/>
                      </a:cxn>
                      <a:cxn ang="0">
                        <a:pos x="149" y="42"/>
                      </a:cxn>
                      <a:cxn ang="0">
                        <a:pos x="122" y="33"/>
                      </a:cxn>
                      <a:cxn ang="0">
                        <a:pos x="92" y="25"/>
                      </a:cxn>
                      <a:cxn ang="0">
                        <a:pos x="65" y="17"/>
                      </a:cxn>
                      <a:cxn ang="0">
                        <a:pos x="43" y="9"/>
                      </a:cxn>
                      <a:cxn ang="0">
                        <a:pos x="29" y="3"/>
                      </a:cxn>
                      <a:cxn ang="0">
                        <a:pos x="20" y="0"/>
                      </a:cxn>
                      <a:cxn ang="0">
                        <a:pos x="13" y="0"/>
                      </a:cxn>
                      <a:cxn ang="0">
                        <a:pos x="6" y="5"/>
                      </a:cxn>
                      <a:cxn ang="0">
                        <a:pos x="2" y="12"/>
                      </a:cxn>
                      <a:cxn ang="0">
                        <a:pos x="0" y="20"/>
                      </a:cxn>
                      <a:cxn ang="0">
                        <a:pos x="3" y="32"/>
                      </a:cxn>
                      <a:cxn ang="0">
                        <a:pos x="10" y="42"/>
                      </a:cxn>
                      <a:cxn ang="0">
                        <a:pos x="22" y="53"/>
                      </a:cxn>
                      <a:cxn ang="0">
                        <a:pos x="39" y="63"/>
                      </a:cxn>
                      <a:cxn ang="0">
                        <a:pos x="62" y="72"/>
                      </a:cxn>
                      <a:cxn ang="0">
                        <a:pos x="89" y="78"/>
                      </a:cxn>
                      <a:cxn ang="0">
                        <a:pos x="118" y="80"/>
                      </a:cxn>
                      <a:cxn ang="0">
                        <a:pos x="143" y="79"/>
                      </a:cxn>
                      <a:cxn ang="0">
                        <a:pos x="168" y="75"/>
                      </a:cxn>
                      <a:cxn ang="0">
                        <a:pos x="186" y="66"/>
                      </a:cxn>
                      <a:cxn ang="0">
                        <a:pos x="196" y="53"/>
                      </a:cxn>
                    </a:cxnLst>
                    <a:rect l="0" t="0" r="r" b="b"/>
                    <a:pathLst>
                      <a:path w="196" h="80">
                        <a:moveTo>
                          <a:pt x="196" y="53"/>
                        </a:moveTo>
                        <a:lnTo>
                          <a:pt x="191" y="52"/>
                        </a:lnTo>
                        <a:lnTo>
                          <a:pt x="174" y="48"/>
                        </a:lnTo>
                        <a:lnTo>
                          <a:pt x="149" y="42"/>
                        </a:lnTo>
                        <a:lnTo>
                          <a:pt x="122" y="33"/>
                        </a:lnTo>
                        <a:lnTo>
                          <a:pt x="92" y="25"/>
                        </a:lnTo>
                        <a:lnTo>
                          <a:pt x="65" y="17"/>
                        </a:lnTo>
                        <a:lnTo>
                          <a:pt x="43" y="9"/>
                        </a:lnTo>
                        <a:lnTo>
                          <a:pt x="29" y="3"/>
                        </a:lnTo>
                        <a:lnTo>
                          <a:pt x="20" y="0"/>
                        </a:lnTo>
                        <a:lnTo>
                          <a:pt x="13" y="0"/>
                        </a:lnTo>
                        <a:lnTo>
                          <a:pt x="6" y="5"/>
                        </a:lnTo>
                        <a:lnTo>
                          <a:pt x="2" y="12"/>
                        </a:lnTo>
                        <a:lnTo>
                          <a:pt x="0" y="20"/>
                        </a:lnTo>
                        <a:lnTo>
                          <a:pt x="3" y="32"/>
                        </a:lnTo>
                        <a:lnTo>
                          <a:pt x="10" y="42"/>
                        </a:lnTo>
                        <a:lnTo>
                          <a:pt x="22" y="53"/>
                        </a:lnTo>
                        <a:lnTo>
                          <a:pt x="39" y="63"/>
                        </a:lnTo>
                        <a:lnTo>
                          <a:pt x="62" y="72"/>
                        </a:lnTo>
                        <a:lnTo>
                          <a:pt x="89" y="78"/>
                        </a:lnTo>
                        <a:lnTo>
                          <a:pt x="118" y="80"/>
                        </a:lnTo>
                        <a:lnTo>
                          <a:pt x="143" y="79"/>
                        </a:lnTo>
                        <a:lnTo>
                          <a:pt x="168" y="75"/>
                        </a:lnTo>
                        <a:lnTo>
                          <a:pt x="186" y="66"/>
                        </a:lnTo>
                        <a:lnTo>
                          <a:pt x="196" y="53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da-DK" kern="0">
                      <a:solidFill>
                        <a:sysClr val="windowText" lastClr="000000"/>
                      </a:solidFill>
                      <a:latin typeface="+mn-lt"/>
                      <a:ea typeface="ＭＳ Ｐゴシック" pitchFamily="-97" charset="-128"/>
                      <a:cs typeface="+mn-cs"/>
                    </a:endParaRPr>
                  </a:p>
                </p:txBody>
              </p:sp>
              <p:sp>
                <p:nvSpPr>
                  <p:cNvPr id="230" name="Freeform 504"/>
                  <p:cNvSpPr>
                    <a:spLocks/>
                  </p:cNvSpPr>
                  <p:nvPr/>
                </p:nvSpPr>
                <p:spPr bwMode="auto">
                  <a:xfrm>
                    <a:off x="7186613" y="4948238"/>
                    <a:ext cx="198438" cy="157163"/>
                  </a:xfrm>
                  <a:custGeom>
                    <a:avLst/>
                    <a:gdLst/>
                    <a:ahLst/>
                    <a:cxnLst>
                      <a:cxn ang="0">
                        <a:pos x="91" y="16"/>
                      </a:cxn>
                      <a:cxn ang="0">
                        <a:pos x="89" y="14"/>
                      </a:cxn>
                      <a:cxn ang="0">
                        <a:pos x="83" y="11"/>
                      </a:cxn>
                      <a:cxn ang="0">
                        <a:pos x="75" y="7"/>
                      </a:cxn>
                      <a:cxn ang="0">
                        <a:pos x="65" y="3"/>
                      </a:cxn>
                      <a:cxn ang="0">
                        <a:pos x="53" y="1"/>
                      </a:cxn>
                      <a:cxn ang="0">
                        <a:pos x="40" y="0"/>
                      </a:cxn>
                      <a:cxn ang="0">
                        <a:pos x="30" y="3"/>
                      </a:cxn>
                      <a:cxn ang="0">
                        <a:pos x="20" y="9"/>
                      </a:cxn>
                      <a:cxn ang="0">
                        <a:pos x="12" y="19"/>
                      </a:cxn>
                      <a:cxn ang="0">
                        <a:pos x="6" y="33"/>
                      </a:cxn>
                      <a:cxn ang="0">
                        <a:pos x="2" y="50"/>
                      </a:cxn>
                      <a:cxn ang="0">
                        <a:pos x="0" y="69"/>
                      </a:cxn>
                      <a:cxn ang="0">
                        <a:pos x="2" y="89"/>
                      </a:cxn>
                      <a:cxn ang="0">
                        <a:pos x="8" y="109"/>
                      </a:cxn>
                      <a:cxn ang="0">
                        <a:pos x="19" y="128"/>
                      </a:cxn>
                      <a:cxn ang="0">
                        <a:pos x="36" y="145"/>
                      </a:cxn>
                      <a:cxn ang="0">
                        <a:pos x="58" y="160"/>
                      </a:cxn>
                      <a:cxn ang="0">
                        <a:pos x="82" y="172"/>
                      </a:cxn>
                      <a:cxn ang="0">
                        <a:pos x="106" y="183"/>
                      </a:cxn>
                      <a:cxn ang="0">
                        <a:pos x="132" y="191"/>
                      </a:cxn>
                      <a:cxn ang="0">
                        <a:pos x="156" y="195"/>
                      </a:cxn>
                      <a:cxn ang="0">
                        <a:pos x="181" y="196"/>
                      </a:cxn>
                      <a:cxn ang="0">
                        <a:pos x="202" y="193"/>
                      </a:cxn>
                      <a:cxn ang="0">
                        <a:pos x="221" y="188"/>
                      </a:cxn>
                      <a:cxn ang="0">
                        <a:pos x="235" y="176"/>
                      </a:cxn>
                      <a:cxn ang="0">
                        <a:pos x="244" y="159"/>
                      </a:cxn>
                      <a:cxn ang="0">
                        <a:pos x="250" y="138"/>
                      </a:cxn>
                      <a:cxn ang="0">
                        <a:pos x="248" y="115"/>
                      </a:cxn>
                      <a:cxn ang="0">
                        <a:pos x="244" y="92"/>
                      </a:cxn>
                      <a:cxn ang="0">
                        <a:pos x="234" y="73"/>
                      </a:cxn>
                      <a:cxn ang="0">
                        <a:pos x="218" y="59"/>
                      </a:cxn>
                      <a:cxn ang="0">
                        <a:pos x="198" y="52"/>
                      </a:cxn>
                      <a:cxn ang="0">
                        <a:pos x="175" y="47"/>
                      </a:cxn>
                      <a:cxn ang="0">
                        <a:pos x="155" y="43"/>
                      </a:cxn>
                      <a:cxn ang="0">
                        <a:pos x="136" y="37"/>
                      </a:cxn>
                      <a:cxn ang="0">
                        <a:pos x="121" y="31"/>
                      </a:cxn>
                      <a:cxn ang="0">
                        <a:pos x="108" y="26"/>
                      </a:cxn>
                      <a:cxn ang="0">
                        <a:pos x="99" y="20"/>
                      </a:cxn>
                      <a:cxn ang="0">
                        <a:pos x="92" y="17"/>
                      </a:cxn>
                      <a:cxn ang="0">
                        <a:pos x="91" y="16"/>
                      </a:cxn>
                    </a:cxnLst>
                    <a:rect l="0" t="0" r="r" b="b"/>
                    <a:pathLst>
                      <a:path w="250" h="196">
                        <a:moveTo>
                          <a:pt x="91" y="16"/>
                        </a:moveTo>
                        <a:lnTo>
                          <a:pt x="89" y="14"/>
                        </a:lnTo>
                        <a:lnTo>
                          <a:pt x="83" y="11"/>
                        </a:lnTo>
                        <a:lnTo>
                          <a:pt x="75" y="7"/>
                        </a:lnTo>
                        <a:lnTo>
                          <a:pt x="65" y="3"/>
                        </a:lnTo>
                        <a:lnTo>
                          <a:pt x="53" y="1"/>
                        </a:lnTo>
                        <a:lnTo>
                          <a:pt x="40" y="0"/>
                        </a:lnTo>
                        <a:lnTo>
                          <a:pt x="30" y="3"/>
                        </a:lnTo>
                        <a:lnTo>
                          <a:pt x="20" y="9"/>
                        </a:lnTo>
                        <a:lnTo>
                          <a:pt x="12" y="19"/>
                        </a:lnTo>
                        <a:lnTo>
                          <a:pt x="6" y="33"/>
                        </a:lnTo>
                        <a:lnTo>
                          <a:pt x="2" y="50"/>
                        </a:lnTo>
                        <a:lnTo>
                          <a:pt x="0" y="69"/>
                        </a:lnTo>
                        <a:lnTo>
                          <a:pt x="2" y="89"/>
                        </a:lnTo>
                        <a:lnTo>
                          <a:pt x="8" y="109"/>
                        </a:lnTo>
                        <a:lnTo>
                          <a:pt x="19" y="128"/>
                        </a:lnTo>
                        <a:lnTo>
                          <a:pt x="36" y="145"/>
                        </a:lnTo>
                        <a:lnTo>
                          <a:pt x="58" y="160"/>
                        </a:lnTo>
                        <a:lnTo>
                          <a:pt x="82" y="172"/>
                        </a:lnTo>
                        <a:lnTo>
                          <a:pt x="106" y="183"/>
                        </a:lnTo>
                        <a:lnTo>
                          <a:pt x="132" y="191"/>
                        </a:lnTo>
                        <a:lnTo>
                          <a:pt x="156" y="195"/>
                        </a:lnTo>
                        <a:lnTo>
                          <a:pt x="181" y="196"/>
                        </a:lnTo>
                        <a:lnTo>
                          <a:pt x="202" y="193"/>
                        </a:lnTo>
                        <a:lnTo>
                          <a:pt x="221" y="188"/>
                        </a:lnTo>
                        <a:lnTo>
                          <a:pt x="235" y="176"/>
                        </a:lnTo>
                        <a:lnTo>
                          <a:pt x="244" y="159"/>
                        </a:lnTo>
                        <a:lnTo>
                          <a:pt x="250" y="138"/>
                        </a:lnTo>
                        <a:lnTo>
                          <a:pt x="248" y="115"/>
                        </a:lnTo>
                        <a:lnTo>
                          <a:pt x="244" y="92"/>
                        </a:lnTo>
                        <a:lnTo>
                          <a:pt x="234" y="73"/>
                        </a:lnTo>
                        <a:lnTo>
                          <a:pt x="218" y="59"/>
                        </a:lnTo>
                        <a:lnTo>
                          <a:pt x="198" y="52"/>
                        </a:lnTo>
                        <a:lnTo>
                          <a:pt x="175" y="47"/>
                        </a:lnTo>
                        <a:lnTo>
                          <a:pt x="155" y="43"/>
                        </a:lnTo>
                        <a:lnTo>
                          <a:pt x="136" y="37"/>
                        </a:lnTo>
                        <a:lnTo>
                          <a:pt x="121" y="31"/>
                        </a:lnTo>
                        <a:lnTo>
                          <a:pt x="108" y="26"/>
                        </a:lnTo>
                        <a:lnTo>
                          <a:pt x="99" y="20"/>
                        </a:lnTo>
                        <a:lnTo>
                          <a:pt x="92" y="17"/>
                        </a:lnTo>
                        <a:lnTo>
                          <a:pt x="91" y="16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da-DK" kern="0">
                      <a:solidFill>
                        <a:sysClr val="windowText" lastClr="000000"/>
                      </a:solidFill>
                      <a:latin typeface="+mn-lt"/>
                      <a:ea typeface="ＭＳ Ｐゴシック" pitchFamily="-97" charset="-128"/>
                      <a:cs typeface="+mn-cs"/>
                    </a:endParaRPr>
                  </a:p>
                </p:txBody>
              </p:sp>
              <p:sp>
                <p:nvSpPr>
                  <p:cNvPr id="231" name="Freeform 505"/>
                  <p:cNvSpPr>
                    <a:spLocks/>
                  </p:cNvSpPr>
                  <p:nvPr/>
                </p:nvSpPr>
                <p:spPr bwMode="auto">
                  <a:xfrm>
                    <a:off x="7159625" y="5106988"/>
                    <a:ext cx="231775" cy="133350"/>
                  </a:xfrm>
                  <a:custGeom>
                    <a:avLst/>
                    <a:gdLst/>
                    <a:ahLst/>
                    <a:cxnLst>
                      <a:cxn ang="0">
                        <a:pos x="107" y="57"/>
                      </a:cxn>
                      <a:cxn ang="0">
                        <a:pos x="92" y="50"/>
                      </a:cxn>
                      <a:cxn ang="0">
                        <a:pos x="76" y="42"/>
                      </a:cxn>
                      <a:cxn ang="0">
                        <a:pos x="60" y="33"/>
                      </a:cxn>
                      <a:cxn ang="0">
                        <a:pos x="46" y="23"/>
                      </a:cxn>
                      <a:cxn ang="0">
                        <a:pos x="34" y="14"/>
                      </a:cxn>
                      <a:cxn ang="0">
                        <a:pos x="24" y="7"/>
                      </a:cxn>
                      <a:cxn ang="0">
                        <a:pos x="19" y="2"/>
                      </a:cxn>
                      <a:cxn ang="0">
                        <a:pos x="16" y="0"/>
                      </a:cxn>
                      <a:cxn ang="0">
                        <a:pos x="14" y="2"/>
                      </a:cxn>
                      <a:cxn ang="0">
                        <a:pos x="10" y="3"/>
                      </a:cxn>
                      <a:cxn ang="0">
                        <a:pos x="6" y="9"/>
                      </a:cxn>
                      <a:cxn ang="0">
                        <a:pos x="1" y="16"/>
                      </a:cxn>
                      <a:cxn ang="0">
                        <a:pos x="0" y="26"/>
                      </a:cxn>
                      <a:cxn ang="0">
                        <a:pos x="3" y="39"/>
                      </a:cxn>
                      <a:cxn ang="0">
                        <a:pos x="10" y="55"/>
                      </a:cxn>
                      <a:cxn ang="0">
                        <a:pos x="24" y="75"/>
                      </a:cxn>
                      <a:cxn ang="0">
                        <a:pos x="42" y="90"/>
                      </a:cxn>
                      <a:cxn ang="0">
                        <a:pos x="64" y="106"/>
                      </a:cxn>
                      <a:cxn ang="0">
                        <a:pos x="92" y="122"/>
                      </a:cxn>
                      <a:cxn ang="0">
                        <a:pos x="123" y="136"/>
                      </a:cxn>
                      <a:cxn ang="0">
                        <a:pos x="155" y="149"/>
                      </a:cxn>
                      <a:cxn ang="0">
                        <a:pos x="188" y="159"/>
                      </a:cxn>
                      <a:cxn ang="0">
                        <a:pos x="218" y="165"/>
                      </a:cxn>
                      <a:cxn ang="0">
                        <a:pos x="245" y="168"/>
                      </a:cxn>
                      <a:cxn ang="0">
                        <a:pos x="266" y="165"/>
                      </a:cxn>
                      <a:cxn ang="0">
                        <a:pos x="281" y="156"/>
                      </a:cxn>
                      <a:cxn ang="0">
                        <a:pos x="289" y="145"/>
                      </a:cxn>
                      <a:cxn ang="0">
                        <a:pos x="292" y="131"/>
                      </a:cxn>
                      <a:cxn ang="0">
                        <a:pos x="289" y="118"/>
                      </a:cxn>
                      <a:cxn ang="0">
                        <a:pos x="282" y="106"/>
                      </a:cxn>
                      <a:cxn ang="0">
                        <a:pos x="269" y="98"/>
                      </a:cxn>
                      <a:cxn ang="0">
                        <a:pos x="253" y="93"/>
                      </a:cxn>
                      <a:cxn ang="0">
                        <a:pos x="229" y="92"/>
                      </a:cxn>
                      <a:cxn ang="0">
                        <a:pos x="208" y="89"/>
                      </a:cxn>
                      <a:cxn ang="0">
                        <a:pos x="189" y="85"/>
                      </a:cxn>
                      <a:cxn ang="0">
                        <a:pos x="170" y="80"/>
                      </a:cxn>
                      <a:cxn ang="0">
                        <a:pos x="155" y="76"/>
                      </a:cxn>
                      <a:cxn ang="0">
                        <a:pos x="139" y="70"/>
                      </a:cxn>
                      <a:cxn ang="0">
                        <a:pos x="123" y="63"/>
                      </a:cxn>
                      <a:cxn ang="0">
                        <a:pos x="107" y="57"/>
                      </a:cxn>
                    </a:cxnLst>
                    <a:rect l="0" t="0" r="r" b="b"/>
                    <a:pathLst>
                      <a:path w="292" h="168">
                        <a:moveTo>
                          <a:pt x="107" y="57"/>
                        </a:moveTo>
                        <a:lnTo>
                          <a:pt x="92" y="50"/>
                        </a:lnTo>
                        <a:lnTo>
                          <a:pt x="76" y="42"/>
                        </a:lnTo>
                        <a:lnTo>
                          <a:pt x="60" y="33"/>
                        </a:lnTo>
                        <a:lnTo>
                          <a:pt x="46" y="23"/>
                        </a:lnTo>
                        <a:lnTo>
                          <a:pt x="34" y="14"/>
                        </a:lnTo>
                        <a:lnTo>
                          <a:pt x="24" y="7"/>
                        </a:lnTo>
                        <a:lnTo>
                          <a:pt x="19" y="2"/>
                        </a:lnTo>
                        <a:lnTo>
                          <a:pt x="16" y="0"/>
                        </a:lnTo>
                        <a:lnTo>
                          <a:pt x="14" y="2"/>
                        </a:lnTo>
                        <a:lnTo>
                          <a:pt x="10" y="3"/>
                        </a:lnTo>
                        <a:lnTo>
                          <a:pt x="6" y="9"/>
                        </a:lnTo>
                        <a:lnTo>
                          <a:pt x="1" y="16"/>
                        </a:lnTo>
                        <a:lnTo>
                          <a:pt x="0" y="26"/>
                        </a:lnTo>
                        <a:lnTo>
                          <a:pt x="3" y="39"/>
                        </a:lnTo>
                        <a:lnTo>
                          <a:pt x="10" y="55"/>
                        </a:lnTo>
                        <a:lnTo>
                          <a:pt x="24" y="75"/>
                        </a:lnTo>
                        <a:lnTo>
                          <a:pt x="42" y="90"/>
                        </a:lnTo>
                        <a:lnTo>
                          <a:pt x="64" y="106"/>
                        </a:lnTo>
                        <a:lnTo>
                          <a:pt x="92" y="122"/>
                        </a:lnTo>
                        <a:lnTo>
                          <a:pt x="123" y="136"/>
                        </a:lnTo>
                        <a:lnTo>
                          <a:pt x="155" y="149"/>
                        </a:lnTo>
                        <a:lnTo>
                          <a:pt x="188" y="159"/>
                        </a:lnTo>
                        <a:lnTo>
                          <a:pt x="218" y="165"/>
                        </a:lnTo>
                        <a:lnTo>
                          <a:pt x="245" y="168"/>
                        </a:lnTo>
                        <a:lnTo>
                          <a:pt x="266" y="165"/>
                        </a:lnTo>
                        <a:lnTo>
                          <a:pt x="281" y="156"/>
                        </a:lnTo>
                        <a:lnTo>
                          <a:pt x="289" y="145"/>
                        </a:lnTo>
                        <a:lnTo>
                          <a:pt x="292" y="131"/>
                        </a:lnTo>
                        <a:lnTo>
                          <a:pt x="289" y="118"/>
                        </a:lnTo>
                        <a:lnTo>
                          <a:pt x="282" y="106"/>
                        </a:lnTo>
                        <a:lnTo>
                          <a:pt x="269" y="98"/>
                        </a:lnTo>
                        <a:lnTo>
                          <a:pt x="253" y="93"/>
                        </a:lnTo>
                        <a:lnTo>
                          <a:pt x="229" y="92"/>
                        </a:lnTo>
                        <a:lnTo>
                          <a:pt x="208" y="89"/>
                        </a:lnTo>
                        <a:lnTo>
                          <a:pt x="189" y="85"/>
                        </a:lnTo>
                        <a:lnTo>
                          <a:pt x="170" y="80"/>
                        </a:lnTo>
                        <a:lnTo>
                          <a:pt x="155" y="76"/>
                        </a:lnTo>
                        <a:lnTo>
                          <a:pt x="139" y="70"/>
                        </a:lnTo>
                        <a:lnTo>
                          <a:pt x="123" y="63"/>
                        </a:lnTo>
                        <a:lnTo>
                          <a:pt x="107" y="57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da-DK" kern="0">
                      <a:solidFill>
                        <a:sysClr val="windowText" lastClr="000000"/>
                      </a:solidFill>
                      <a:latin typeface="+mn-lt"/>
                      <a:ea typeface="ＭＳ Ｐゴシック" pitchFamily="-97" charset="-128"/>
                      <a:cs typeface="+mn-cs"/>
                    </a:endParaRPr>
                  </a:p>
                </p:txBody>
              </p:sp>
              <p:sp>
                <p:nvSpPr>
                  <p:cNvPr id="232" name="Freeform 506"/>
                  <p:cNvSpPr>
                    <a:spLocks/>
                  </p:cNvSpPr>
                  <p:nvPr/>
                </p:nvSpPr>
                <p:spPr bwMode="auto">
                  <a:xfrm>
                    <a:off x="7629525" y="4943475"/>
                    <a:ext cx="149225" cy="82550"/>
                  </a:xfrm>
                  <a:custGeom>
                    <a:avLst/>
                    <a:gdLst/>
                    <a:ahLst/>
                    <a:cxnLst>
                      <a:cxn ang="0">
                        <a:pos x="115" y="102"/>
                      </a:cxn>
                      <a:cxn ang="0">
                        <a:pos x="118" y="100"/>
                      </a:cxn>
                      <a:cxn ang="0">
                        <a:pos x="128" y="97"/>
                      </a:cxn>
                      <a:cxn ang="0">
                        <a:pos x="141" y="92"/>
                      </a:cxn>
                      <a:cxn ang="0">
                        <a:pos x="155" y="84"/>
                      </a:cxn>
                      <a:cxn ang="0">
                        <a:pos x="169" y="76"/>
                      </a:cxn>
                      <a:cxn ang="0">
                        <a:pos x="181" y="66"/>
                      </a:cxn>
                      <a:cxn ang="0">
                        <a:pos x="188" y="54"/>
                      </a:cxn>
                      <a:cxn ang="0">
                        <a:pos x="189" y="43"/>
                      </a:cxn>
                      <a:cxn ang="0">
                        <a:pos x="185" y="31"/>
                      </a:cxn>
                      <a:cxn ang="0">
                        <a:pos x="178" y="21"/>
                      </a:cxn>
                      <a:cxn ang="0">
                        <a:pos x="168" y="13"/>
                      </a:cxn>
                      <a:cxn ang="0">
                        <a:pos x="157" y="7"/>
                      </a:cxn>
                      <a:cxn ang="0">
                        <a:pos x="142" y="3"/>
                      </a:cxn>
                      <a:cxn ang="0">
                        <a:pos x="128" y="0"/>
                      </a:cxn>
                      <a:cxn ang="0">
                        <a:pos x="114" y="0"/>
                      </a:cxn>
                      <a:cxn ang="0">
                        <a:pos x="98" y="1"/>
                      </a:cxn>
                      <a:cxn ang="0">
                        <a:pos x="81" y="4"/>
                      </a:cxn>
                      <a:cxn ang="0">
                        <a:pos x="62" y="8"/>
                      </a:cxn>
                      <a:cxn ang="0">
                        <a:pos x="43" y="13"/>
                      </a:cxn>
                      <a:cxn ang="0">
                        <a:pos x="25" y="18"/>
                      </a:cxn>
                      <a:cxn ang="0">
                        <a:pos x="10" y="26"/>
                      </a:cxn>
                      <a:cxn ang="0">
                        <a:pos x="2" y="34"/>
                      </a:cxn>
                      <a:cxn ang="0">
                        <a:pos x="0" y="46"/>
                      </a:cxn>
                      <a:cxn ang="0">
                        <a:pos x="8" y="60"/>
                      </a:cxn>
                      <a:cxn ang="0">
                        <a:pos x="19" y="74"/>
                      </a:cxn>
                      <a:cxn ang="0">
                        <a:pos x="32" y="84"/>
                      </a:cxn>
                      <a:cxn ang="0">
                        <a:pos x="43" y="93"/>
                      </a:cxn>
                      <a:cxn ang="0">
                        <a:pos x="55" y="99"/>
                      </a:cxn>
                      <a:cxn ang="0">
                        <a:pos x="68" y="103"/>
                      </a:cxn>
                      <a:cxn ang="0">
                        <a:pos x="82" y="104"/>
                      </a:cxn>
                      <a:cxn ang="0">
                        <a:pos x="98" y="103"/>
                      </a:cxn>
                      <a:cxn ang="0">
                        <a:pos x="115" y="102"/>
                      </a:cxn>
                    </a:cxnLst>
                    <a:rect l="0" t="0" r="r" b="b"/>
                    <a:pathLst>
                      <a:path w="189" h="104">
                        <a:moveTo>
                          <a:pt x="115" y="102"/>
                        </a:moveTo>
                        <a:lnTo>
                          <a:pt x="118" y="100"/>
                        </a:lnTo>
                        <a:lnTo>
                          <a:pt x="128" y="97"/>
                        </a:lnTo>
                        <a:lnTo>
                          <a:pt x="141" y="92"/>
                        </a:lnTo>
                        <a:lnTo>
                          <a:pt x="155" y="84"/>
                        </a:lnTo>
                        <a:lnTo>
                          <a:pt x="169" y="76"/>
                        </a:lnTo>
                        <a:lnTo>
                          <a:pt x="181" y="66"/>
                        </a:lnTo>
                        <a:lnTo>
                          <a:pt x="188" y="54"/>
                        </a:lnTo>
                        <a:lnTo>
                          <a:pt x="189" y="43"/>
                        </a:lnTo>
                        <a:lnTo>
                          <a:pt x="185" y="31"/>
                        </a:lnTo>
                        <a:lnTo>
                          <a:pt x="178" y="21"/>
                        </a:lnTo>
                        <a:lnTo>
                          <a:pt x="168" y="13"/>
                        </a:lnTo>
                        <a:lnTo>
                          <a:pt x="157" y="7"/>
                        </a:lnTo>
                        <a:lnTo>
                          <a:pt x="142" y="3"/>
                        </a:lnTo>
                        <a:lnTo>
                          <a:pt x="128" y="0"/>
                        </a:lnTo>
                        <a:lnTo>
                          <a:pt x="114" y="0"/>
                        </a:lnTo>
                        <a:lnTo>
                          <a:pt x="98" y="1"/>
                        </a:lnTo>
                        <a:lnTo>
                          <a:pt x="81" y="4"/>
                        </a:lnTo>
                        <a:lnTo>
                          <a:pt x="62" y="8"/>
                        </a:lnTo>
                        <a:lnTo>
                          <a:pt x="43" y="13"/>
                        </a:lnTo>
                        <a:lnTo>
                          <a:pt x="25" y="18"/>
                        </a:lnTo>
                        <a:lnTo>
                          <a:pt x="10" y="26"/>
                        </a:lnTo>
                        <a:lnTo>
                          <a:pt x="2" y="34"/>
                        </a:lnTo>
                        <a:lnTo>
                          <a:pt x="0" y="46"/>
                        </a:lnTo>
                        <a:lnTo>
                          <a:pt x="8" y="60"/>
                        </a:lnTo>
                        <a:lnTo>
                          <a:pt x="19" y="74"/>
                        </a:lnTo>
                        <a:lnTo>
                          <a:pt x="32" y="84"/>
                        </a:lnTo>
                        <a:lnTo>
                          <a:pt x="43" y="93"/>
                        </a:lnTo>
                        <a:lnTo>
                          <a:pt x="55" y="99"/>
                        </a:lnTo>
                        <a:lnTo>
                          <a:pt x="68" y="103"/>
                        </a:lnTo>
                        <a:lnTo>
                          <a:pt x="82" y="104"/>
                        </a:lnTo>
                        <a:lnTo>
                          <a:pt x="98" y="103"/>
                        </a:lnTo>
                        <a:lnTo>
                          <a:pt x="115" y="102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da-DK" kern="0">
                      <a:solidFill>
                        <a:sysClr val="windowText" lastClr="000000"/>
                      </a:solidFill>
                      <a:latin typeface="+mn-lt"/>
                      <a:ea typeface="ＭＳ Ｐゴシック" pitchFamily="-97" charset="-128"/>
                      <a:cs typeface="+mn-cs"/>
                    </a:endParaRPr>
                  </a:p>
                </p:txBody>
              </p:sp>
              <p:sp>
                <p:nvSpPr>
                  <p:cNvPr id="233" name="Freeform 507"/>
                  <p:cNvSpPr>
                    <a:spLocks/>
                  </p:cNvSpPr>
                  <p:nvPr/>
                </p:nvSpPr>
                <p:spPr bwMode="auto">
                  <a:xfrm>
                    <a:off x="7556500" y="4335463"/>
                    <a:ext cx="195263" cy="436563"/>
                  </a:xfrm>
                  <a:custGeom>
                    <a:avLst/>
                    <a:gdLst/>
                    <a:ahLst/>
                    <a:cxnLst>
                      <a:cxn ang="0">
                        <a:pos x="0" y="0"/>
                      </a:cxn>
                      <a:cxn ang="0">
                        <a:pos x="1" y="1"/>
                      </a:cxn>
                      <a:cxn ang="0">
                        <a:pos x="8" y="5"/>
                      </a:cxn>
                      <a:cxn ang="0">
                        <a:pos x="17" y="12"/>
                      </a:cxn>
                      <a:cxn ang="0">
                        <a:pos x="30" y="22"/>
                      </a:cxn>
                      <a:cxn ang="0">
                        <a:pos x="46" y="35"/>
                      </a:cxn>
                      <a:cxn ang="0">
                        <a:pos x="63" y="51"/>
                      </a:cxn>
                      <a:cxn ang="0">
                        <a:pos x="81" y="68"/>
                      </a:cxn>
                      <a:cxn ang="0">
                        <a:pos x="100" y="87"/>
                      </a:cxn>
                      <a:cxn ang="0">
                        <a:pos x="122" y="110"/>
                      </a:cxn>
                      <a:cxn ang="0">
                        <a:pos x="142" y="133"/>
                      </a:cxn>
                      <a:cxn ang="0">
                        <a:pos x="162" y="157"/>
                      </a:cxn>
                      <a:cxn ang="0">
                        <a:pos x="180" y="184"/>
                      </a:cxn>
                      <a:cxn ang="0">
                        <a:pos x="199" y="213"/>
                      </a:cxn>
                      <a:cxn ang="0">
                        <a:pos x="215" y="242"/>
                      </a:cxn>
                      <a:cxn ang="0">
                        <a:pos x="228" y="273"/>
                      </a:cxn>
                      <a:cxn ang="0">
                        <a:pos x="239" y="305"/>
                      </a:cxn>
                      <a:cxn ang="0">
                        <a:pos x="246" y="343"/>
                      </a:cxn>
                      <a:cxn ang="0">
                        <a:pos x="246" y="381"/>
                      </a:cxn>
                      <a:cxn ang="0">
                        <a:pos x="240" y="417"/>
                      </a:cxn>
                      <a:cxn ang="0">
                        <a:pos x="230" y="450"/>
                      </a:cxn>
                      <a:cxn ang="0">
                        <a:pos x="219" y="481"/>
                      </a:cxn>
                      <a:cxn ang="0">
                        <a:pos x="205" y="507"/>
                      </a:cxn>
                      <a:cxn ang="0">
                        <a:pos x="192" y="528"/>
                      </a:cxn>
                      <a:cxn ang="0">
                        <a:pos x="182" y="544"/>
                      </a:cxn>
                      <a:cxn ang="0">
                        <a:pos x="170" y="548"/>
                      </a:cxn>
                      <a:cxn ang="0">
                        <a:pos x="157" y="538"/>
                      </a:cxn>
                      <a:cxn ang="0">
                        <a:pos x="144" y="517"/>
                      </a:cxn>
                      <a:cxn ang="0">
                        <a:pos x="130" y="490"/>
                      </a:cxn>
                      <a:cxn ang="0">
                        <a:pos x="119" y="458"/>
                      </a:cxn>
                      <a:cxn ang="0">
                        <a:pos x="109" y="427"/>
                      </a:cxn>
                      <a:cxn ang="0">
                        <a:pos x="101" y="399"/>
                      </a:cxn>
                      <a:cxn ang="0">
                        <a:pos x="99" y="379"/>
                      </a:cxn>
                      <a:cxn ang="0">
                        <a:pos x="100" y="361"/>
                      </a:cxn>
                      <a:cxn ang="0">
                        <a:pos x="100" y="333"/>
                      </a:cxn>
                      <a:cxn ang="0">
                        <a:pos x="100" y="299"/>
                      </a:cxn>
                      <a:cxn ang="0">
                        <a:pos x="96" y="258"/>
                      </a:cxn>
                      <a:cxn ang="0">
                        <a:pos x="86" y="206"/>
                      </a:cxn>
                      <a:cxn ang="0">
                        <a:pos x="67" y="147"/>
                      </a:cxn>
                      <a:cxn ang="0">
                        <a:pos x="40" y="78"/>
                      </a:cxn>
                      <a:cxn ang="0">
                        <a:pos x="0" y="0"/>
                      </a:cxn>
                    </a:cxnLst>
                    <a:rect l="0" t="0" r="r" b="b"/>
                    <a:pathLst>
                      <a:path w="246" h="548">
                        <a:moveTo>
                          <a:pt x="0" y="0"/>
                        </a:moveTo>
                        <a:lnTo>
                          <a:pt x="1" y="1"/>
                        </a:lnTo>
                        <a:lnTo>
                          <a:pt x="8" y="5"/>
                        </a:lnTo>
                        <a:lnTo>
                          <a:pt x="17" y="12"/>
                        </a:lnTo>
                        <a:lnTo>
                          <a:pt x="30" y="22"/>
                        </a:lnTo>
                        <a:lnTo>
                          <a:pt x="46" y="35"/>
                        </a:lnTo>
                        <a:lnTo>
                          <a:pt x="63" y="51"/>
                        </a:lnTo>
                        <a:lnTo>
                          <a:pt x="81" y="68"/>
                        </a:lnTo>
                        <a:lnTo>
                          <a:pt x="100" y="87"/>
                        </a:lnTo>
                        <a:lnTo>
                          <a:pt x="122" y="110"/>
                        </a:lnTo>
                        <a:lnTo>
                          <a:pt x="142" y="133"/>
                        </a:lnTo>
                        <a:lnTo>
                          <a:pt x="162" y="157"/>
                        </a:lnTo>
                        <a:lnTo>
                          <a:pt x="180" y="184"/>
                        </a:lnTo>
                        <a:lnTo>
                          <a:pt x="199" y="213"/>
                        </a:lnTo>
                        <a:lnTo>
                          <a:pt x="215" y="242"/>
                        </a:lnTo>
                        <a:lnTo>
                          <a:pt x="228" y="273"/>
                        </a:lnTo>
                        <a:lnTo>
                          <a:pt x="239" y="305"/>
                        </a:lnTo>
                        <a:lnTo>
                          <a:pt x="246" y="343"/>
                        </a:lnTo>
                        <a:lnTo>
                          <a:pt x="246" y="381"/>
                        </a:lnTo>
                        <a:lnTo>
                          <a:pt x="240" y="417"/>
                        </a:lnTo>
                        <a:lnTo>
                          <a:pt x="230" y="450"/>
                        </a:lnTo>
                        <a:lnTo>
                          <a:pt x="219" y="481"/>
                        </a:lnTo>
                        <a:lnTo>
                          <a:pt x="205" y="507"/>
                        </a:lnTo>
                        <a:lnTo>
                          <a:pt x="192" y="528"/>
                        </a:lnTo>
                        <a:lnTo>
                          <a:pt x="182" y="544"/>
                        </a:lnTo>
                        <a:lnTo>
                          <a:pt x="170" y="548"/>
                        </a:lnTo>
                        <a:lnTo>
                          <a:pt x="157" y="538"/>
                        </a:lnTo>
                        <a:lnTo>
                          <a:pt x="144" y="517"/>
                        </a:lnTo>
                        <a:lnTo>
                          <a:pt x="130" y="490"/>
                        </a:lnTo>
                        <a:lnTo>
                          <a:pt x="119" y="458"/>
                        </a:lnTo>
                        <a:lnTo>
                          <a:pt x="109" y="427"/>
                        </a:lnTo>
                        <a:lnTo>
                          <a:pt x="101" y="399"/>
                        </a:lnTo>
                        <a:lnTo>
                          <a:pt x="99" y="379"/>
                        </a:lnTo>
                        <a:lnTo>
                          <a:pt x="100" y="361"/>
                        </a:lnTo>
                        <a:lnTo>
                          <a:pt x="100" y="333"/>
                        </a:lnTo>
                        <a:lnTo>
                          <a:pt x="100" y="299"/>
                        </a:lnTo>
                        <a:lnTo>
                          <a:pt x="96" y="258"/>
                        </a:lnTo>
                        <a:lnTo>
                          <a:pt x="86" y="206"/>
                        </a:lnTo>
                        <a:lnTo>
                          <a:pt x="67" y="147"/>
                        </a:lnTo>
                        <a:lnTo>
                          <a:pt x="40" y="78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da-DK" kern="0">
                      <a:solidFill>
                        <a:sysClr val="windowText" lastClr="000000"/>
                      </a:solidFill>
                      <a:latin typeface="+mn-lt"/>
                      <a:ea typeface="ＭＳ Ｐゴシック" pitchFamily="-97" charset="-128"/>
                      <a:cs typeface="+mn-cs"/>
                    </a:endParaRPr>
                  </a:p>
                </p:txBody>
              </p:sp>
            </p:grpSp>
          </p:grpSp>
          <p:sp>
            <p:nvSpPr>
              <p:cNvPr id="224" name="Ellipse 528"/>
              <p:cNvSpPr/>
              <p:nvPr/>
            </p:nvSpPr>
            <p:spPr bwMode="auto">
              <a:xfrm>
                <a:off x="5503628" y="3878218"/>
                <a:ext cx="1204961" cy="338182"/>
              </a:xfrm>
              <a:prstGeom prst="ellipse">
                <a:avLst/>
              </a:prstGeom>
              <a:gradFill flip="none" rotWithShape="1">
                <a:gsLst>
                  <a:gs pos="24000">
                    <a:sysClr val="windowText" lastClr="000000">
                      <a:alpha val="42000"/>
                    </a:sysClr>
                  </a:gs>
                  <a:gs pos="100000">
                    <a:sysClr val="window" lastClr="FFFFFF">
                      <a:alpha val="0"/>
                    </a:sysClr>
                  </a:gs>
                </a:gsLst>
                <a:path path="shape">
                  <a:fillToRect l="50000" t="50000" r="50000" b="50000"/>
                </a:path>
                <a:tileRect/>
              </a:gradFill>
              <a:ln w="9525" cap="flat" cmpd="sng" algn="ctr">
                <a:noFill/>
                <a:prstDash val="solid"/>
              </a:ln>
              <a:effectLst/>
            </p:spPr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 dirty="0" err="1">
                  <a:solidFill>
                    <a:sysClr val="window" lastClr="FFFFFF"/>
                  </a:solidFill>
                  <a:latin typeface="Calibri"/>
                  <a:ea typeface="ＭＳ Ｐゴシック" pitchFamily="-97" charset="-128"/>
                  <a:cs typeface="+mn-cs"/>
                </a:endParaRPr>
              </a:p>
            </p:txBody>
          </p:sp>
        </p:grpSp>
        <p:grpSp>
          <p:nvGrpSpPr>
            <p:cNvPr id="127" name="Gruppe 218"/>
            <p:cNvGrpSpPr>
              <a:grpSpLocks/>
            </p:cNvGrpSpPr>
            <p:nvPr/>
          </p:nvGrpSpPr>
          <p:grpSpPr bwMode="auto">
            <a:xfrm flipH="1">
              <a:off x="7204075" y="3629025"/>
              <a:ext cx="690563" cy="915988"/>
              <a:chOff x="2217739" y="4806539"/>
              <a:chExt cx="1096961" cy="1454561"/>
            </a:xfrm>
          </p:grpSpPr>
          <p:sp>
            <p:nvSpPr>
              <p:cNvPr id="204" name="Ellipse 539"/>
              <p:cNvSpPr/>
              <p:nvPr/>
            </p:nvSpPr>
            <p:spPr bwMode="auto">
              <a:xfrm>
                <a:off x="2217739" y="5953229"/>
                <a:ext cx="1096961" cy="307871"/>
              </a:xfrm>
              <a:prstGeom prst="ellipse">
                <a:avLst/>
              </a:prstGeom>
              <a:gradFill flip="none" rotWithShape="1">
                <a:gsLst>
                  <a:gs pos="24000">
                    <a:sysClr val="windowText" lastClr="000000">
                      <a:alpha val="42000"/>
                    </a:sysClr>
                  </a:gs>
                  <a:gs pos="100000">
                    <a:sysClr val="window" lastClr="FFFFFF">
                      <a:alpha val="0"/>
                    </a:sysClr>
                  </a:gs>
                </a:gsLst>
                <a:path path="shape">
                  <a:fillToRect l="50000" t="50000" r="50000" b="50000"/>
                </a:path>
                <a:tileRect/>
              </a:gradFill>
              <a:ln w="9525" cap="flat" cmpd="sng" algn="ctr">
                <a:noFill/>
                <a:prstDash val="solid"/>
              </a:ln>
              <a:effectLst/>
            </p:spPr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 dirty="0" err="1">
                  <a:solidFill>
                    <a:sysClr val="window" lastClr="FFFFFF"/>
                  </a:solidFill>
                  <a:latin typeface="Calibri"/>
                  <a:ea typeface="ＭＳ Ｐゴシック" pitchFamily="-97" charset="-128"/>
                  <a:cs typeface="+mn-cs"/>
                </a:endParaRPr>
              </a:p>
            </p:txBody>
          </p:sp>
          <p:grpSp>
            <p:nvGrpSpPr>
              <p:cNvPr id="205" name="Gruppe 850"/>
              <p:cNvGrpSpPr>
                <a:grpSpLocks/>
              </p:cNvGrpSpPr>
              <p:nvPr/>
            </p:nvGrpSpPr>
            <p:grpSpPr bwMode="auto">
              <a:xfrm>
                <a:off x="2507739" y="4806539"/>
                <a:ext cx="615306" cy="1371369"/>
                <a:chOff x="2507739" y="4806539"/>
                <a:chExt cx="615306" cy="1371369"/>
              </a:xfrm>
            </p:grpSpPr>
            <p:grpSp>
              <p:nvGrpSpPr>
                <p:cNvPr id="206" name="Gruppe 823"/>
                <p:cNvGrpSpPr>
                  <a:grpSpLocks/>
                </p:cNvGrpSpPr>
                <p:nvPr/>
              </p:nvGrpSpPr>
              <p:grpSpPr bwMode="auto">
                <a:xfrm>
                  <a:off x="2507739" y="4876797"/>
                  <a:ext cx="615306" cy="1301111"/>
                  <a:chOff x="1022030" y="3975112"/>
                  <a:chExt cx="729203" cy="1898034"/>
                </a:xfrm>
              </p:grpSpPr>
              <p:grpSp>
                <p:nvGrpSpPr>
                  <p:cNvPr id="208" name="Gruppe 605"/>
                  <p:cNvGrpSpPr>
                    <a:grpSpLocks/>
                  </p:cNvGrpSpPr>
                  <p:nvPr/>
                </p:nvGrpSpPr>
                <p:grpSpPr bwMode="auto">
                  <a:xfrm>
                    <a:off x="1022030" y="4093265"/>
                    <a:ext cx="729203" cy="1779881"/>
                    <a:chOff x="-6274" y="3501174"/>
                    <a:chExt cx="966590" cy="2359309"/>
                  </a:xfrm>
                </p:grpSpPr>
                <p:sp>
                  <p:nvSpPr>
                    <p:cNvPr id="215" name="Freeform 130"/>
                    <p:cNvSpPr>
                      <a:spLocks/>
                    </p:cNvSpPr>
                    <p:nvPr/>
                  </p:nvSpPr>
                  <p:spPr bwMode="auto">
                    <a:xfrm>
                      <a:off x="75446" y="3494237"/>
                      <a:ext cx="874657" cy="2359828"/>
                    </a:xfrm>
                    <a:custGeom>
                      <a:avLst/>
                      <a:gdLst/>
                      <a:ahLst/>
                      <a:cxnLst>
                        <a:cxn ang="0">
                          <a:pos x="145" y="87"/>
                        </a:cxn>
                        <a:cxn ang="0">
                          <a:pos x="99" y="110"/>
                        </a:cxn>
                        <a:cxn ang="0">
                          <a:pos x="93" y="162"/>
                        </a:cxn>
                        <a:cxn ang="0">
                          <a:pos x="158" y="272"/>
                        </a:cxn>
                        <a:cxn ang="0">
                          <a:pos x="138" y="326"/>
                        </a:cxn>
                        <a:cxn ang="0">
                          <a:pos x="89" y="375"/>
                        </a:cxn>
                        <a:cxn ang="0">
                          <a:pos x="70" y="414"/>
                        </a:cxn>
                        <a:cxn ang="0">
                          <a:pos x="94" y="449"/>
                        </a:cxn>
                        <a:cxn ang="0">
                          <a:pos x="168" y="522"/>
                        </a:cxn>
                        <a:cxn ang="0">
                          <a:pos x="150" y="638"/>
                        </a:cxn>
                        <a:cxn ang="0">
                          <a:pos x="115" y="750"/>
                        </a:cxn>
                        <a:cxn ang="0">
                          <a:pos x="70" y="804"/>
                        </a:cxn>
                        <a:cxn ang="0">
                          <a:pos x="53" y="835"/>
                        </a:cxn>
                        <a:cxn ang="0">
                          <a:pos x="75" y="868"/>
                        </a:cxn>
                        <a:cxn ang="0">
                          <a:pos x="34" y="905"/>
                        </a:cxn>
                        <a:cxn ang="0">
                          <a:pos x="8" y="942"/>
                        </a:cxn>
                        <a:cxn ang="0">
                          <a:pos x="15" y="999"/>
                        </a:cxn>
                        <a:cxn ang="0">
                          <a:pos x="0" y="1121"/>
                        </a:cxn>
                        <a:cxn ang="0">
                          <a:pos x="69" y="1163"/>
                        </a:cxn>
                        <a:cxn ang="0">
                          <a:pos x="171" y="1189"/>
                        </a:cxn>
                        <a:cxn ang="0">
                          <a:pos x="285" y="1193"/>
                        </a:cxn>
                        <a:cxn ang="0">
                          <a:pos x="393" y="1175"/>
                        </a:cxn>
                        <a:cxn ang="0">
                          <a:pos x="474" y="1129"/>
                        </a:cxn>
                        <a:cxn ang="0">
                          <a:pos x="484" y="1032"/>
                        </a:cxn>
                        <a:cxn ang="0">
                          <a:pos x="489" y="965"/>
                        </a:cxn>
                        <a:cxn ang="0">
                          <a:pos x="470" y="921"/>
                        </a:cxn>
                        <a:cxn ang="0">
                          <a:pos x="441" y="870"/>
                        </a:cxn>
                        <a:cxn ang="0">
                          <a:pos x="449" y="832"/>
                        </a:cxn>
                        <a:cxn ang="0">
                          <a:pos x="425" y="805"/>
                        </a:cxn>
                        <a:cxn ang="0">
                          <a:pos x="373" y="713"/>
                        </a:cxn>
                        <a:cxn ang="0">
                          <a:pos x="349" y="609"/>
                        </a:cxn>
                        <a:cxn ang="0">
                          <a:pos x="344" y="485"/>
                        </a:cxn>
                        <a:cxn ang="0">
                          <a:pos x="417" y="446"/>
                        </a:cxn>
                        <a:cxn ang="0">
                          <a:pos x="436" y="411"/>
                        </a:cxn>
                        <a:cxn ang="0">
                          <a:pos x="414" y="374"/>
                        </a:cxn>
                        <a:cxn ang="0">
                          <a:pos x="379" y="343"/>
                        </a:cxn>
                        <a:cxn ang="0">
                          <a:pos x="393" y="306"/>
                        </a:cxn>
                        <a:cxn ang="0">
                          <a:pos x="376" y="273"/>
                        </a:cxn>
                        <a:cxn ang="0">
                          <a:pos x="409" y="192"/>
                        </a:cxn>
                        <a:cxn ang="0">
                          <a:pos x="432" y="139"/>
                        </a:cxn>
                        <a:cxn ang="0">
                          <a:pos x="416" y="110"/>
                        </a:cxn>
                        <a:cxn ang="0">
                          <a:pos x="349" y="77"/>
                        </a:cxn>
                        <a:cxn ang="0">
                          <a:pos x="322" y="42"/>
                        </a:cxn>
                        <a:cxn ang="0">
                          <a:pos x="309" y="16"/>
                        </a:cxn>
                        <a:cxn ang="0">
                          <a:pos x="281" y="2"/>
                        </a:cxn>
                        <a:cxn ang="0">
                          <a:pos x="243" y="3"/>
                        </a:cxn>
                        <a:cxn ang="0">
                          <a:pos x="215" y="27"/>
                        </a:cxn>
                      </a:cxnLst>
                      <a:rect l="0" t="0" r="r" b="b"/>
                      <a:pathLst>
                        <a:path w="493" h="1194">
                          <a:moveTo>
                            <a:pt x="208" y="62"/>
                          </a:moveTo>
                          <a:lnTo>
                            <a:pt x="167" y="83"/>
                          </a:lnTo>
                          <a:lnTo>
                            <a:pt x="145" y="87"/>
                          </a:lnTo>
                          <a:lnTo>
                            <a:pt x="125" y="93"/>
                          </a:lnTo>
                          <a:lnTo>
                            <a:pt x="110" y="100"/>
                          </a:lnTo>
                          <a:lnTo>
                            <a:pt x="99" y="110"/>
                          </a:lnTo>
                          <a:lnTo>
                            <a:pt x="92" y="124"/>
                          </a:lnTo>
                          <a:lnTo>
                            <a:pt x="90" y="141"/>
                          </a:lnTo>
                          <a:lnTo>
                            <a:pt x="93" y="162"/>
                          </a:lnTo>
                          <a:lnTo>
                            <a:pt x="104" y="187"/>
                          </a:lnTo>
                          <a:lnTo>
                            <a:pt x="158" y="242"/>
                          </a:lnTo>
                          <a:lnTo>
                            <a:pt x="158" y="272"/>
                          </a:lnTo>
                          <a:lnTo>
                            <a:pt x="140" y="282"/>
                          </a:lnTo>
                          <a:lnTo>
                            <a:pt x="135" y="302"/>
                          </a:lnTo>
                          <a:lnTo>
                            <a:pt x="138" y="326"/>
                          </a:lnTo>
                          <a:lnTo>
                            <a:pt x="147" y="346"/>
                          </a:lnTo>
                          <a:lnTo>
                            <a:pt x="104" y="360"/>
                          </a:lnTo>
                          <a:lnTo>
                            <a:pt x="89" y="375"/>
                          </a:lnTo>
                          <a:lnTo>
                            <a:pt x="77" y="389"/>
                          </a:lnTo>
                          <a:lnTo>
                            <a:pt x="71" y="402"/>
                          </a:lnTo>
                          <a:lnTo>
                            <a:pt x="70" y="414"/>
                          </a:lnTo>
                          <a:lnTo>
                            <a:pt x="74" y="426"/>
                          </a:lnTo>
                          <a:lnTo>
                            <a:pt x="82" y="437"/>
                          </a:lnTo>
                          <a:lnTo>
                            <a:pt x="94" y="449"/>
                          </a:lnTo>
                          <a:lnTo>
                            <a:pt x="113" y="459"/>
                          </a:lnTo>
                          <a:lnTo>
                            <a:pt x="173" y="480"/>
                          </a:lnTo>
                          <a:lnTo>
                            <a:pt x="168" y="522"/>
                          </a:lnTo>
                          <a:lnTo>
                            <a:pt x="162" y="562"/>
                          </a:lnTo>
                          <a:lnTo>
                            <a:pt x="156" y="601"/>
                          </a:lnTo>
                          <a:lnTo>
                            <a:pt x="150" y="638"/>
                          </a:lnTo>
                          <a:lnTo>
                            <a:pt x="140" y="676"/>
                          </a:lnTo>
                          <a:lnTo>
                            <a:pt x="129" y="713"/>
                          </a:lnTo>
                          <a:lnTo>
                            <a:pt x="115" y="750"/>
                          </a:lnTo>
                          <a:lnTo>
                            <a:pt x="98" y="789"/>
                          </a:lnTo>
                          <a:lnTo>
                            <a:pt x="83" y="796"/>
                          </a:lnTo>
                          <a:lnTo>
                            <a:pt x="70" y="804"/>
                          </a:lnTo>
                          <a:lnTo>
                            <a:pt x="61" y="814"/>
                          </a:lnTo>
                          <a:lnTo>
                            <a:pt x="55" y="823"/>
                          </a:lnTo>
                          <a:lnTo>
                            <a:pt x="53" y="835"/>
                          </a:lnTo>
                          <a:lnTo>
                            <a:pt x="55" y="845"/>
                          </a:lnTo>
                          <a:lnTo>
                            <a:pt x="62" y="857"/>
                          </a:lnTo>
                          <a:lnTo>
                            <a:pt x="75" y="868"/>
                          </a:lnTo>
                          <a:lnTo>
                            <a:pt x="78" y="889"/>
                          </a:lnTo>
                          <a:lnTo>
                            <a:pt x="53" y="896"/>
                          </a:lnTo>
                          <a:lnTo>
                            <a:pt x="34" y="905"/>
                          </a:lnTo>
                          <a:lnTo>
                            <a:pt x="21" y="916"/>
                          </a:lnTo>
                          <a:lnTo>
                            <a:pt x="13" y="928"/>
                          </a:lnTo>
                          <a:lnTo>
                            <a:pt x="8" y="942"/>
                          </a:lnTo>
                          <a:lnTo>
                            <a:pt x="8" y="959"/>
                          </a:lnTo>
                          <a:lnTo>
                            <a:pt x="10" y="978"/>
                          </a:lnTo>
                          <a:lnTo>
                            <a:pt x="15" y="999"/>
                          </a:lnTo>
                          <a:lnTo>
                            <a:pt x="19" y="1032"/>
                          </a:lnTo>
                          <a:lnTo>
                            <a:pt x="0" y="1057"/>
                          </a:lnTo>
                          <a:lnTo>
                            <a:pt x="0" y="1121"/>
                          </a:lnTo>
                          <a:lnTo>
                            <a:pt x="18" y="1137"/>
                          </a:lnTo>
                          <a:lnTo>
                            <a:pt x="41" y="1151"/>
                          </a:lnTo>
                          <a:lnTo>
                            <a:pt x="69" y="1163"/>
                          </a:lnTo>
                          <a:lnTo>
                            <a:pt x="101" y="1174"/>
                          </a:lnTo>
                          <a:lnTo>
                            <a:pt x="135" y="1182"/>
                          </a:lnTo>
                          <a:lnTo>
                            <a:pt x="171" y="1189"/>
                          </a:lnTo>
                          <a:lnTo>
                            <a:pt x="208" y="1192"/>
                          </a:lnTo>
                          <a:lnTo>
                            <a:pt x="246" y="1194"/>
                          </a:lnTo>
                          <a:lnTo>
                            <a:pt x="285" y="1193"/>
                          </a:lnTo>
                          <a:lnTo>
                            <a:pt x="322" y="1190"/>
                          </a:lnTo>
                          <a:lnTo>
                            <a:pt x="359" y="1184"/>
                          </a:lnTo>
                          <a:lnTo>
                            <a:pt x="393" y="1175"/>
                          </a:lnTo>
                          <a:lnTo>
                            <a:pt x="424" y="1162"/>
                          </a:lnTo>
                          <a:lnTo>
                            <a:pt x="451" y="1147"/>
                          </a:lnTo>
                          <a:lnTo>
                            <a:pt x="474" y="1129"/>
                          </a:lnTo>
                          <a:lnTo>
                            <a:pt x="493" y="1107"/>
                          </a:lnTo>
                          <a:lnTo>
                            <a:pt x="493" y="1069"/>
                          </a:lnTo>
                          <a:lnTo>
                            <a:pt x="484" y="1032"/>
                          </a:lnTo>
                          <a:lnTo>
                            <a:pt x="487" y="1005"/>
                          </a:lnTo>
                          <a:lnTo>
                            <a:pt x="489" y="984"/>
                          </a:lnTo>
                          <a:lnTo>
                            <a:pt x="489" y="965"/>
                          </a:lnTo>
                          <a:lnTo>
                            <a:pt x="486" y="950"/>
                          </a:lnTo>
                          <a:lnTo>
                            <a:pt x="480" y="936"/>
                          </a:lnTo>
                          <a:lnTo>
                            <a:pt x="470" y="921"/>
                          </a:lnTo>
                          <a:lnTo>
                            <a:pt x="454" y="906"/>
                          </a:lnTo>
                          <a:lnTo>
                            <a:pt x="433" y="888"/>
                          </a:lnTo>
                          <a:lnTo>
                            <a:pt x="441" y="870"/>
                          </a:lnTo>
                          <a:lnTo>
                            <a:pt x="446" y="855"/>
                          </a:lnTo>
                          <a:lnTo>
                            <a:pt x="449" y="842"/>
                          </a:lnTo>
                          <a:lnTo>
                            <a:pt x="449" y="832"/>
                          </a:lnTo>
                          <a:lnTo>
                            <a:pt x="444" y="823"/>
                          </a:lnTo>
                          <a:lnTo>
                            <a:pt x="438" y="814"/>
                          </a:lnTo>
                          <a:lnTo>
                            <a:pt x="425" y="805"/>
                          </a:lnTo>
                          <a:lnTo>
                            <a:pt x="409" y="793"/>
                          </a:lnTo>
                          <a:lnTo>
                            <a:pt x="389" y="751"/>
                          </a:lnTo>
                          <a:lnTo>
                            <a:pt x="373" y="713"/>
                          </a:lnTo>
                          <a:lnTo>
                            <a:pt x="362" y="677"/>
                          </a:lnTo>
                          <a:lnTo>
                            <a:pt x="355" y="644"/>
                          </a:lnTo>
                          <a:lnTo>
                            <a:pt x="349" y="609"/>
                          </a:lnTo>
                          <a:lnTo>
                            <a:pt x="345" y="572"/>
                          </a:lnTo>
                          <a:lnTo>
                            <a:pt x="344" y="531"/>
                          </a:lnTo>
                          <a:lnTo>
                            <a:pt x="344" y="485"/>
                          </a:lnTo>
                          <a:lnTo>
                            <a:pt x="379" y="471"/>
                          </a:lnTo>
                          <a:lnTo>
                            <a:pt x="404" y="455"/>
                          </a:lnTo>
                          <a:lnTo>
                            <a:pt x="417" y="446"/>
                          </a:lnTo>
                          <a:lnTo>
                            <a:pt x="426" y="435"/>
                          </a:lnTo>
                          <a:lnTo>
                            <a:pt x="433" y="423"/>
                          </a:lnTo>
                          <a:lnTo>
                            <a:pt x="436" y="411"/>
                          </a:lnTo>
                          <a:lnTo>
                            <a:pt x="434" y="398"/>
                          </a:lnTo>
                          <a:lnTo>
                            <a:pt x="427" y="386"/>
                          </a:lnTo>
                          <a:lnTo>
                            <a:pt x="414" y="374"/>
                          </a:lnTo>
                          <a:lnTo>
                            <a:pt x="394" y="364"/>
                          </a:lnTo>
                          <a:lnTo>
                            <a:pt x="368" y="356"/>
                          </a:lnTo>
                          <a:lnTo>
                            <a:pt x="379" y="343"/>
                          </a:lnTo>
                          <a:lnTo>
                            <a:pt x="386" y="330"/>
                          </a:lnTo>
                          <a:lnTo>
                            <a:pt x="390" y="318"/>
                          </a:lnTo>
                          <a:lnTo>
                            <a:pt x="393" y="306"/>
                          </a:lnTo>
                          <a:lnTo>
                            <a:pt x="390" y="295"/>
                          </a:lnTo>
                          <a:lnTo>
                            <a:pt x="386" y="283"/>
                          </a:lnTo>
                          <a:lnTo>
                            <a:pt x="376" y="273"/>
                          </a:lnTo>
                          <a:lnTo>
                            <a:pt x="364" y="261"/>
                          </a:lnTo>
                          <a:lnTo>
                            <a:pt x="389" y="227"/>
                          </a:lnTo>
                          <a:lnTo>
                            <a:pt x="409" y="192"/>
                          </a:lnTo>
                          <a:lnTo>
                            <a:pt x="420" y="170"/>
                          </a:lnTo>
                          <a:lnTo>
                            <a:pt x="428" y="153"/>
                          </a:lnTo>
                          <a:lnTo>
                            <a:pt x="432" y="139"/>
                          </a:lnTo>
                          <a:lnTo>
                            <a:pt x="432" y="128"/>
                          </a:lnTo>
                          <a:lnTo>
                            <a:pt x="426" y="118"/>
                          </a:lnTo>
                          <a:lnTo>
                            <a:pt x="416" y="110"/>
                          </a:lnTo>
                          <a:lnTo>
                            <a:pt x="400" y="102"/>
                          </a:lnTo>
                          <a:lnTo>
                            <a:pt x="378" y="92"/>
                          </a:lnTo>
                          <a:lnTo>
                            <a:pt x="349" y="77"/>
                          </a:lnTo>
                          <a:lnTo>
                            <a:pt x="320" y="68"/>
                          </a:lnTo>
                          <a:lnTo>
                            <a:pt x="322" y="54"/>
                          </a:lnTo>
                          <a:lnTo>
                            <a:pt x="322" y="42"/>
                          </a:lnTo>
                          <a:lnTo>
                            <a:pt x="320" y="32"/>
                          </a:lnTo>
                          <a:lnTo>
                            <a:pt x="315" y="23"/>
                          </a:lnTo>
                          <a:lnTo>
                            <a:pt x="309" y="16"/>
                          </a:lnTo>
                          <a:lnTo>
                            <a:pt x="300" y="10"/>
                          </a:lnTo>
                          <a:lnTo>
                            <a:pt x="291" y="5"/>
                          </a:lnTo>
                          <a:lnTo>
                            <a:pt x="281" y="2"/>
                          </a:lnTo>
                          <a:lnTo>
                            <a:pt x="268" y="0"/>
                          </a:lnTo>
                          <a:lnTo>
                            <a:pt x="256" y="1"/>
                          </a:lnTo>
                          <a:lnTo>
                            <a:pt x="243" y="3"/>
                          </a:lnTo>
                          <a:lnTo>
                            <a:pt x="233" y="8"/>
                          </a:lnTo>
                          <a:lnTo>
                            <a:pt x="222" y="16"/>
                          </a:lnTo>
                          <a:lnTo>
                            <a:pt x="215" y="27"/>
                          </a:lnTo>
                          <a:lnTo>
                            <a:pt x="211" y="42"/>
                          </a:lnTo>
                          <a:lnTo>
                            <a:pt x="208" y="62"/>
                          </a:lnTo>
                          <a:close/>
                        </a:path>
                      </a:pathLst>
                    </a:custGeom>
                    <a:gradFill flip="none" rotWithShape="1">
                      <a:gsLst>
                        <a:gs pos="100000">
                          <a:srgbClr val="E6E6E6"/>
                        </a:gs>
                        <a:gs pos="44000">
                          <a:srgbClr val="080808"/>
                        </a:gs>
                        <a:gs pos="48000">
                          <a:srgbClr val="080808"/>
                        </a:gs>
                      </a:gsLst>
                      <a:lin ang="0" scaled="1"/>
                      <a:tileRect/>
                    </a:gradFill>
                    <a:ln w="9525" cap="flat" cmpd="sng" algn="ctr">
                      <a:noFill/>
                      <a:prstDash val="solid"/>
                    </a:ln>
                    <a:effectLst>
                      <a:outerShdw blurRad="40000" dist="23000" dir="5400000" rotWithShape="0">
                        <a:srgbClr val="000000">
                          <a:alpha val="35000"/>
                        </a:srgbClr>
                      </a:outerShdw>
                    </a:effectLst>
                  </p:spPr>
                  <p:txBody>
                    <a:bodyPr anchor="ctr"/>
                    <a:lstStyle/>
                    <a:p>
                      <a:pPr algn="ctr" fontAlgn="auto">
                        <a:spcBef>
                          <a:spcPts val="0"/>
                        </a:spcBef>
                        <a:spcAft>
                          <a:spcPts val="0"/>
                        </a:spcAft>
                        <a:defRPr/>
                      </a:pPr>
                      <a:endParaRPr lang="da-DK" kern="0">
                        <a:solidFill>
                          <a:sysClr val="window" lastClr="FFFFFF"/>
                        </a:solidFill>
                        <a:latin typeface="Calibri"/>
                        <a:cs typeface="+mn-cs"/>
                      </a:endParaRPr>
                    </a:p>
                  </p:txBody>
                </p:sp>
                <p:sp>
                  <p:nvSpPr>
                    <p:cNvPr id="216" name="Freeform 131"/>
                    <p:cNvSpPr>
                      <a:spLocks/>
                    </p:cNvSpPr>
                    <p:nvPr/>
                  </p:nvSpPr>
                  <p:spPr bwMode="auto">
                    <a:xfrm>
                      <a:off x="356596" y="3644068"/>
                      <a:ext cx="343606" cy="112362"/>
                    </a:xfrm>
                    <a:custGeom>
                      <a:avLst/>
                      <a:gdLst/>
                      <a:ahLst/>
                      <a:cxnLst>
                        <a:cxn ang="0">
                          <a:pos x="13" y="8"/>
                        </a:cxn>
                        <a:cxn ang="0">
                          <a:pos x="0" y="22"/>
                        </a:cxn>
                        <a:cxn ang="0">
                          <a:pos x="8" y="43"/>
                        </a:cxn>
                        <a:cxn ang="0">
                          <a:pos x="28" y="49"/>
                        </a:cxn>
                        <a:cxn ang="0">
                          <a:pos x="53" y="54"/>
                        </a:cxn>
                        <a:cxn ang="0">
                          <a:pos x="81" y="58"/>
                        </a:cxn>
                        <a:cxn ang="0">
                          <a:pos x="108" y="56"/>
                        </a:cxn>
                        <a:cxn ang="0">
                          <a:pos x="135" y="53"/>
                        </a:cxn>
                        <a:cxn ang="0">
                          <a:pos x="159" y="46"/>
                        </a:cxn>
                        <a:cxn ang="0">
                          <a:pos x="176" y="33"/>
                        </a:cxn>
                        <a:cxn ang="0">
                          <a:pos x="185" y="16"/>
                        </a:cxn>
                        <a:cxn ang="0">
                          <a:pos x="160" y="6"/>
                        </a:cxn>
                        <a:cxn ang="0">
                          <a:pos x="144" y="0"/>
                        </a:cxn>
                        <a:cxn ang="0">
                          <a:pos x="139" y="15"/>
                        </a:cxn>
                        <a:cxn ang="0">
                          <a:pos x="127" y="24"/>
                        </a:cxn>
                        <a:cxn ang="0">
                          <a:pos x="109" y="29"/>
                        </a:cxn>
                        <a:cxn ang="0">
                          <a:pos x="89" y="29"/>
                        </a:cxn>
                        <a:cxn ang="0">
                          <a:pos x="68" y="25"/>
                        </a:cxn>
                        <a:cxn ang="0">
                          <a:pos x="51" y="20"/>
                        </a:cxn>
                        <a:cxn ang="0">
                          <a:pos x="38" y="11"/>
                        </a:cxn>
                        <a:cxn ang="0">
                          <a:pos x="33" y="1"/>
                        </a:cxn>
                        <a:cxn ang="0">
                          <a:pos x="13" y="8"/>
                        </a:cxn>
                      </a:cxnLst>
                      <a:rect l="0" t="0" r="r" b="b"/>
                      <a:pathLst>
                        <a:path w="185" h="58">
                          <a:moveTo>
                            <a:pt x="13" y="8"/>
                          </a:moveTo>
                          <a:lnTo>
                            <a:pt x="0" y="22"/>
                          </a:lnTo>
                          <a:lnTo>
                            <a:pt x="8" y="43"/>
                          </a:lnTo>
                          <a:lnTo>
                            <a:pt x="28" y="49"/>
                          </a:lnTo>
                          <a:lnTo>
                            <a:pt x="53" y="54"/>
                          </a:lnTo>
                          <a:lnTo>
                            <a:pt x="81" y="58"/>
                          </a:lnTo>
                          <a:lnTo>
                            <a:pt x="108" y="56"/>
                          </a:lnTo>
                          <a:lnTo>
                            <a:pt x="135" y="53"/>
                          </a:lnTo>
                          <a:lnTo>
                            <a:pt x="159" y="46"/>
                          </a:lnTo>
                          <a:lnTo>
                            <a:pt x="176" y="33"/>
                          </a:lnTo>
                          <a:lnTo>
                            <a:pt x="185" y="16"/>
                          </a:lnTo>
                          <a:lnTo>
                            <a:pt x="160" y="6"/>
                          </a:lnTo>
                          <a:lnTo>
                            <a:pt x="144" y="0"/>
                          </a:lnTo>
                          <a:lnTo>
                            <a:pt x="139" y="15"/>
                          </a:lnTo>
                          <a:lnTo>
                            <a:pt x="127" y="24"/>
                          </a:lnTo>
                          <a:lnTo>
                            <a:pt x="109" y="29"/>
                          </a:lnTo>
                          <a:lnTo>
                            <a:pt x="89" y="29"/>
                          </a:lnTo>
                          <a:lnTo>
                            <a:pt x="68" y="25"/>
                          </a:lnTo>
                          <a:lnTo>
                            <a:pt x="51" y="20"/>
                          </a:lnTo>
                          <a:lnTo>
                            <a:pt x="38" y="11"/>
                          </a:lnTo>
                          <a:lnTo>
                            <a:pt x="33" y="1"/>
                          </a:lnTo>
                          <a:lnTo>
                            <a:pt x="13" y="8"/>
                          </a:lnTo>
                          <a:close/>
                        </a:path>
                      </a:pathLst>
                    </a:custGeom>
                    <a:solidFill>
                      <a:srgbClr val="E6E6E6">
                        <a:lumMod val="10000"/>
                      </a:srgbClr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pPr fontAlgn="auto">
                        <a:spcBef>
                          <a:spcPts val="0"/>
                        </a:spcBef>
                        <a:spcAft>
                          <a:spcPts val="0"/>
                        </a:spcAft>
                        <a:defRPr/>
                      </a:pPr>
                      <a:endParaRPr lang="da-DK" kern="0">
                        <a:solidFill>
                          <a:sysClr val="windowText" lastClr="000000"/>
                        </a:solidFill>
                        <a:latin typeface="+mn-lt"/>
                        <a:ea typeface="ＭＳ Ｐゴシック" pitchFamily="-97" charset="-128"/>
                        <a:cs typeface="+mn-cs"/>
                      </a:endParaRPr>
                    </a:p>
                  </p:txBody>
                </p:sp>
                <p:sp>
                  <p:nvSpPr>
                    <p:cNvPr id="217" name="Freeform 132"/>
                    <p:cNvSpPr>
                      <a:spLocks/>
                    </p:cNvSpPr>
                    <p:nvPr/>
                  </p:nvSpPr>
                  <p:spPr bwMode="auto">
                    <a:xfrm>
                      <a:off x="200397" y="3681514"/>
                      <a:ext cx="624755" cy="224747"/>
                    </a:xfrm>
                    <a:custGeom>
                      <a:avLst/>
                      <a:gdLst/>
                      <a:ahLst/>
                      <a:cxnLst>
                        <a:cxn ang="0">
                          <a:pos x="32" y="10"/>
                        </a:cxn>
                        <a:cxn ang="0">
                          <a:pos x="1" y="26"/>
                        </a:cxn>
                        <a:cxn ang="0">
                          <a:pos x="0" y="43"/>
                        </a:cxn>
                        <a:cxn ang="0">
                          <a:pos x="3" y="60"/>
                        </a:cxn>
                        <a:cxn ang="0">
                          <a:pos x="14" y="71"/>
                        </a:cxn>
                        <a:cxn ang="0">
                          <a:pos x="27" y="81"/>
                        </a:cxn>
                        <a:cxn ang="0">
                          <a:pos x="46" y="90"/>
                        </a:cxn>
                        <a:cxn ang="0">
                          <a:pos x="67" y="95"/>
                        </a:cxn>
                        <a:cxn ang="0">
                          <a:pos x="91" y="100"/>
                        </a:cxn>
                        <a:cxn ang="0">
                          <a:pos x="117" y="102"/>
                        </a:cxn>
                        <a:cxn ang="0">
                          <a:pos x="144" y="102"/>
                        </a:cxn>
                        <a:cxn ang="0">
                          <a:pos x="171" y="102"/>
                        </a:cxn>
                        <a:cxn ang="0">
                          <a:pos x="199" y="100"/>
                        </a:cxn>
                        <a:cxn ang="0">
                          <a:pos x="225" y="98"/>
                        </a:cxn>
                        <a:cxn ang="0">
                          <a:pos x="251" y="94"/>
                        </a:cxn>
                        <a:cxn ang="0">
                          <a:pos x="273" y="90"/>
                        </a:cxn>
                        <a:cxn ang="0">
                          <a:pos x="292" y="85"/>
                        </a:cxn>
                        <a:cxn ang="0">
                          <a:pos x="308" y="79"/>
                        </a:cxn>
                        <a:cxn ang="0">
                          <a:pos x="319" y="71"/>
                        </a:cxn>
                        <a:cxn ang="0">
                          <a:pos x="326" y="61"/>
                        </a:cxn>
                        <a:cxn ang="0">
                          <a:pos x="329" y="50"/>
                        </a:cxn>
                        <a:cxn ang="0">
                          <a:pos x="329" y="39"/>
                        </a:cxn>
                        <a:cxn ang="0">
                          <a:pos x="325" y="28"/>
                        </a:cxn>
                        <a:cxn ang="0">
                          <a:pos x="316" y="18"/>
                        </a:cxn>
                        <a:cxn ang="0">
                          <a:pos x="303" y="8"/>
                        </a:cxn>
                        <a:cxn ang="0">
                          <a:pos x="285" y="0"/>
                        </a:cxn>
                        <a:cxn ang="0">
                          <a:pos x="269" y="18"/>
                        </a:cxn>
                        <a:cxn ang="0">
                          <a:pos x="252" y="31"/>
                        </a:cxn>
                        <a:cxn ang="0">
                          <a:pos x="234" y="39"/>
                        </a:cxn>
                        <a:cxn ang="0">
                          <a:pos x="215" y="43"/>
                        </a:cxn>
                        <a:cxn ang="0">
                          <a:pos x="194" y="45"/>
                        </a:cxn>
                        <a:cxn ang="0">
                          <a:pos x="173" y="43"/>
                        </a:cxn>
                        <a:cxn ang="0">
                          <a:pos x="148" y="41"/>
                        </a:cxn>
                        <a:cxn ang="0">
                          <a:pos x="122" y="40"/>
                        </a:cxn>
                        <a:cxn ang="0">
                          <a:pos x="67" y="30"/>
                        </a:cxn>
                        <a:cxn ang="0">
                          <a:pos x="49" y="3"/>
                        </a:cxn>
                        <a:cxn ang="0">
                          <a:pos x="32" y="10"/>
                        </a:cxn>
                      </a:cxnLst>
                      <a:rect l="0" t="0" r="r" b="b"/>
                      <a:pathLst>
                        <a:path w="329" h="102">
                          <a:moveTo>
                            <a:pt x="32" y="10"/>
                          </a:moveTo>
                          <a:lnTo>
                            <a:pt x="1" y="26"/>
                          </a:lnTo>
                          <a:lnTo>
                            <a:pt x="0" y="43"/>
                          </a:lnTo>
                          <a:lnTo>
                            <a:pt x="3" y="60"/>
                          </a:lnTo>
                          <a:lnTo>
                            <a:pt x="14" y="71"/>
                          </a:lnTo>
                          <a:lnTo>
                            <a:pt x="27" y="81"/>
                          </a:lnTo>
                          <a:lnTo>
                            <a:pt x="46" y="90"/>
                          </a:lnTo>
                          <a:lnTo>
                            <a:pt x="67" y="95"/>
                          </a:lnTo>
                          <a:lnTo>
                            <a:pt x="91" y="100"/>
                          </a:lnTo>
                          <a:lnTo>
                            <a:pt x="117" y="102"/>
                          </a:lnTo>
                          <a:lnTo>
                            <a:pt x="144" y="102"/>
                          </a:lnTo>
                          <a:lnTo>
                            <a:pt x="171" y="102"/>
                          </a:lnTo>
                          <a:lnTo>
                            <a:pt x="199" y="100"/>
                          </a:lnTo>
                          <a:lnTo>
                            <a:pt x="225" y="98"/>
                          </a:lnTo>
                          <a:lnTo>
                            <a:pt x="251" y="94"/>
                          </a:lnTo>
                          <a:lnTo>
                            <a:pt x="273" y="90"/>
                          </a:lnTo>
                          <a:lnTo>
                            <a:pt x="292" y="85"/>
                          </a:lnTo>
                          <a:lnTo>
                            <a:pt x="308" y="79"/>
                          </a:lnTo>
                          <a:lnTo>
                            <a:pt x="319" y="71"/>
                          </a:lnTo>
                          <a:lnTo>
                            <a:pt x="326" y="61"/>
                          </a:lnTo>
                          <a:lnTo>
                            <a:pt x="329" y="50"/>
                          </a:lnTo>
                          <a:lnTo>
                            <a:pt x="329" y="39"/>
                          </a:lnTo>
                          <a:lnTo>
                            <a:pt x="325" y="28"/>
                          </a:lnTo>
                          <a:lnTo>
                            <a:pt x="316" y="18"/>
                          </a:lnTo>
                          <a:lnTo>
                            <a:pt x="303" y="8"/>
                          </a:lnTo>
                          <a:lnTo>
                            <a:pt x="285" y="0"/>
                          </a:lnTo>
                          <a:lnTo>
                            <a:pt x="269" y="18"/>
                          </a:lnTo>
                          <a:lnTo>
                            <a:pt x="252" y="31"/>
                          </a:lnTo>
                          <a:lnTo>
                            <a:pt x="234" y="39"/>
                          </a:lnTo>
                          <a:lnTo>
                            <a:pt x="215" y="43"/>
                          </a:lnTo>
                          <a:lnTo>
                            <a:pt x="194" y="45"/>
                          </a:lnTo>
                          <a:lnTo>
                            <a:pt x="173" y="43"/>
                          </a:lnTo>
                          <a:lnTo>
                            <a:pt x="148" y="41"/>
                          </a:lnTo>
                          <a:lnTo>
                            <a:pt x="122" y="40"/>
                          </a:lnTo>
                          <a:lnTo>
                            <a:pt x="67" y="30"/>
                          </a:lnTo>
                          <a:lnTo>
                            <a:pt x="49" y="3"/>
                          </a:lnTo>
                          <a:lnTo>
                            <a:pt x="32" y="10"/>
                          </a:lnTo>
                          <a:close/>
                        </a:path>
                      </a:pathLst>
                    </a:custGeom>
                    <a:solidFill>
                      <a:srgbClr val="E6E6E6">
                        <a:lumMod val="10000"/>
                      </a:srgbClr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pPr fontAlgn="auto">
                        <a:spcBef>
                          <a:spcPts val="0"/>
                        </a:spcBef>
                        <a:spcAft>
                          <a:spcPts val="0"/>
                        </a:spcAft>
                        <a:defRPr/>
                      </a:pPr>
                      <a:endParaRPr lang="da-DK" kern="0">
                        <a:solidFill>
                          <a:sysClr val="windowText" lastClr="000000"/>
                        </a:solidFill>
                        <a:latin typeface="+mn-lt"/>
                        <a:ea typeface="ＭＳ Ｐゴシック" pitchFamily="-97" charset="-128"/>
                        <a:cs typeface="+mn-cs"/>
                      </a:endParaRPr>
                    </a:p>
                  </p:txBody>
                </p:sp>
                <p:sp>
                  <p:nvSpPr>
                    <p:cNvPr id="218" name="Freeform 133"/>
                    <p:cNvSpPr>
                      <a:spLocks/>
                    </p:cNvSpPr>
                    <p:nvPr/>
                  </p:nvSpPr>
                  <p:spPr bwMode="auto">
                    <a:xfrm>
                      <a:off x="294120" y="4093561"/>
                      <a:ext cx="406081" cy="112362"/>
                    </a:xfrm>
                    <a:custGeom>
                      <a:avLst/>
                      <a:gdLst/>
                      <a:ahLst/>
                      <a:cxnLst>
                        <a:cxn ang="0">
                          <a:pos x="12" y="0"/>
                        </a:cxn>
                        <a:cxn ang="0">
                          <a:pos x="24" y="6"/>
                        </a:cxn>
                        <a:cxn ang="0">
                          <a:pos x="35" y="12"/>
                        </a:cxn>
                        <a:cxn ang="0">
                          <a:pos x="47" y="15"/>
                        </a:cxn>
                        <a:cxn ang="0">
                          <a:pos x="58" y="17"/>
                        </a:cxn>
                        <a:cxn ang="0">
                          <a:pos x="70" y="20"/>
                        </a:cxn>
                        <a:cxn ang="0">
                          <a:pos x="82" y="21"/>
                        </a:cxn>
                        <a:cxn ang="0">
                          <a:pos x="94" y="22"/>
                        </a:cxn>
                        <a:cxn ang="0">
                          <a:pos x="106" y="21"/>
                        </a:cxn>
                        <a:cxn ang="0">
                          <a:pos x="119" y="20"/>
                        </a:cxn>
                        <a:cxn ang="0">
                          <a:pos x="131" y="19"/>
                        </a:cxn>
                        <a:cxn ang="0">
                          <a:pos x="143" y="16"/>
                        </a:cxn>
                        <a:cxn ang="0">
                          <a:pos x="156" y="14"/>
                        </a:cxn>
                        <a:cxn ang="0">
                          <a:pos x="167" y="12"/>
                        </a:cxn>
                        <a:cxn ang="0">
                          <a:pos x="180" y="8"/>
                        </a:cxn>
                        <a:cxn ang="0">
                          <a:pos x="192" y="6"/>
                        </a:cxn>
                        <a:cxn ang="0">
                          <a:pos x="204" y="2"/>
                        </a:cxn>
                        <a:cxn ang="0">
                          <a:pos x="204" y="14"/>
                        </a:cxn>
                        <a:cxn ang="0">
                          <a:pos x="196" y="17"/>
                        </a:cxn>
                        <a:cxn ang="0">
                          <a:pos x="188" y="21"/>
                        </a:cxn>
                        <a:cxn ang="0">
                          <a:pos x="178" y="24"/>
                        </a:cxn>
                        <a:cxn ang="0">
                          <a:pos x="167" y="27"/>
                        </a:cxn>
                        <a:cxn ang="0">
                          <a:pos x="155" y="30"/>
                        </a:cxn>
                        <a:cxn ang="0">
                          <a:pos x="143" y="32"/>
                        </a:cxn>
                        <a:cxn ang="0">
                          <a:pos x="129" y="35"/>
                        </a:cxn>
                        <a:cxn ang="0">
                          <a:pos x="117" y="37"/>
                        </a:cxn>
                        <a:cxn ang="0">
                          <a:pos x="102" y="37"/>
                        </a:cxn>
                        <a:cxn ang="0">
                          <a:pos x="88" y="37"/>
                        </a:cxn>
                        <a:cxn ang="0">
                          <a:pos x="73" y="36"/>
                        </a:cxn>
                        <a:cxn ang="0">
                          <a:pos x="58" y="34"/>
                        </a:cxn>
                        <a:cxn ang="0">
                          <a:pos x="44" y="29"/>
                        </a:cxn>
                        <a:cxn ang="0">
                          <a:pos x="29" y="24"/>
                        </a:cxn>
                        <a:cxn ang="0">
                          <a:pos x="14" y="17"/>
                        </a:cxn>
                        <a:cxn ang="0">
                          <a:pos x="0" y="8"/>
                        </a:cxn>
                        <a:cxn ang="0">
                          <a:pos x="12" y="0"/>
                        </a:cxn>
                      </a:cxnLst>
                      <a:rect l="0" t="0" r="r" b="b"/>
                      <a:pathLst>
                        <a:path w="204" h="37">
                          <a:moveTo>
                            <a:pt x="12" y="0"/>
                          </a:moveTo>
                          <a:lnTo>
                            <a:pt x="24" y="6"/>
                          </a:lnTo>
                          <a:lnTo>
                            <a:pt x="35" y="12"/>
                          </a:lnTo>
                          <a:lnTo>
                            <a:pt x="47" y="15"/>
                          </a:lnTo>
                          <a:lnTo>
                            <a:pt x="58" y="17"/>
                          </a:lnTo>
                          <a:lnTo>
                            <a:pt x="70" y="20"/>
                          </a:lnTo>
                          <a:lnTo>
                            <a:pt x="82" y="21"/>
                          </a:lnTo>
                          <a:lnTo>
                            <a:pt x="94" y="22"/>
                          </a:lnTo>
                          <a:lnTo>
                            <a:pt x="106" y="21"/>
                          </a:lnTo>
                          <a:lnTo>
                            <a:pt x="119" y="20"/>
                          </a:lnTo>
                          <a:lnTo>
                            <a:pt x="131" y="19"/>
                          </a:lnTo>
                          <a:lnTo>
                            <a:pt x="143" y="16"/>
                          </a:lnTo>
                          <a:lnTo>
                            <a:pt x="156" y="14"/>
                          </a:lnTo>
                          <a:lnTo>
                            <a:pt x="167" y="12"/>
                          </a:lnTo>
                          <a:lnTo>
                            <a:pt x="180" y="8"/>
                          </a:lnTo>
                          <a:lnTo>
                            <a:pt x="192" y="6"/>
                          </a:lnTo>
                          <a:lnTo>
                            <a:pt x="204" y="2"/>
                          </a:lnTo>
                          <a:lnTo>
                            <a:pt x="204" y="14"/>
                          </a:lnTo>
                          <a:lnTo>
                            <a:pt x="196" y="17"/>
                          </a:lnTo>
                          <a:lnTo>
                            <a:pt x="188" y="21"/>
                          </a:lnTo>
                          <a:lnTo>
                            <a:pt x="178" y="24"/>
                          </a:lnTo>
                          <a:lnTo>
                            <a:pt x="167" y="27"/>
                          </a:lnTo>
                          <a:lnTo>
                            <a:pt x="155" y="30"/>
                          </a:lnTo>
                          <a:lnTo>
                            <a:pt x="143" y="32"/>
                          </a:lnTo>
                          <a:lnTo>
                            <a:pt x="129" y="35"/>
                          </a:lnTo>
                          <a:lnTo>
                            <a:pt x="117" y="37"/>
                          </a:lnTo>
                          <a:lnTo>
                            <a:pt x="102" y="37"/>
                          </a:lnTo>
                          <a:lnTo>
                            <a:pt x="88" y="37"/>
                          </a:lnTo>
                          <a:lnTo>
                            <a:pt x="73" y="36"/>
                          </a:lnTo>
                          <a:lnTo>
                            <a:pt x="58" y="34"/>
                          </a:lnTo>
                          <a:lnTo>
                            <a:pt x="44" y="29"/>
                          </a:lnTo>
                          <a:lnTo>
                            <a:pt x="29" y="24"/>
                          </a:lnTo>
                          <a:lnTo>
                            <a:pt x="14" y="17"/>
                          </a:lnTo>
                          <a:lnTo>
                            <a:pt x="0" y="8"/>
                          </a:lnTo>
                          <a:lnTo>
                            <a:pt x="12" y="0"/>
                          </a:lnTo>
                          <a:close/>
                        </a:path>
                      </a:pathLst>
                    </a:custGeom>
                    <a:solidFill>
                      <a:srgbClr val="E6E6E6">
                        <a:lumMod val="10000"/>
                      </a:srgbClr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pPr fontAlgn="auto">
                        <a:spcBef>
                          <a:spcPts val="0"/>
                        </a:spcBef>
                        <a:spcAft>
                          <a:spcPts val="0"/>
                        </a:spcAft>
                        <a:defRPr/>
                      </a:pPr>
                      <a:endParaRPr lang="da-DK" kern="0">
                        <a:solidFill>
                          <a:sysClr val="windowText" lastClr="000000"/>
                        </a:solidFill>
                        <a:latin typeface="+mn-lt"/>
                        <a:ea typeface="ＭＳ Ｐゴシック" pitchFamily="-97" charset="-128"/>
                        <a:cs typeface="+mn-cs"/>
                      </a:endParaRPr>
                    </a:p>
                  </p:txBody>
                </p:sp>
                <p:sp>
                  <p:nvSpPr>
                    <p:cNvPr id="219" name="Freeform 135"/>
                    <p:cNvSpPr>
                      <a:spLocks/>
                    </p:cNvSpPr>
                    <p:nvPr/>
                  </p:nvSpPr>
                  <p:spPr bwMode="auto">
                    <a:xfrm>
                      <a:off x="137922" y="4205923"/>
                      <a:ext cx="687231" cy="224747"/>
                    </a:xfrm>
                    <a:custGeom>
                      <a:avLst/>
                      <a:gdLst/>
                      <a:ahLst/>
                      <a:cxnLst>
                        <a:cxn ang="0">
                          <a:pos x="40" y="0"/>
                        </a:cxn>
                        <a:cxn ang="0">
                          <a:pos x="19" y="9"/>
                        </a:cxn>
                        <a:cxn ang="0">
                          <a:pos x="6" y="20"/>
                        </a:cxn>
                        <a:cxn ang="0">
                          <a:pos x="0" y="30"/>
                        </a:cxn>
                        <a:cxn ang="0">
                          <a:pos x="0" y="42"/>
                        </a:cxn>
                        <a:cxn ang="0">
                          <a:pos x="7" y="53"/>
                        </a:cxn>
                        <a:cxn ang="0">
                          <a:pos x="17" y="65"/>
                        </a:cxn>
                        <a:cxn ang="0">
                          <a:pos x="32" y="75"/>
                        </a:cxn>
                        <a:cxn ang="0">
                          <a:pos x="50" y="85"/>
                        </a:cxn>
                        <a:cxn ang="0">
                          <a:pos x="66" y="89"/>
                        </a:cxn>
                        <a:cxn ang="0">
                          <a:pos x="82" y="92"/>
                        </a:cxn>
                        <a:cxn ang="0">
                          <a:pos x="97" y="95"/>
                        </a:cxn>
                        <a:cxn ang="0">
                          <a:pos x="113" y="96"/>
                        </a:cxn>
                        <a:cxn ang="0">
                          <a:pos x="128" y="98"/>
                        </a:cxn>
                        <a:cxn ang="0">
                          <a:pos x="144" y="99"/>
                        </a:cxn>
                        <a:cxn ang="0">
                          <a:pos x="159" y="99"/>
                        </a:cxn>
                        <a:cxn ang="0">
                          <a:pos x="174" y="100"/>
                        </a:cxn>
                        <a:cxn ang="0">
                          <a:pos x="189" y="100"/>
                        </a:cxn>
                        <a:cxn ang="0">
                          <a:pos x="205" y="100"/>
                        </a:cxn>
                        <a:cxn ang="0">
                          <a:pos x="220" y="99"/>
                        </a:cxn>
                        <a:cxn ang="0">
                          <a:pos x="236" y="99"/>
                        </a:cxn>
                        <a:cxn ang="0">
                          <a:pos x="251" y="98"/>
                        </a:cxn>
                        <a:cxn ang="0">
                          <a:pos x="267" y="97"/>
                        </a:cxn>
                        <a:cxn ang="0">
                          <a:pos x="284" y="95"/>
                        </a:cxn>
                        <a:cxn ang="0">
                          <a:pos x="300" y="94"/>
                        </a:cxn>
                        <a:cxn ang="0">
                          <a:pos x="323" y="81"/>
                        </a:cxn>
                        <a:cxn ang="0">
                          <a:pos x="339" y="68"/>
                        </a:cxn>
                        <a:cxn ang="0">
                          <a:pos x="349" y="56"/>
                        </a:cxn>
                        <a:cxn ang="0">
                          <a:pos x="351" y="43"/>
                        </a:cxn>
                        <a:cxn ang="0">
                          <a:pos x="348" y="31"/>
                        </a:cxn>
                        <a:cxn ang="0">
                          <a:pos x="338" y="21"/>
                        </a:cxn>
                        <a:cxn ang="0">
                          <a:pos x="320" y="12"/>
                        </a:cxn>
                        <a:cxn ang="0">
                          <a:pos x="296" y="5"/>
                        </a:cxn>
                        <a:cxn ang="0">
                          <a:pos x="298" y="15"/>
                        </a:cxn>
                        <a:cxn ang="0">
                          <a:pos x="294" y="23"/>
                        </a:cxn>
                        <a:cxn ang="0">
                          <a:pos x="284" y="30"/>
                        </a:cxn>
                        <a:cxn ang="0">
                          <a:pos x="272" y="37"/>
                        </a:cxn>
                        <a:cxn ang="0">
                          <a:pos x="258" y="38"/>
                        </a:cxn>
                        <a:cxn ang="0">
                          <a:pos x="245" y="39"/>
                        </a:cxn>
                        <a:cxn ang="0">
                          <a:pos x="234" y="41"/>
                        </a:cxn>
                        <a:cxn ang="0">
                          <a:pos x="222" y="42"/>
                        </a:cxn>
                        <a:cxn ang="0">
                          <a:pos x="211" y="43"/>
                        </a:cxn>
                        <a:cxn ang="0">
                          <a:pos x="199" y="43"/>
                        </a:cxn>
                        <a:cxn ang="0">
                          <a:pos x="188" y="44"/>
                        </a:cxn>
                        <a:cxn ang="0">
                          <a:pos x="178" y="44"/>
                        </a:cxn>
                        <a:cxn ang="0">
                          <a:pos x="166" y="44"/>
                        </a:cxn>
                        <a:cxn ang="0">
                          <a:pos x="155" y="44"/>
                        </a:cxn>
                        <a:cxn ang="0">
                          <a:pos x="143" y="44"/>
                        </a:cxn>
                        <a:cxn ang="0">
                          <a:pos x="133" y="43"/>
                        </a:cxn>
                        <a:cxn ang="0">
                          <a:pos x="120" y="42"/>
                        </a:cxn>
                        <a:cxn ang="0">
                          <a:pos x="108" y="41"/>
                        </a:cxn>
                        <a:cxn ang="0">
                          <a:pos x="96" y="39"/>
                        </a:cxn>
                        <a:cxn ang="0">
                          <a:pos x="82" y="37"/>
                        </a:cxn>
                        <a:cxn ang="0">
                          <a:pos x="73" y="32"/>
                        </a:cxn>
                        <a:cxn ang="0">
                          <a:pos x="65" y="28"/>
                        </a:cxn>
                        <a:cxn ang="0">
                          <a:pos x="58" y="23"/>
                        </a:cxn>
                        <a:cxn ang="0">
                          <a:pos x="52" y="19"/>
                        </a:cxn>
                        <a:cxn ang="0">
                          <a:pos x="47" y="14"/>
                        </a:cxn>
                        <a:cxn ang="0">
                          <a:pos x="44" y="11"/>
                        </a:cxn>
                        <a:cxn ang="0">
                          <a:pos x="42" y="5"/>
                        </a:cxn>
                        <a:cxn ang="0">
                          <a:pos x="40" y="0"/>
                        </a:cxn>
                      </a:cxnLst>
                      <a:rect l="0" t="0" r="r" b="b"/>
                      <a:pathLst>
                        <a:path w="351" h="100">
                          <a:moveTo>
                            <a:pt x="40" y="0"/>
                          </a:moveTo>
                          <a:lnTo>
                            <a:pt x="19" y="9"/>
                          </a:lnTo>
                          <a:lnTo>
                            <a:pt x="6" y="20"/>
                          </a:lnTo>
                          <a:lnTo>
                            <a:pt x="0" y="30"/>
                          </a:lnTo>
                          <a:lnTo>
                            <a:pt x="0" y="42"/>
                          </a:lnTo>
                          <a:lnTo>
                            <a:pt x="7" y="53"/>
                          </a:lnTo>
                          <a:lnTo>
                            <a:pt x="17" y="65"/>
                          </a:lnTo>
                          <a:lnTo>
                            <a:pt x="32" y="75"/>
                          </a:lnTo>
                          <a:lnTo>
                            <a:pt x="50" y="85"/>
                          </a:lnTo>
                          <a:lnTo>
                            <a:pt x="66" y="89"/>
                          </a:lnTo>
                          <a:lnTo>
                            <a:pt x="82" y="92"/>
                          </a:lnTo>
                          <a:lnTo>
                            <a:pt x="97" y="95"/>
                          </a:lnTo>
                          <a:lnTo>
                            <a:pt x="113" y="96"/>
                          </a:lnTo>
                          <a:lnTo>
                            <a:pt x="128" y="98"/>
                          </a:lnTo>
                          <a:lnTo>
                            <a:pt x="144" y="99"/>
                          </a:lnTo>
                          <a:lnTo>
                            <a:pt x="159" y="99"/>
                          </a:lnTo>
                          <a:lnTo>
                            <a:pt x="174" y="100"/>
                          </a:lnTo>
                          <a:lnTo>
                            <a:pt x="189" y="100"/>
                          </a:lnTo>
                          <a:lnTo>
                            <a:pt x="205" y="100"/>
                          </a:lnTo>
                          <a:lnTo>
                            <a:pt x="220" y="99"/>
                          </a:lnTo>
                          <a:lnTo>
                            <a:pt x="236" y="99"/>
                          </a:lnTo>
                          <a:lnTo>
                            <a:pt x="251" y="98"/>
                          </a:lnTo>
                          <a:lnTo>
                            <a:pt x="267" y="97"/>
                          </a:lnTo>
                          <a:lnTo>
                            <a:pt x="284" y="95"/>
                          </a:lnTo>
                          <a:lnTo>
                            <a:pt x="300" y="94"/>
                          </a:lnTo>
                          <a:lnTo>
                            <a:pt x="323" y="81"/>
                          </a:lnTo>
                          <a:lnTo>
                            <a:pt x="339" y="68"/>
                          </a:lnTo>
                          <a:lnTo>
                            <a:pt x="349" y="56"/>
                          </a:lnTo>
                          <a:lnTo>
                            <a:pt x="351" y="43"/>
                          </a:lnTo>
                          <a:lnTo>
                            <a:pt x="348" y="31"/>
                          </a:lnTo>
                          <a:lnTo>
                            <a:pt x="338" y="21"/>
                          </a:lnTo>
                          <a:lnTo>
                            <a:pt x="320" y="12"/>
                          </a:lnTo>
                          <a:lnTo>
                            <a:pt x="296" y="5"/>
                          </a:lnTo>
                          <a:lnTo>
                            <a:pt x="298" y="15"/>
                          </a:lnTo>
                          <a:lnTo>
                            <a:pt x="294" y="23"/>
                          </a:lnTo>
                          <a:lnTo>
                            <a:pt x="284" y="30"/>
                          </a:lnTo>
                          <a:lnTo>
                            <a:pt x="272" y="37"/>
                          </a:lnTo>
                          <a:lnTo>
                            <a:pt x="258" y="38"/>
                          </a:lnTo>
                          <a:lnTo>
                            <a:pt x="245" y="39"/>
                          </a:lnTo>
                          <a:lnTo>
                            <a:pt x="234" y="41"/>
                          </a:lnTo>
                          <a:lnTo>
                            <a:pt x="222" y="42"/>
                          </a:lnTo>
                          <a:lnTo>
                            <a:pt x="211" y="43"/>
                          </a:lnTo>
                          <a:lnTo>
                            <a:pt x="199" y="43"/>
                          </a:lnTo>
                          <a:lnTo>
                            <a:pt x="188" y="44"/>
                          </a:lnTo>
                          <a:lnTo>
                            <a:pt x="178" y="44"/>
                          </a:lnTo>
                          <a:lnTo>
                            <a:pt x="166" y="44"/>
                          </a:lnTo>
                          <a:lnTo>
                            <a:pt x="155" y="44"/>
                          </a:lnTo>
                          <a:lnTo>
                            <a:pt x="143" y="44"/>
                          </a:lnTo>
                          <a:lnTo>
                            <a:pt x="133" y="43"/>
                          </a:lnTo>
                          <a:lnTo>
                            <a:pt x="120" y="42"/>
                          </a:lnTo>
                          <a:lnTo>
                            <a:pt x="108" y="41"/>
                          </a:lnTo>
                          <a:lnTo>
                            <a:pt x="96" y="39"/>
                          </a:lnTo>
                          <a:lnTo>
                            <a:pt x="82" y="37"/>
                          </a:lnTo>
                          <a:lnTo>
                            <a:pt x="73" y="32"/>
                          </a:lnTo>
                          <a:lnTo>
                            <a:pt x="65" y="28"/>
                          </a:lnTo>
                          <a:lnTo>
                            <a:pt x="58" y="23"/>
                          </a:lnTo>
                          <a:lnTo>
                            <a:pt x="52" y="19"/>
                          </a:lnTo>
                          <a:lnTo>
                            <a:pt x="47" y="14"/>
                          </a:lnTo>
                          <a:lnTo>
                            <a:pt x="44" y="11"/>
                          </a:lnTo>
                          <a:lnTo>
                            <a:pt x="42" y="5"/>
                          </a:lnTo>
                          <a:lnTo>
                            <a:pt x="40" y="0"/>
                          </a:lnTo>
                          <a:close/>
                        </a:path>
                      </a:pathLst>
                    </a:custGeom>
                    <a:solidFill>
                      <a:srgbClr val="E6E6E6">
                        <a:lumMod val="10000"/>
                      </a:srgbClr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pPr fontAlgn="auto">
                        <a:spcBef>
                          <a:spcPts val="0"/>
                        </a:spcBef>
                        <a:spcAft>
                          <a:spcPts val="0"/>
                        </a:spcAft>
                        <a:defRPr/>
                      </a:pPr>
                      <a:endParaRPr lang="da-DK" kern="0">
                        <a:solidFill>
                          <a:sysClr val="windowText" lastClr="000000"/>
                        </a:solidFill>
                        <a:latin typeface="+mn-lt"/>
                        <a:ea typeface="ＭＳ Ｐゴシック" pitchFamily="-97" charset="-128"/>
                        <a:cs typeface="+mn-cs"/>
                      </a:endParaRPr>
                    </a:p>
                  </p:txBody>
                </p:sp>
                <p:sp>
                  <p:nvSpPr>
                    <p:cNvPr id="220" name="Freeform 147"/>
                    <p:cNvSpPr>
                      <a:spLocks/>
                    </p:cNvSpPr>
                    <p:nvPr/>
                  </p:nvSpPr>
                  <p:spPr bwMode="auto">
                    <a:xfrm>
                      <a:off x="137922" y="5067464"/>
                      <a:ext cx="718478" cy="224747"/>
                    </a:xfrm>
                    <a:custGeom>
                      <a:avLst/>
                      <a:gdLst/>
                      <a:ahLst/>
                      <a:cxnLst>
                        <a:cxn ang="0">
                          <a:pos x="24" y="4"/>
                        </a:cxn>
                        <a:cxn ang="0">
                          <a:pos x="68" y="40"/>
                        </a:cxn>
                        <a:cxn ang="0">
                          <a:pos x="89" y="44"/>
                        </a:cxn>
                        <a:cxn ang="0">
                          <a:pos x="108" y="48"/>
                        </a:cxn>
                        <a:cxn ang="0">
                          <a:pos x="127" y="53"/>
                        </a:cxn>
                        <a:cxn ang="0">
                          <a:pos x="144" y="55"/>
                        </a:cxn>
                        <a:cxn ang="0">
                          <a:pos x="160" y="57"/>
                        </a:cxn>
                        <a:cxn ang="0">
                          <a:pos x="176" y="59"/>
                        </a:cxn>
                        <a:cxn ang="0">
                          <a:pos x="192" y="59"/>
                        </a:cxn>
                        <a:cxn ang="0">
                          <a:pos x="207" y="59"/>
                        </a:cxn>
                        <a:cxn ang="0">
                          <a:pos x="222" y="58"/>
                        </a:cxn>
                        <a:cxn ang="0">
                          <a:pos x="237" y="57"/>
                        </a:cxn>
                        <a:cxn ang="0">
                          <a:pos x="253" y="54"/>
                        </a:cxn>
                        <a:cxn ang="0">
                          <a:pos x="270" y="50"/>
                        </a:cxn>
                        <a:cxn ang="0">
                          <a:pos x="286" y="46"/>
                        </a:cxn>
                        <a:cxn ang="0">
                          <a:pos x="304" y="39"/>
                        </a:cxn>
                        <a:cxn ang="0">
                          <a:pos x="323" y="32"/>
                        </a:cxn>
                        <a:cxn ang="0">
                          <a:pos x="342" y="23"/>
                        </a:cxn>
                        <a:cxn ang="0">
                          <a:pos x="348" y="10"/>
                        </a:cxn>
                        <a:cxn ang="0">
                          <a:pos x="352" y="3"/>
                        </a:cxn>
                        <a:cxn ang="0">
                          <a:pos x="356" y="0"/>
                        </a:cxn>
                        <a:cxn ang="0">
                          <a:pos x="359" y="1"/>
                        </a:cxn>
                        <a:cxn ang="0">
                          <a:pos x="363" y="4"/>
                        </a:cxn>
                        <a:cxn ang="0">
                          <a:pos x="367" y="11"/>
                        </a:cxn>
                        <a:cxn ang="0">
                          <a:pos x="374" y="20"/>
                        </a:cxn>
                        <a:cxn ang="0">
                          <a:pos x="382" y="32"/>
                        </a:cxn>
                        <a:cxn ang="0">
                          <a:pos x="366" y="55"/>
                        </a:cxn>
                        <a:cxn ang="0">
                          <a:pos x="349" y="65"/>
                        </a:cxn>
                        <a:cxn ang="0">
                          <a:pos x="329" y="73"/>
                        </a:cxn>
                        <a:cxn ang="0">
                          <a:pos x="310" y="80"/>
                        </a:cxn>
                        <a:cxn ang="0">
                          <a:pos x="288" y="86"/>
                        </a:cxn>
                        <a:cxn ang="0">
                          <a:pos x="266" y="91"/>
                        </a:cxn>
                        <a:cxn ang="0">
                          <a:pos x="243" y="94"/>
                        </a:cxn>
                        <a:cxn ang="0">
                          <a:pos x="219" y="96"/>
                        </a:cxn>
                        <a:cxn ang="0">
                          <a:pos x="196" y="96"/>
                        </a:cxn>
                        <a:cxn ang="0">
                          <a:pos x="172" y="96"/>
                        </a:cxn>
                        <a:cxn ang="0">
                          <a:pos x="147" y="95"/>
                        </a:cxn>
                        <a:cxn ang="0">
                          <a:pos x="124" y="92"/>
                        </a:cxn>
                        <a:cxn ang="0">
                          <a:pos x="101" y="88"/>
                        </a:cxn>
                        <a:cxn ang="0">
                          <a:pos x="78" y="84"/>
                        </a:cxn>
                        <a:cxn ang="0">
                          <a:pos x="58" y="79"/>
                        </a:cxn>
                        <a:cxn ang="0">
                          <a:pos x="37" y="72"/>
                        </a:cxn>
                        <a:cxn ang="0">
                          <a:pos x="18" y="65"/>
                        </a:cxn>
                        <a:cxn ang="0">
                          <a:pos x="12" y="56"/>
                        </a:cxn>
                        <a:cxn ang="0">
                          <a:pos x="6" y="47"/>
                        </a:cxn>
                        <a:cxn ang="0">
                          <a:pos x="2" y="38"/>
                        </a:cxn>
                        <a:cxn ang="0">
                          <a:pos x="0" y="28"/>
                        </a:cxn>
                        <a:cxn ang="0">
                          <a:pos x="0" y="20"/>
                        </a:cxn>
                        <a:cxn ang="0">
                          <a:pos x="5" y="13"/>
                        </a:cxn>
                        <a:cxn ang="0">
                          <a:pos x="12" y="8"/>
                        </a:cxn>
                        <a:cxn ang="0">
                          <a:pos x="24" y="4"/>
                        </a:cxn>
                      </a:cxnLst>
                      <a:rect l="0" t="0" r="r" b="b"/>
                      <a:pathLst>
                        <a:path w="382" h="96">
                          <a:moveTo>
                            <a:pt x="24" y="4"/>
                          </a:moveTo>
                          <a:lnTo>
                            <a:pt x="68" y="40"/>
                          </a:lnTo>
                          <a:lnTo>
                            <a:pt x="89" y="44"/>
                          </a:lnTo>
                          <a:lnTo>
                            <a:pt x="108" y="48"/>
                          </a:lnTo>
                          <a:lnTo>
                            <a:pt x="127" y="53"/>
                          </a:lnTo>
                          <a:lnTo>
                            <a:pt x="144" y="55"/>
                          </a:lnTo>
                          <a:lnTo>
                            <a:pt x="160" y="57"/>
                          </a:lnTo>
                          <a:lnTo>
                            <a:pt x="176" y="59"/>
                          </a:lnTo>
                          <a:lnTo>
                            <a:pt x="192" y="59"/>
                          </a:lnTo>
                          <a:lnTo>
                            <a:pt x="207" y="59"/>
                          </a:lnTo>
                          <a:lnTo>
                            <a:pt x="222" y="58"/>
                          </a:lnTo>
                          <a:lnTo>
                            <a:pt x="237" y="57"/>
                          </a:lnTo>
                          <a:lnTo>
                            <a:pt x="253" y="54"/>
                          </a:lnTo>
                          <a:lnTo>
                            <a:pt x="270" y="50"/>
                          </a:lnTo>
                          <a:lnTo>
                            <a:pt x="286" y="46"/>
                          </a:lnTo>
                          <a:lnTo>
                            <a:pt x="304" y="39"/>
                          </a:lnTo>
                          <a:lnTo>
                            <a:pt x="323" y="32"/>
                          </a:lnTo>
                          <a:lnTo>
                            <a:pt x="342" y="23"/>
                          </a:lnTo>
                          <a:lnTo>
                            <a:pt x="348" y="10"/>
                          </a:lnTo>
                          <a:lnTo>
                            <a:pt x="352" y="3"/>
                          </a:lnTo>
                          <a:lnTo>
                            <a:pt x="356" y="0"/>
                          </a:lnTo>
                          <a:lnTo>
                            <a:pt x="359" y="1"/>
                          </a:lnTo>
                          <a:lnTo>
                            <a:pt x="363" y="4"/>
                          </a:lnTo>
                          <a:lnTo>
                            <a:pt x="367" y="11"/>
                          </a:lnTo>
                          <a:lnTo>
                            <a:pt x="374" y="20"/>
                          </a:lnTo>
                          <a:lnTo>
                            <a:pt x="382" y="32"/>
                          </a:lnTo>
                          <a:lnTo>
                            <a:pt x="366" y="55"/>
                          </a:lnTo>
                          <a:lnTo>
                            <a:pt x="349" y="65"/>
                          </a:lnTo>
                          <a:lnTo>
                            <a:pt x="329" y="73"/>
                          </a:lnTo>
                          <a:lnTo>
                            <a:pt x="310" y="80"/>
                          </a:lnTo>
                          <a:lnTo>
                            <a:pt x="288" y="86"/>
                          </a:lnTo>
                          <a:lnTo>
                            <a:pt x="266" y="91"/>
                          </a:lnTo>
                          <a:lnTo>
                            <a:pt x="243" y="94"/>
                          </a:lnTo>
                          <a:lnTo>
                            <a:pt x="219" y="96"/>
                          </a:lnTo>
                          <a:lnTo>
                            <a:pt x="196" y="96"/>
                          </a:lnTo>
                          <a:lnTo>
                            <a:pt x="172" y="96"/>
                          </a:lnTo>
                          <a:lnTo>
                            <a:pt x="147" y="95"/>
                          </a:lnTo>
                          <a:lnTo>
                            <a:pt x="124" y="92"/>
                          </a:lnTo>
                          <a:lnTo>
                            <a:pt x="101" y="88"/>
                          </a:lnTo>
                          <a:lnTo>
                            <a:pt x="78" y="84"/>
                          </a:lnTo>
                          <a:lnTo>
                            <a:pt x="58" y="79"/>
                          </a:lnTo>
                          <a:lnTo>
                            <a:pt x="37" y="72"/>
                          </a:lnTo>
                          <a:lnTo>
                            <a:pt x="18" y="65"/>
                          </a:lnTo>
                          <a:lnTo>
                            <a:pt x="12" y="56"/>
                          </a:lnTo>
                          <a:lnTo>
                            <a:pt x="6" y="47"/>
                          </a:lnTo>
                          <a:lnTo>
                            <a:pt x="2" y="38"/>
                          </a:lnTo>
                          <a:lnTo>
                            <a:pt x="0" y="28"/>
                          </a:lnTo>
                          <a:lnTo>
                            <a:pt x="0" y="20"/>
                          </a:lnTo>
                          <a:lnTo>
                            <a:pt x="5" y="13"/>
                          </a:lnTo>
                          <a:lnTo>
                            <a:pt x="12" y="8"/>
                          </a:lnTo>
                          <a:lnTo>
                            <a:pt x="24" y="4"/>
                          </a:lnTo>
                          <a:close/>
                        </a:path>
                      </a:pathLst>
                    </a:custGeom>
                    <a:solidFill>
                      <a:srgbClr val="E6E6E6">
                        <a:lumMod val="10000"/>
                      </a:srgbClr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pPr fontAlgn="auto">
                        <a:spcBef>
                          <a:spcPts val="0"/>
                        </a:spcBef>
                        <a:spcAft>
                          <a:spcPts val="0"/>
                        </a:spcAft>
                        <a:defRPr/>
                      </a:pPr>
                      <a:endParaRPr lang="da-DK" kern="0">
                        <a:solidFill>
                          <a:sysClr val="windowText" lastClr="000000"/>
                        </a:solidFill>
                        <a:latin typeface="+mn-lt"/>
                        <a:ea typeface="ＭＳ Ｐゴシック" pitchFamily="-97" charset="-128"/>
                        <a:cs typeface="+mn-cs"/>
                      </a:endParaRPr>
                    </a:p>
                  </p:txBody>
                </p:sp>
                <p:sp>
                  <p:nvSpPr>
                    <p:cNvPr id="221" name="Freeform 148"/>
                    <p:cNvSpPr>
                      <a:spLocks/>
                    </p:cNvSpPr>
                    <p:nvPr/>
                  </p:nvSpPr>
                  <p:spPr bwMode="auto">
                    <a:xfrm>
                      <a:off x="75446" y="5254741"/>
                      <a:ext cx="874657" cy="337132"/>
                    </a:xfrm>
                    <a:custGeom>
                      <a:avLst/>
                      <a:gdLst/>
                      <a:ahLst/>
                      <a:cxnLst>
                        <a:cxn ang="0">
                          <a:pos x="7" y="102"/>
                        </a:cxn>
                        <a:cxn ang="0">
                          <a:pos x="18" y="116"/>
                        </a:cxn>
                        <a:cxn ang="0">
                          <a:pos x="34" y="130"/>
                        </a:cxn>
                        <a:cxn ang="0">
                          <a:pos x="55" y="143"/>
                        </a:cxn>
                        <a:cxn ang="0">
                          <a:pos x="80" y="155"/>
                        </a:cxn>
                        <a:cxn ang="0">
                          <a:pos x="109" y="165"/>
                        </a:cxn>
                        <a:cxn ang="0">
                          <a:pos x="141" y="173"/>
                        </a:cxn>
                        <a:cxn ang="0">
                          <a:pos x="176" y="179"/>
                        </a:cxn>
                        <a:cxn ang="0">
                          <a:pos x="211" y="182"/>
                        </a:cxn>
                        <a:cxn ang="0">
                          <a:pos x="248" y="184"/>
                        </a:cxn>
                        <a:cxn ang="0">
                          <a:pos x="285" y="183"/>
                        </a:cxn>
                        <a:cxn ang="0">
                          <a:pos x="323" y="180"/>
                        </a:cxn>
                        <a:cxn ang="0">
                          <a:pos x="359" y="173"/>
                        </a:cxn>
                        <a:cxn ang="0">
                          <a:pos x="393" y="164"/>
                        </a:cxn>
                        <a:cxn ang="0">
                          <a:pos x="427" y="151"/>
                        </a:cxn>
                        <a:cxn ang="0">
                          <a:pos x="455" y="135"/>
                        </a:cxn>
                        <a:cxn ang="0">
                          <a:pos x="482" y="115"/>
                        </a:cxn>
                        <a:cxn ang="0">
                          <a:pos x="483" y="93"/>
                        </a:cxn>
                        <a:cxn ang="0">
                          <a:pos x="483" y="77"/>
                        </a:cxn>
                        <a:cxn ang="0">
                          <a:pos x="482" y="65"/>
                        </a:cxn>
                        <a:cxn ang="0">
                          <a:pos x="478" y="54"/>
                        </a:cxn>
                        <a:cxn ang="0">
                          <a:pos x="473" y="44"/>
                        </a:cxn>
                        <a:cxn ang="0">
                          <a:pos x="463" y="34"/>
                        </a:cxn>
                        <a:cxn ang="0">
                          <a:pos x="451" y="22"/>
                        </a:cxn>
                        <a:cxn ang="0">
                          <a:pos x="435" y="7"/>
                        </a:cxn>
                        <a:cxn ang="0">
                          <a:pos x="416" y="23"/>
                        </a:cxn>
                        <a:cxn ang="0">
                          <a:pos x="396" y="37"/>
                        </a:cxn>
                        <a:cxn ang="0">
                          <a:pos x="375" y="50"/>
                        </a:cxn>
                        <a:cxn ang="0">
                          <a:pos x="353" y="59"/>
                        </a:cxn>
                        <a:cxn ang="0">
                          <a:pos x="330" y="67"/>
                        </a:cxn>
                        <a:cxn ang="0">
                          <a:pos x="307" y="73"/>
                        </a:cxn>
                        <a:cxn ang="0">
                          <a:pos x="284" y="76"/>
                        </a:cxn>
                        <a:cxn ang="0">
                          <a:pos x="260" y="78"/>
                        </a:cxn>
                        <a:cxn ang="0">
                          <a:pos x="235" y="78"/>
                        </a:cxn>
                        <a:cxn ang="0">
                          <a:pos x="211" y="76"/>
                        </a:cxn>
                        <a:cxn ang="0">
                          <a:pos x="187" y="73"/>
                        </a:cxn>
                        <a:cxn ang="0">
                          <a:pos x="163" y="68"/>
                        </a:cxn>
                        <a:cxn ang="0">
                          <a:pos x="140" y="61"/>
                        </a:cxn>
                        <a:cxn ang="0">
                          <a:pos x="116" y="53"/>
                        </a:cxn>
                        <a:cxn ang="0">
                          <a:pos x="94" y="44"/>
                        </a:cxn>
                        <a:cxn ang="0">
                          <a:pos x="72" y="32"/>
                        </a:cxn>
                        <a:cxn ang="0">
                          <a:pos x="66" y="0"/>
                        </a:cxn>
                        <a:cxn ang="0">
                          <a:pos x="56" y="5"/>
                        </a:cxn>
                        <a:cxn ang="0">
                          <a:pos x="42" y="12"/>
                        </a:cxn>
                        <a:cxn ang="0">
                          <a:pos x="29" y="20"/>
                        </a:cxn>
                        <a:cxn ang="0">
                          <a:pos x="17" y="30"/>
                        </a:cxn>
                        <a:cxn ang="0">
                          <a:pos x="7" y="43"/>
                        </a:cxn>
                        <a:cxn ang="0">
                          <a:pos x="2" y="59"/>
                        </a:cxn>
                        <a:cxn ang="0">
                          <a:pos x="0" y="78"/>
                        </a:cxn>
                        <a:cxn ang="0">
                          <a:pos x="7" y="102"/>
                        </a:cxn>
                      </a:cxnLst>
                      <a:rect l="0" t="0" r="r" b="b"/>
                      <a:pathLst>
                        <a:path w="483" h="184">
                          <a:moveTo>
                            <a:pt x="7" y="102"/>
                          </a:moveTo>
                          <a:lnTo>
                            <a:pt x="18" y="116"/>
                          </a:lnTo>
                          <a:lnTo>
                            <a:pt x="34" y="130"/>
                          </a:lnTo>
                          <a:lnTo>
                            <a:pt x="55" y="143"/>
                          </a:lnTo>
                          <a:lnTo>
                            <a:pt x="80" y="155"/>
                          </a:lnTo>
                          <a:lnTo>
                            <a:pt x="109" y="165"/>
                          </a:lnTo>
                          <a:lnTo>
                            <a:pt x="141" y="173"/>
                          </a:lnTo>
                          <a:lnTo>
                            <a:pt x="176" y="179"/>
                          </a:lnTo>
                          <a:lnTo>
                            <a:pt x="211" y="182"/>
                          </a:lnTo>
                          <a:lnTo>
                            <a:pt x="248" y="184"/>
                          </a:lnTo>
                          <a:lnTo>
                            <a:pt x="285" y="183"/>
                          </a:lnTo>
                          <a:lnTo>
                            <a:pt x="323" y="180"/>
                          </a:lnTo>
                          <a:lnTo>
                            <a:pt x="359" y="173"/>
                          </a:lnTo>
                          <a:lnTo>
                            <a:pt x="393" y="164"/>
                          </a:lnTo>
                          <a:lnTo>
                            <a:pt x="427" y="151"/>
                          </a:lnTo>
                          <a:lnTo>
                            <a:pt x="455" y="135"/>
                          </a:lnTo>
                          <a:lnTo>
                            <a:pt x="482" y="115"/>
                          </a:lnTo>
                          <a:lnTo>
                            <a:pt x="483" y="93"/>
                          </a:lnTo>
                          <a:lnTo>
                            <a:pt x="483" y="77"/>
                          </a:lnTo>
                          <a:lnTo>
                            <a:pt x="482" y="65"/>
                          </a:lnTo>
                          <a:lnTo>
                            <a:pt x="478" y="54"/>
                          </a:lnTo>
                          <a:lnTo>
                            <a:pt x="473" y="44"/>
                          </a:lnTo>
                          <a:lnTo>
                            <a:pt x="463" y="34"/>
                          </a:lnTo>
                          <a:lnTo>
                            <a:pt x="451" y="22"/>
                          </a:lnTo>
                          <a:lnTo>
                            <a:pt x="435" y="7"/>
                          </a:lnTo>
                          <a:lnTo>
                            <a:pt x="416" y="23"/>
                          </a:lnTo>
                          <a:lnTo>
                            <a:pt x="396" y="37"/>
                          </a:lnTo>
                          <a:lnTo>
                            <a:pt x="375" y="50"/>
                          </a:lnTo>
                          <a:lnTo>
                            <a:pt x="353" y="59"/>
                          </a:lnTo>
                          <a:lnTo>
                            <a:pt x="330" y="67"/>
                          </a:lnTo>
                          <a:lnTo>
                            <a:pt x="307" y="73"/>
                          </a:lnTo>
                          <a:lnTo>
                            <a:pt x="284" y="76"/>
                          </a:lnTo>
                          <a:lnTo>
                            <a:pt x="260" y="78"/>
                          </a:lnTo>
                          <a:lnTo>
                            <a:pt x="235" y="78"/>
                          </a:lnTo>
                          <a:lnTo>
                            <a:pt x="211" y="76"/>
                          </a:lnTo>
                          <a:lnTo>
                            <a:pt x="187" y="73"/>
                          </a:lnTo>
                          <a:lnTo>
                            <a:pt x="163" y="68"/>
                          </a:lnTo>
                          <a:lnTo>
                            <a:pt x="140" y="61"/>
                          </a:lnTo>
                          <a:lnTo>
                            <a:pt x="116" y="53"/>
                          </a:lnTo>
                          <a:lnTo>
                            <a:pt x="94" y="44"/>
                          </a:lnTo>
                          <a:lnTo>
                            <a:pt x="72" y="32"/>
                          </a:lnTo>
                          <a:lnTo>
                            <a:pt x="66" y="0"/>
                          </a:lnTo>
                          <a:lnTo>
                            <a:pt x="56" y="5"/>
                          </a:lnTo>
                          <a:lnTo>
                            <a:pt x="42" y="12"/>
                          </a:lnTo>
                          <a:lnTo>
                            <a:pt x="29" y="20"/>
                          </a:lnTo>
                          <a:lnTo>
                            <a:pt x="17" y="30"/>
                          </a:lnTo>
                          <a:lnTo>
                            <a:pt x="7" y="43"/>
                          </a:lnTo>
                          <a:lnTo>
                            <a:pt x="2" y="59"/>
                          </a:lnTo>
                          <a:lnTo>
                            <a:pt x="0" y="78"/>
                          </a:lnTo>
                          <a:lnTo>
                            <a:pt x="7" y="102"/>
                          </a:lnTo>
                          <a:close/>
                        </a:path>
                      </a:pathLst>
                    </a:custGeom>
                    <a:solidFill>
                      <a:srgbClr val="E6E6E6">
                        <a:lumMod val="10000"/>
                      </a:srgbClr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pPr fontAlgn="auto">
                        <a:spcBef>
                          <a:spcPts val="0"/>
                        </a:spcBef>
                        <a:spcAft>
                          <a:spcPts val="0"/>
                        </a:spcAft>
                        <a:defRPr/>
                      </a:pPr>
                      <a:endParaRPr lang="da-DK" kern="0">
                        <a:solidFill>
                          <a:sysClr val="windowText" lastClr="000000"/>
                        </a:solidFill>
                        <a:latin typeface="+mn-lt"/>
                        <a:ea typeface="ＭＳ Ｐゴシック" pitchFamily="-97" charset="-128"/>
                        <a:cs typeface="+mn-cs"/>
                      </a:endParaRPr>
                    </a:p>
                  </p:txBody>
                </p:sp>
                <p:sp>
                  <p:nvSpPr>
                    <p:cNvPr id="222" name="Freeform 184"/>
                    <p:cNvSpPr>
                      <a:spLocks/>
                    </p:cNvSpPr>
                    <p:nvPr/>
                  </p:nvSpPr>
                  <p:spPr bwMode="auto">
                    <a:xfrm>
                      <a:off x="419071" y="3494237"/>
                      <a:ext cx="187427" cy="149831"/>
                    </a:xfrm>
                    <a:custGeom>
                      <a:avLst/>
                      <a:gdLst/>
                      <a:ahLst/>
                      <a:cxnLst>
                        <a:cxn ang="0">
                          <a:pos x="48" y="0"/>
                        </a:cxn>
                        <a:cxn ang="0">
                          <a:pos x="57" y="2"/>
                        </a:cxn>
                        <a:cxn ang="0">
                          <a:pos x="66" y="3"/>
                        </a:cxn>
                        <a:cxn ang="0">
                          <a:pos x="74" y="6"/>
                        </a:cxn>
                        <a:cxn ang="0">
                          <a:pos x="81" y="11"/>
                        </a:cxn>
                        <a:cxn ang="0">
                          <a:pos x="87" y="16"/>
                        </a:cxn>
                        <a:cxn ang="0">
                          <a:pos x="91" y="22"/>
                        </a:cxn>
                        <a:cxn ang="0">
                          <a:pos x="94" y="29"/>
                        </a:cxn>
                        <a:cxn ang="0">
                          <a:pos x="95" y="36"/>
                        </a:cxn>
                        <a:cxn ang="0">
                          <a:pos x="94" y="43"/>
                        </a:cxn>
                        <a:cxn ang="0">
                          <a:pos x="91" y="50"/>
                        </a:cxn>
                        <a:cxn ang="0">
                          <a:pos x="87" y="56"/>
                        </a:cxn>
                        <a:cxn ang="0">
                          <a:pos x="81" y="61"/>
                        </a:cxn>
                        <a:cxn ang="0">
                          <a:pos x="74" y="66"/>
                        </a:cxn>
                        <a:cxn ang="0">
                          <a:pos x="66" y="69"/>
                        </a:cxn>
                        <a:cxn ang="0">
                          <a:pos x="57" y="71"/>
                        </a:cxn>
                        <a:cxn ang="0">
                          <a:pos x="48" y="72"/>
                        </a:cxn>
                        <a:cxn ang="0">
                          <a:pos x="38" y="71"/>
                        </a:cxn>
                        <a:cxn ang="0">
                          <a:pos x="29" y="69"/>
                        </a:cxn>
                        <a:cxn ang="0">
                          <a:pos x="21" y="66"/>
                        </a:cxn>
                        <a:cxn ang="0">
                          <a:pos x="14" y="61"/>
                        </a:cxn>
                        <a:cxn ang="0">
                          <a:pos x="8" y="56"/>
                        </a:cxn>
                        <a:cxn ang="0">
                          <a:pos x="4" y="50"/>
                        </a:cxn>
                        <a:cxn ang="0">
                          <a:pos x="2" y="43"/>
                        </a:cxn>
                        <a:cxn ang="0">
                          <a:pos x="0" y="36"/>
                        </a:cxn>
                        <a:cxn ang="0">
                          <a:pos x="2" y="29"/>
                        </a:cxn>
                        <a:cxn ang="0">
                          <a:pos x="4" y="22"/>
                        </a:cxn>
                        <a:cxn ang="0">
                          <a:pos x="8" y="16"/>
                        </a:cxn>
                        <a:cxn ang="0">
                          <a:pos x="14" y="11"/>
                        </a:cxn>
                        <a:cxn ang="0">
                          <a:pos x="21" y="6"/>
                        </a:cxn>
                        <a:cxn ang="0">
                          <a:pos x="29" y="3"/>
                        </a:cxn>
                        <a:cxn ang="0">
                          <a:pos x="38" y="2"/>
                        </a:cxn>
                        <a:cxn ang="0">
                          <a:pos x="48" y="0"/>
                        </a:cxn>
                      </a:cxnLst>
                      <a:rect l="0" t="0" r="r" b="b"/>
                      <a:pathLst>
                        <a:path w="95" h="72">
                          <a:moveTo>
                            <a:pt x="48" y="0"/>
                          </a:moveTo>
                          <a:lnTo>
                            <a:pt x="57" y="2"/>
                          </a:lnTo>
                          <a:lnTo>
                            <a:pt x="66" y="3"/>
                          </a:lnTo>
                          <a:lnTo>
                            <a:pt x="74" y="6"/>
                          </a:lnTo>
                          <a:lnTo>
                            <a:pt x="81" y="11"/>
                          </a:lnTo>
                          <a:lnTo>
                            <a:pt x="87" y="16"/>
                          </a:lnTo>
                          <a:lnTo>
                            <a:pt x="91" y="22"/>
                          </a:lnTo>
                          <a:lnTo>
                            <a:pt x="94" y="29"/>
                          </a:lnTo>
                          <a:lnTo>
                            <a:pt x="95" y="36"/>
                          </a:lnTo>
                          <a:lnTo>
                            <a:pt x="94" y="43"/>
                          </a:lnTo>
                          <a:lnTo>
                            <a:pt x="91" y="50"/>
                          </a:lnTo>
                          <a:lnTo>
                            <a:pt x="87" y="56"/>
                          </a:lnTo>
                          <a:lnTo>
                            <a:pt x="81" y="61"/>
                          </a:lnTo>
                          <a:lnTo>
                            <a:pt x="74" y="66"/>
                          </a:lnTo>
                          <a:lnTo>
                            <a:pt x="66" y="69"/>
                          </a:lnTo>
                          <a:lnTo>
                            <a:pt x="57" y="71"/>
                          </a:lnTo>
                          <a:lnTo>
                            <a:pt x="48" y="72"/>
                          </a:lnTo>
                          <a:lnTo>
                            <a:pt x="38" y="71"/>
                          </a:lnTo>
                          <a:lnTo>
                            <a:pt x="29" y="69"/>
                          </a:lnTo>
                          <a:lnTo>
                            <a:pt x="21" y="66"/>
                          </a:lnTo>
                          <a:lnTo>
                            <a:pt x="14" y="61"/>
                          </a:lnTo>
                          <a:lnTo>
                            <a:pt x="8" y="56"/>
                          </a:lnTo>
                          <a:lnTo>
                            <a:pt x="4" y="50"/>
                          </a:lnTo>
                          <a:lnTo>
                            <a:pt x="2" y="43"/>
                          </a:lnTo>
                          <a:lnTo>
                            <a:pt x="0" y="36"/>
                          </a:lnTo>
                          <a:lnTo>
                            <a:pt x="2" y="29"/>
                          </a:lnTo>
                          <a:lnTo>
                            <a:pt x="4" y="22"/>
                          </a:lnTo>
                          <a:lnTo>
                            <a:pt x="8" y="16"/>
                          </a:lnTo>
                          <a:lnTo>
                            <a:pt x="14" y="11"/>
                          </a:lnTo>
                          <a:lnTo>
                            <a:pt x="21" y="6"/>
                          </a:lnTo>
                          <a:lnTo>
                            <a:pt x="29" y="3"/>
                          </a:lnTo>
                          <a:lnTo>
                            <a:pt x="38" y="2"/>
                          </a:lnTo>
                          <a:lnTo>
                            <a:pt x="48" y="0"/>
                          </a:lnTo>
                          <a:close/>
                        </a:path>
                      </a:pathLst>
                    </a:custGeom>
                    <a:solidFill>
                      <a:srgbClr val="E6E6E6">
                        <a:lumMod val="10000"/>
                      </a:srgbClr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pPr fontAlgn="auto">
                        <a:spcBef>
                          <a:spcPts val="0"/>
                        </a:spcBef>
                        <a:spcAft>
                          <a:spcPts val="0"/>
                        </a:spcAft>
                        <a:defRPr/>
                      </a:pPr>
                      <a:endParaRPr lang="da-DK" kern="0">
                        <a:solidFill>
                          <a:sysClr val="windowText" lastClr="000000"/>
                        </a:solidFill>
                        <a:latin typeface="+mn-lt"/>
                        <a:ea typeface="ＭＳ Ｐゴシック" pitchFamily="-97" charset="-128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09" name="Gruppe 813"/>
                  <p:cNvGrpSpPr/>
                  <p:nvPr/>
                </p:nvGrpSpPr>
                <p:grpSpPr>
                  <a:xfrm>
                    <a:off x="1090613" y="3975112"/>
                    <a:ext cx="617921" cy="1727207"/>
                    <a:chOff x="3656013" y="3433763"/>
                    <a:chExt cx="684213" cy="1912498"/>
                  </a:xfrm>
                  <a:solidFill>
                    <a:srgbClr val="FFFFFF">
                      <a:alpha val="9000"/>
                    </a:srgbClr>
                  </a:solidFill>
                </p:grpSpPr>
                <p:sp>
                  <p:nvSpPr>
                    <p:cNvPr id="210" name="Freeform 316"/>
                    <p:cNvSpPr>
                      <a:spLocks/>
                    </p:cNvSpPr>
                    <p:nvPr/>
                  </p:nvSpPr>
                  <p:spPr bwMode="auto">
                    <a:xfrm>
                      <a:off x="3824288" y="3986213"/>
                      <a:ext cx="365125" cy="65088"/>
                    </a:xfrm>
                    <a:custGeom>
                      <a:avLst/>
                      <a:gdLst/>
                      <a:ahLst/>
                      <a:cxnLst>
                        <a:cxn ang="0">
                          <a:pos x="13" y="0"/>
                        </a:cxn>
                        <a:cxn ang="0">
                          <a:pos x="26" y="6"/>
                        </a:cxn>
                        <a:cxn ang="0">
                          <a:pos x="39" y="13"/>
                        </a:cxn>
                        <a:cxn ang="0">
                          <a:pos x="52" y="16"/>
                        </a:cxn>
                        <a:cxn ang="0">
                          <a:pos x="65" y="19"/>
                        </a:cxn>
                        <a:cxn ang="0">
                          <a:pos x="78" y="22"/>
                        </a:cxn>
                        <a:cxn ang="0">
                          <a:pos x="93" y="23"/>
                        </a:cxn>
                        <a:cxn ang="0">
                          <a:pos x="106" y="24"/>
                        </a:cxn>
                        <a:cxn ang="0">
                          <a:pos x="120" y="23"/>
                        </a:cxn>
                        <a:cxn ang="0">
                          <a:pos x="134" y="22"/>
                        </a:cxn>
                        <a:cxn ang="0">
                          <a:pos x="147" y="20"/>
                        </a:cxn>
                        <a:cxn ang="0">
                          <a:pos x="161" y="18"/>
                        </a:cxn>
                        <a:cxn ang="0">
                          <a:pos x="176" y="15"/>
                        </a:cxn>
                        <a:cxn ang="0">
                          <a:pos x="189" y="13"/>
                        </a:cxn>
                        <a:cxn ang="0">
                          <a:pos x="203" y="9"/>
                        </a:cxn>
                        <a:cxn ang="0">
                          <a:pos x="216" y="6"/>
                        </a:cxn>
                        <a:cxn ang="0">
                          <a:pos x="230" y="2"/>
                        </a:cxn>
                        <a:cxn ang="0">
                          <a:pos x="230" y="15"/>
                        </a:cxn>
                        <a:cxn ang="0">
                          <a:pos x="221" y="19"/>
                        </a:cxn>
                        <a:cxn ang="0">
                          <a:pos x="212" y="23"/>
                        </a:cxn>
                        <a:cxn ang="0">
                          <a:pos x="200" y="27"/>
                        </a:cxn>
                        <a:cxn ang="0">
                          <a:pos x="189" y="29"/>
                        </a:cxn>
                        <a:cxn ang="0">
                          <a:pos x="174" y="33"/>
                        </a:cxn>
                        <a:cxn ang="0">
                          <a:pos x="161" y="36"/>
                        </a:cxn>
                        <a:cxn ang="0">
                          <a:pos x="146" y="39"/>
                        </a:cxn>
                        <a:cxn ang="0">
                          <a:pos x="132" y="41"/>
                        </a:cxn>
                        <a:cxn ang="0">
                          <a:pos x="115" y="41"/>
                        </a:cxn>
                        <a:cxn ang="0">
                          <a:pos x="99" y="41"/>
                        </a:cxn>
                        <a:cxn ang="0">
                          <a:pos x="82" y="40"/>
                        </a:cxn>
                        <a:cxn ang="0">
                          <a:pos x="65" y="37"/>
                        </a:cxn>
                        <a:cxn ang="0">
                          <a:pos x="50" y="32"/>
                        </a:cxn>
                        <a:cxn ang="0">
                          <a:pos x="33" y="27"/>
                        </a:cxn>
                        <a:cxn ang="0">
                          <a:pos x="16" y="19"/>
                        </a:cxn>
                        <a:cxn ang="0">
                          <a:pos x="0" y="9"/>
                        </a:cxn>
                        <a:cxn ang="0">
                          <a:pos x="13" y="0"/>
                        </a:cxn>
                      </a:cxnLst>
                      <a:rect l="0" t="0" r="r" b="b"/>
                      <a:pathLst>
                        <a:path w="230" h="41">
                          <a:moveTo>
                            <a:pt x="13" y="0"/>
                          </a:moveTo>
                          <a:lnTo>
                            <a:pt x="26" y="6"/>
                          </a:lnTo>
                          <a:lnTo>
                            <a:pt x="39" y="13"/>
                          </a:lnTo>
                          <a:lnTo>
                            <a:pt x="52" y="16"/>
                          </a:lnTo>
                          <a:lnTo>
                            <a:pt x="65" y="19"/>
                          </a:lnTo>
                          <a:lnTo>
                            <a:pt x="78" y="22"/>
                          </a:lnTo>
                          <a:lnTo>
                            <a:pt x="93" y="23"/>
                          </a:lnTo>
                          <a:lnTo>
                            <a:pt x="106" y="24"/>
                          </a:lnTo>
                          <a:lnTo>
                            <a:pt x="120" y="23"/>
                          </a:lnTo>
                          <a:lnTo>
                            <a:pt x="134" y="22"/>
                          </a:lnTo>
                          <a:lnTo>
                            <a:pt x="147" y="20"/>
                          </a:lnTo>
                          <a:lnTo>
                            <a:pt x="161" y="18"/>
                          </a:lnTo>
                          <a:lnTo>
                            <a:pt x="176" y="15"/>
                          </a:lnTo>
                          <a:lnTo>
                            <a:pt x="189" y="13"/>
                          </a:lnTo>
                          <a:lnTo>
                            <a:pt x="203" y="9"/>
                          </a:lnTo>
                          <a:lnTo>
                            <a:pt x="216" y="6"/>
                          </a:lnTo>
                          <a:lnTo>
                            <a:pt x="230" y="2"/>
                          </a:lnTo>
                          <a:lnTo>
                            <a:pt x="230" y="15"/>
                          </a:lnTo>
                          <a:lnTo>
                            <a:pt x="221" y="19"/>
                          </a:lnTo>
                          <a:lnTo>
                            <a:pt x="212" y="23"/>
                          </a:lnTo>
                          <a:lnTo>
                            <a:pt x="200" y="27"/>
                          </a:lnTo>
                          <a:lnTo>
                            <a:pt x="189" y="29"/>
                          </a:lnTo>
                          <a:lnTo>
                            <a:pt x="174" y="33"/>
                          </a:lnTo>
                          <a:lnTo>
                            <a:pt x="161" y="36"/>
                          </a:lnTo>
                          <a:lnTo>
                            <a:pt x="146" y="39"/>
                          </a:lnTo>
                          <a:lnTo>
                            <a:pt x="132" y="41"/>
                          </a:lnTo>
                          <a:lnTo>
                            <a:pt x="115" y="41"/>
                          </a:lnTo>
                          <a:lnTo>
                            <a:pt x="99" y="41"/>
                          </a:lnTo>
                          <a:lnTo>
                            <a:pt x="82" y="40"/>
                          </a:lnTo>
                          <a:lnTo>
                            <a:pt x="65" y="37"/>
                          </a:lnTo>
                          <a:lnTo>
                            <a:pt x="50" y="32"/>
                          </a:lnTo>
                          <a:lnTo>
                            <a:pt x="33" y="27"/>
                          </a:lnTo>
                          <a:lnTo>
                            <a:pt x="16" y="19"/>
                          </a:lnTo>
                          <a:lnTo>
                            <a:pt x="0" y="9"/>
                          </a:lnTo>
                          <a:lnTo>
                            <a:pt x="13" y="0"/>
                          </a:lnTo>
                          <a:close/>
                        </a:path>
                      </a:pathLst>
                    </a:custGeom>
                    <a:grpFill/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pPr fontAlgn="auto">
                        <a:spcBef>
                          <a:spcPts val="0"/>
                        </a:spcBef>
                        <a:spcAft>
                          <a:spcPts val="0"/>
                        </a:spcAft>
                        <a:defRPr/>
                      </a:pPr>
                      <a:endParaRPr lang="da-DK" kern="0">
                        <a:solidFill>
                          <a:sysClr val="windowText" lastClr="000000"/>
                        </a:solidFill>
                        <a:latin typeface="+mn-lt"/>
                        <a:ea typeface="ＭＳ Ｐゴシック" pitchFamily="-97" charset="-128"/>
                        <a:cs typeface="+mn-cs"/>
                      </a:endParaRPr>
                    </a:p>
                  </p:txBody>
                </p:sp>
                <p:sp>
                  <p:nvSpPr>
                    <p:cNvPr id="211" name="Freeform 330"/>
                    <p:cNvSpPr>
                      <a:spLocks/>
                    </p:cNvSpPr>
                    <p:nvPr/>
                  </p:nvSpPr>
                  <p:spPr bwMode="auto">
                    <a:xfrm>
                      <a:off x="3656013" y="4872038"/>
                      <a:ext cx="684213" cy="173038"/>
                    </a:xfrm>
                    <a:custGeom>
                      <a:avLst/>
                      <a:gdLst/>
                      <a:ahLst/>
                      <a:cxnLst>
                        <a:cxn ang="0">
                          <a:pos x="27" y="5"/>
                        </a:cxn>
                        <a:cxn ang="0">
                          <a:pos x="77" y="45"/>
                        </a:cxn>
                        <a:cxn ang="0">
                          <a:pos x="100" y="51"/>
                        </a:cxn>
                        <a:cxn ang="0">
                          <a:pos x="122" y="54"/>
                        </a:cxn>
                        <a:cxn ang="0">
                          <a:pos x="143" y="60"/>
                        </a:cxn>
                        <a:cxn ang="0">
                          <a:pos x="162" y="62"/>
                        </a:cxn>
                        <a:cxn ang="0">
                          <a:pos x="180" y="65"/>
                        </a:cxn>
                        <a:cxn ang="0">
                          <a:pos x="199" y="67"/>
                        </a:cxn>
                        <a:cxn ang="0">
                          <a:pos x="217" y="67"/>
                        </a:cxn>
                        <a:cxn ang="0">
                          <a:pos x="234" y="67"/>
                        </a:cxn>
                        <a:cxn ang="0">
                          <a:pos x="251" y="66"/>
                        </a:cxn>
                        <a:cxn ang="0">
                          <a:pos x="267" y="65"/>
                        </a:cxn>
                        <a:cxn ang="0">
                          <a:pos x="286" y="61"/>
                        </a:cxn>
                        <a:cxn ang="0">
                          <a:pos x="304" y="57"/>
                        </a:cxn>
                        <a:cxn ang="0">
                          <a:pos x="322" y="52"/>
                        </a:cxn>
                        <a:cxn ang="0">
                          <a:pos x="343" y="44"/>
                        </a:cxn>
                        <a:cxn ang="0">
                          <a:pos x="363" y="36"/>
                        </a:cxn>
                        <a:cxn ang="0">
                          <a:pos x="386" y="26"/>
                        </a:cxn>
                        <a:cxn ang="0">
                          <a:pos x="392" y="12"/>
                        </a:cxn>
                        <a:cxn ang="0">
                          <a:pos x="397" y="4"/>
                        </a:cxn>
                        <a:cxn ang="0">
                          <a:pos x="401" y="0"/>
                        </a:cxn>
                        <a:cxn ang="0">
                          <a:pos x="405" y="1"/>
                        </a:cxn>
                        <a:cxn ang="0">
                          <a:pos x="409" y="5"/>
                        </a:cxn>
                        <a:cxn ang="0">
                          <a:pos x="414" y="13"/>
                        </a:cxn>
                        <a:cxn ang="0">
                          <a:pos x="422" y="23"/>
                        </a:cxn>
                        <a:cxn ang="0">
                          <a:pos x="431" y="36"/>
                        </a:cxn>
                        <a:cxn ang="0">
                          <a:pos x="413" y="62"/>
                        </a:cxn>
                        <a:cxn ang="0">
                          <a:pos x="393" y="74"/>
                        </a:cxn>
                        <a:cxn ang="0">
                          <a:pos x="371" y="83"/>
                        </a:cxn>
                        <a:cxn ang="0">
                          <a:pos x="349" y="91"/>
                        </a:cxn>
                        <a:cxn ang="0">
                          <a:pos x="325" y="97"/>
                        </a:cxn>
                        <a:cxn ang="0">
                          <a:pos x="300" y="103"/>
                        </a:cxn>
                        <a:cxn ang="0">
                          <a:pos x="274" y="106"/>
                        </a:cxn>
                        <a:cxn ang="0">
                          <a:pos x="247" y="109"/>
                        </a:cxn>
                        <a:cxn ang="0">
                          <a:pos x="221" y="109"/>
                        </a:cxn>
                        <a:cxn ang="0">
                          <a:pos x="193" y="109"/>
                        </a:cxn>
                        <a:cxn ang="0">
                          <a:pos x="166" y="108"/>
                        </a:cxn>
                        <a:cxn ang="0">
                          <a:pos x="140" y="104"/>
                        </a:cxn>
                        <a:cxn ang="0">
                          <a:pos x="114" y="100"/>
                        </a:cxn>
                        <a:cxn ang="0">
                          <a:pos x="88" y="95"/>
                        </a:cxn>
                        <a:cxn ang="0">
                          <a:pos x="65" y="90"/>
                        </a:cxn>
                        <a:cxn ang="0">
                          <a:pos x="42" y="82"/>
                        </a:cxn>
                        <a:cxn ang="0">
                          <a:pos x="21" y="74"/>
                        </a:cxn>
                        <a:cxn ang="0">
                          <a:pos x="13" y="64"/>
                        </a:cxn>
                        <a:cxn ang="0">
                          <a:pos x="7" y="53"/>
                        </a:cxn>
                        <a:cxn ang="0">
                          <a:pos x="3" y="43"/>
                        </a:cxn>
                        <a:cxn ang="0">
                          <a:pos x="0" y="32"/>
                        </a:cxn>
                        <a:cxn ang="0">
                          <a:pos x="0" y="23"/>
                        </a:cxn>
                        <a:cxn ang="0">
                          <a:pos x="5" y="16"/>
                        </a:cxn>
                        <a:cxn ang="0">
                          <a:pos x="13" y="9"/>
                        </a:cxn>
                        <a:cxn ang="0">
                          <a:pos x="27" y="5"/>
                        </a:cxn>
                      </a:cxnLst>
                      <a:rect l="0" t="0" r="r" b="b"/>
                      <a:pathLst>
                        <a:path w="431" h="109">
                          <a:moveTo>
                            <a:pt x="27" y="5"/>
                          </a:moveTo>
                          <a:lnTo>
                            <a:pt x="77" y="45"/>
                          </a:lnTo>
                          <a:lnTo>
                            <a:pt x="100" y="51"/>
                          </a:lnTo>
                          <a:lnTo>
                            <a:pt x="122" y="54"/>
                          </a:lnTo>
                          <a:lnTo>
                            <a:pt x="143" y="60"/>
                          </a:lnTo>
                          <a:lnTo>
                            <a:pt x="162" y="62"/>
                          </a:lnTo>
                          <a:lnTo>
                            <a:pt x="180" y="65"/>
                          </a:lnTo>
                          <a:lnTo>
                            <a:pt x="199" y="67"/>
                          </a:lnTo>
                          <a:lnTo>
                            <a:pt x="217" y="67"/>
                          </a:lnTo>
                          <a:lnTo>
                            <a:pt x="234" y="67"/>
                          </a:lnTo>
                          <a:lnTo>
                            <a:pt x="251" y="66"/>
                          </a:lnTo>
                          <a:lnTo>
                            <a:pt x="267" y="65"/>
                          </a:lnTo>
                          <a:lnTo>
                            <a:pt x="286" y="61"/>
                          </a:lnTo>
                          <a:lnTo>
                            <a:pt x="304" y="57"/>
                          </a:lnTo>
                          <a:lnTo>
                            <a:pt x="322" y="52"/>
                          </a:lnTo>
                          <a:lnTo>
                            <a:pt x="343" y="44"/>
                          </a:lnTo>
                          <a:lnTo>
                            <a:pt x="363" y="36"/>
                          </a:lnTo>
                          <a:lnTo>
                            <a:pt x="386" y="26"/>
                          </a:lnTo>
                          <a:lnTo>
                            <a:pt x="392" y="12"/>
                          </a:lnTo>
                          <a:lnTo>
                            <a:pt x="397" y="4"/>
                          </a:lnTo>
                          <a:lnTo>
                            <a:pt x="401" y="0"/>
                          </a:lnTo>
                          <a:lnTo>
                            <a:pt x="405" y="1"/>
                          </a:lnTo>
                          <a:lnTo>
                            <a:pt x="409" y="5"/>
                          </a:lnTo>
                          <a:lnTo>
                            <a:pt x="414" y="13"/>
                          </a:lnTo>
                          <a:lnTo>
                            <a:pt x="422" y="23"/>
                          </a:lnTo>
                          <a:lnTo>
                            <a:pt x="431" y="36"/>
                          </a:lnTo>
                          <a:lnTo>
                            <a:pt x="413" y="62"/>
                          </a:lnTo>
                          <a:lnTo>
                            <a:pt x="393" y="74"/>
                          </a:lnTo>
                          <a:lnTo>
                            <a:pt x="371" y="83"/>
                          </a:lnTo>
                          <a:lnTo>
                            <a:pt x="349" y="91"/>
                          </a:lnTo>
                          <a:lnTo>
                            <a:pt x="325" y="97"/>
                          </a:lnTo>
                          <a:lnTo>
                            <a:pt x="300" y="103"/>
                          </a:lnTo>
                          <a:lnTo>
                            <a:pt x="274" y="106"/>
                          </a:lnTo>
                          <a:lnTo>
                            <a:pt x="247" y="109"/>
                          </a:lnTo>
                          <a:lnTo>
                            <a:pt x="221" y="109"/>
                          </a:lnTo>
                          <a:lnTo>
                            <a:pt x="193" y="109"/>
                          </a:lnTo>
                          <a:lnTo>
                            <a:pt x="166" y="108"/>
                          </a:lnTo>
                          <a:lnTo>
                            <a:pt x="140" y="104"/>
                          </a:lnTo>
                          <a:lnTo>
                            <a:pt x="114" y="100"/>
                          </a:lnTo>
                          <a:lnTo>
                            <a:pt x="88" y="95"/>
                          </a:lnTo>
                          <a:lnTo>
                            <a:pt x="65" y="90"/>
                          </a:lnTo>
                          <a:lnTo>
                            <a:pt x="42" y="82"/>
                          </a:lnTo>
                          <a:lnTo>
                            <a:pt x="21" y="74"/>
                          </a:lnTo>
                          <a:lnTo>
                            <a:pt x="13" y="64"/>
                          </a:lnTo>
                          <a:lnTo>
                            <a:pt x="7" y="53"/>
                          </a:lnTo>
                          <a:lnTo>
                            <a:pt x="3" y="43"/>
                          </a:lnTo>
                          <a:lnTo>
                            <a:pt x="0" y="32"/>
                          </a:lnTo>
                          <a:lnTo>
                            <a:pt x="0" y="23"/>
                          </a:lnTo>
                          <a:lnTo>
                            <a:pt x="5" y="16"/>
                          </a:lnTo>
                          <a:lnTo>
                            <a:pt x="13" y="9"/>
                          </a:lnTo>
                          <a:lnTo>
                            <a:pt x="27" y="5"/>
                          </a:lnTo>
                          <a:close/>
                        </a:path>
                      </a:pathLst>
                    </a:custGeom>
                    <a:grpFill/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pPr fontAlgn="auto">
                        <a:spcBef>
                          <a:spcPts val="0"/>
                        </a:spcBef>
                        <a:spcAft>
                          <a:spcPts val="0"/>
                        </a:spcAft>
                        <a:defRPr/>
                      </a:pPr>
                      <a:endParaRPr lang="da-DK" kern="0">
                        <a:solidFill>
                          <a:sysClr val="windowText" lastClr="000000"/>
                        </a:solidFill>
                        <a:latin typeface="+mn-lt"/>
                        <a:ea typeface="ＭＳ Ｐゴシック" pitchFamily="-97" charset="-128"/>
                        <a:cs typeface="+mn-cs"/>
                      </a:endParaRPr>
                    </a:p>
                  </p:txBody>
                </p:sp>
                <p:sp>
                  <p:nvSpPr>
                    <p:cNvPr id="212" name="Freeform 336"/>
                    <p:cNvSpPr>
                      <a:spLocks/>
                    </p:cNvSpPr>
                    <p:nvPr/>
                  </p:nvSpPr>
                  <p:spPr bwMode="auto">
                    <a:xfrm>
                      <a:off x="3781425" y="5231961"/>
                      <a:ext cx="490538" cy="114300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29"/>
                        </a:cxn>
                        <a:cxn ang="0">
                          <a:pos x="3" y="37"/>
                        </a:cxn>
                        <a:cxn ang="0">
                          <a:pos x="7" y="45"/>
                        </a:cxn>
                        <a:cxn ang="0">
                          <a:pos x="11" y="53"/>
                        </a:cxn>
                        <a:cxn ang="0">
                          <a:pos x="15" y="61"/>
                        </a:cxn>
                        <a:cxn ang="0">
                          <a:pos x="22" y="62"/>
                        </a:cxn>
                        <a:cxn ang="0">
                          <a:pos x="29" y="63"/>
                        </a:cxn>
                        <a:cxn ang="0">
                          <a:pos x="37" y="65"/>
                        </a:cxn>
                        <a:cxn ang="0">
                          <a:pos x="44" y="66"/>
                        </a:cxn>
                        <a:cxn ang="0">
                          <a:pos x="51" y="67"/>
                        </a:cxn>
                        <a:cxn ang="0">
                          <a:pos x="59" y="68"/>
                        </a:cxn>
                        <a:cxn ang="0">
                          <a:pos x="65" y="71"/>
                        </a:cxn>
                        <a:cxn ang="0">
                          <a:pos x="73" y="72"/>
                        </a:cxn>
                        <a:cxn ang="0">
                          <a:pos x="91" y="72"/>
                        </a:cxn>
                        <a:cxn ang="0">
                          <a:pos x="109" y="71"/>
                        </a:cxn>
                        <a:cxn ang="0">
                          <a:pos x="127" y="71"/>
                        </a:cxn>
                        <a:cxn ang="0">
                          <a:pos x="146" y="70"/>
                        </a:cxn>
                        <a:cxn ang="0">
                          <a:pos x="164" y="70"/>
                        </a:cxn>
                        <a:cxn ang="0">
                          <a:pos x="183" y="68"/>
                        </a:cxn>
                        <a:cxn ang="0">
                          <a:pos x="201" y="68"/>
                        </a:cxn>
                        <a:cxn ang="0">
                          <a:pos x="220" y="67"/>
                        </a:cxn>
                        <a:cxn ang="0">
                          <a:pos x="231" y="65"/>
                        </a:cxn>
                        <a:cxn ang="0">
                          <a:pos x="242" y="61"/>
                        </a:cxn>
                        <a:cxn ang="0">
                          <a:pos x="253" y="58"/>
                        </a:cxn>
                        <a:cxn ang="0">
                          <a:pos x="265" y="54"/>
                        </a:cxn>
                        <a:cxn ang="0">
                          <a:pos x="275" y="52"/>
                        </a:cxn>
                        <a:cxn ang="0">
                          <a:pos x="287" y="48"/>
                        </a:cxn>
                        <a:cxn ang="0">
                          <a:pos x="297" y="45"/>
                        </a:cxn>
                        <a:cxn ang="0">
                          <a:pos x="309" y="41"/>
                        </a:cxn>
                        <a:cxn ang="0">
                          <a:pos x="309" y="26"/>
                        </a:cxn>
                        <a:cxn ang="0">
                          <a:pos x="307" y="13"/>
                        </a:cxn>
                        <a:cxn ang="0">
                          <a:pos x="303" y="5"/>
                        </a:cxn>
                        <a:cxn ang="0">
                          <a:pos x="297" y="1"/>
                        </a:cxn>
                        <a:cxn ang="0">
                          <a:pos x="290" y="0"/>
                        </a:cxn>
                        <a:cxn ang="0">
                          <a:pos x="279" y="0"/>
                        </a:cxn>
                        <a:cxn ang="0">
                          <a:pos x="268" y="4"/>
                        </a:cxn>
                        <a:cxn ang="0">
                          <a:pos x="252" y="9"/>
                        </a:cxn>
                        <a:cxn ang="0">
                          <a:pos x="242" y="9"/>
                        </a:cxn>
                        <a:cxn ang="0">
                          <a:pos x="231" y="10"/>
                        </a:cxn>
                        <a:cxn ang="0">
                          <a:pos x="221" y="10"/>
                        </a:cxn>
                        <a:cxn ang="0">
                          <a:pos x="211" y="10"/>
                        </a:cxn>
                        <a:cxn ang="0">
                          <a:pos x="200" y="10"/>
                        </a:cxn>
                        <a:cxn ang="0">
                          <a:pos x="188" y="10"/>
                        </a:cxn>
                        <a:cxn ang="0">
                          <a:pos x="178" y="11"/>
                        </a:cxn>
                        <a:cxn ang="0">
                          <a:pos x="168" y="11"/>
                        </a:cxn>
                        <a:cxn ang="0">
                          <a:pos x="140" y="10"/>
                        </a:cxn>
                        <a:cxn ang="0">
                          <a:pos x="116" y="9"/>
                        </a:cxn>
                        <a:cxn ang="0">
                          <a:pos x="96" y="6"/>
                        </a:cxn>
                        <a:cxn ang="0">
                          <a:pos x="77" y="5"/>
                        </a:cxn>
                        <a:cxn ang="0">
                          <a:pos x="60" y="6"/>
                        </a:cxn>
                        <a:cxn ang="0">
                          <a:pos x="42" y="9"/>
                        </a:cxn>
                        <a:cxn ang="0">
                          <a:pos x="22" y="16"/>
                        </a:cxn>
                        <a:cxn ang="0">
                          <a:pos x="0" y="29"/>
                        </a:cxn>
                      </a:cxnLst>
                      <a:rect l="0" t="0" r="r" b="b"/>
                      <a:pathLst>
                        <a:path w="309" h="72">
                          <a:moveTo>
                            <a:pt x="0" y="29"/>
                          </a:moveTo>
                          <a:lnTo>
                            <a:pt x="3" y="37"/>
                          </a:lnTo>
                          <a:lnTo>
                            <a:pt x="7" y="45"/>
                          </a:lnTo>
                          <a:lnTo>
                            <a:pt x="11" y="53"/>
                          </a:lnTo>
                          <a:lnTo>
                            <a:pt x="15" y="61"/>
                          </a:lnTo>
                          <a:lnTo>
                            <a:pt x="22" y="62"/>
                          </a:lnTo>
                          <a:lnTo>
                            <a:pt x="29" y="63"/>
                          </a:lnTo>
                          <a:lnTo>
                            <a:pt x="37" y="65"/>
                          </a:lnTo>
                          <a:lnTo>
                            <a:pt x="44" y="66"/>
                          </a:lnTo>
                          <a:lnTo>
                            <a:pt x="51" y="67"/>
                          </a:lnTo>
                          <a:lnTo>
                            <a:pt x="59" y="68"/>
                          </a:lnTo>
                          <a:lnTo>
                            <a:pt x="65" y="71"/>
                          </a:lnTo>
                          <a:lnTo>
                            <a:pt x="73" y="72"/>
                          </a:lnTo>
                          <a:lnTo>
                            <a:pt x="91" y="72"/>
                          </a:lnTo>
                          <a:lnTo>
                            <a:pt x="109" y="71"/>
                          </a:lnTo>
                          <a:lnTo>
                            <a:pt x="127" y="71"/>
                          </a:lnTo>
                          <a:lnTo>
                            <a:pt x="146" y="70"/>
                          </a:lnTo>
                          <a:lnTo>
                            <a:pt x="164" y="70"/>
                          </a:lnTo>
                          <a:lnTo>
                            <a:pt x="183" y="68"/>
                          </a:lnTo>
                          <a:lnTo>
                            <a:pt x="201" y="68"/>
                          </a:lnTo>
                          <a:lnTo>
                            <a:pt x="220" y="67"/>
                          </a:lnTo>
                          <a:lnTo>
                            <a:pt x="231" y="65"/>
                          </a:lnTo>
                          <a:lnTo>
                            <a:pt x="242" y="61"/>
                          </a:lnTo>
                          <a:lnTo>
                            <a:pt x="253" y="58"/>
                          </a:lnTo>
                          <a:lnTo>
                            <a:pt x="265" y="54"/>
                          </a:lnTo>
                          <a:lnTo>
                            <a:pt x="275" y="52"/>
                          </a:lnTo>
                          <a:lnTo>
                            <a:pt x="287" y="48"/>
                          </a:lnTo>
                          <a:lnTo>
                            <a:pt x="297" y="45"/>
                          </a:lnTo>
                          <a:lnTo>
                            <a:pt x="309" y="41"/>
                          </a:lnTo>
                          <a:lnTo>
                            <a:pt x="309" y="26"/>
                          </a:lnTo>
                          <a:lnTo>
                            <a:pt x="307" y="13"/>
                          </a:lnTo>
                          <a:lnTo>
                            <a:pt x="303" y="5"/>
                          </a:lnTo>
                          <a:lnTo>
                            <a:pt x="297" y="1"/>
                          </a:lnTo>
                          <a:lnTo>
                            <a:pt x="290" y="0"/>
                          </a:lnTo>
                          <a:lnTo>
                            <a:pt x="279" y="0"/>
                          </a:lnTo>
                          <a:lnTo>
                            <a:pt x="268" y="4"/>
                          </a:lnTo>
                          <a:lnTo>
                            <a:pt x="252" y="9"/>
                          </a:lnTo>
                          <a:lnTo>
                            <a:pt x="242" y="9"/>
                          </a:lnTo>
                          <a:lnTo>
                            <a:pt x="231" y="10"/>
                          </a:lnTo>
                          <a:lnTo>
                            <a:pt x="221" y="10"/>
                          </a:lnTo>
                          <a:lnTo>
                            <a:pt x="211" y="10"/>
                          </a:lnTo>
                          <a:lnTo>
                            <a:pt x="200" y="10"/>
                          </a:lnTo>
                          <a:lnTo>
                            <a:pt x="188" y="10"/>
                          </a:lnTo>
                          <a:lnTo>
                            <a:pt x="178" y="11"/>
                          </a:lnTo>
                          <a:lnTo>
                            <a:pt x="168" y="11"/>
                          </a:lnTo>
                          <a:lnTo>
                            <a:pt x="140" y="10"/>
                          </a:lnTo>
                          <a:lnTo>
                            <a:pt x="116" y="9"/>
                          </a:lnTo>
                          <a:lnTo>
                            <a:pt x="96" y="6"/>
                          </a:lnTo>
                          <a:lnTo>
                            <a:pt x="77" y="5"/>
                          </a:lnTo>
                          <a:lnTo>
                            <a:pt x="60" y="6"/>
                          </a:lnTo>
                          <a:lnTo>
                            <a:pt x="42" y="9"/>
                          </a:lnTo>
                          <a:lnTo>
                            <a:pt x="22" y="16"/>
                          </a:lnTo>
                          <a:lnTo>
                            <a:pt x="0" y="29"/>
                          </a:lnTo>
                          <a:close/>
                        </a:path>
                      </a:pathLst>
                    </a:custGeom>
                    <a:grpFill/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pPr fontAlgn="auto">
                        <a:spcBef>
                          <a:spcPts val="0"/>
                        </a:spcBef>
                        <a:spcAft>
                          <a:spcPts val="0"/>
                        </a:spcAft>
                        <a:defRPr/>
                      </a:pPr>
                      <a:endParaRPr lang="da-DK" kern="0">
                        <a:solidFill>
                          <a:sysClr val="windowText" lastClr="000000"/>
                        </a:solidFill>
                        <a:latin typeface="+mn-lt"/>
                        <a:ea typeface="ＭＳ Ｐゴシック" pitchFamily="-97" charset="-128"/>
                        <a:cs typeface="+mn-cs"/>
                      </a:endParaRPr>
                    </a:p>
                  </p:txBody>
                </p:sp>
                <p:sp>
                  <p:nvSpPr>
                    <p:cNvPr id="213" name="Freeform 353"/>
                    <p:cNvSpPr>
                      <a:spLocks/>
                    </p:cNvSpPr>
                    <p:nvPr/>
                  </p:nvSpPr>
                  <p:spPr bwMode="auto">
                    <a:xfrm>
                      <a:off x="3932238" y="4217988"/>
                      <a:ext cx="177800" cy="39688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11"/>
                        </a:cxn>
                        <a:cxn ang="0">
                          <a:pos x="5" y="17"/>
                        </a:cxn>
                        <a:cxn ang="0">
                          <a:pos x="26" y="25"/>
                        </a:cxn>
                        <a:cxn ang="0">
                          <a:pos x="80" y="20"/>
                        </a:cxn>
                        <a:cxn ang="0">
                          <a:pos x="112" y="13"/>
                        </a:cxn>
                        <a:cxn ang="0">
                          <a:pos x="110" y="4"/>
                        </a:cxn>
                        <a:cxn ang="0">
                          <a:pos x="108" y="0"/>
                        </a:cxn>
                        <a:cxn ang="0">
                          <a:pos x="103" y="2"/>
                        </a:cxn>
                        <a:cxn ang="0">
                          <a:pos x="92" y="4"/>
                        </a:cxn>
                        <a:cxn ang="0">
                          <a:pos x="61" y="6"/>
                        </a:cxn>
                        <a:cxn ang="0">
                          <a:pos x="51" y="6"/>
                        </a:cxn>
                        <a:cxn ang="0">
                          <a:pos x="43" y="4"/>
                        </a:cxn>
                        <a:cxn ang="0">
                          <a:pos x="35" y="4"/>
                        </a:cxn>
                        <a:cxn ang="0">
                          <a:pos x="29" y="3"/>
                        </a:cxn>
                        <a:cxn ang="0">
                          <a:pos x="22" y="3"/>
                        </a:cxn>
                        <a:cxn ang="0">
                          <a:pos x="14" y="4"/>
                        </a:cxn>
                        <a:cxn ang="0">
                          <a:pos x="8" y="7"/>
                        </a:cxn>
                        <a:cxn ang="0">
                          <a:pos x="0" y="11"/>
                        </a:cxn>
                      </a:cxnLst>
                      <a:rect l="0" t="0" r="r" b="b"/>
                      <a:pathLst>
                        <a:path w="112" h="25">
                          <a:moveTo>
                            <a:pt x="0" y="11"/>
                          </a:moveTo>
                          <a:lnTo>
                            <a:pt x="5" y="17"/>
                          </a:lnTo>
                          <a:lnTo>
                            <a:pt x="26" y="25"/>
                          </a:lnTo>
                          <a:lnTo>
                            <a:pt x="80" y="20"/>
                          </a:lnTo>
                          <a:lnTo>
                            <a:pt x="112" y="13"/>
                          </a:lnTo>
                          <a:lnTo>
                            <a:pt x="110" y="4"/>
                          </a:lnTo>
                          <a:lnTo>
                            <a:pt x="108" y="0"/>
                          </a:lnTo>
                          <a:lnTo>
                            <a:pt x="103" y="2"/>
                          </a:lnTo>
                          <a:lnTo>
                            <a:pt x="92" y="4"/>
                          </a:lnTo>
                          <a:lnTo>
                            <a:pt x="61" y="6"/>
                          </a:lnTo>
                          <a:lnTo>
                            <a:pt x="51" y="6"/>
                          </a:lnTo>
                          <a:lnTo>
                            <a:pt x="43" y="4"/>
                          </a:lnTo>
                          <a:lnTo>
                            <a:pt x="35" y="4"/>
                          </a:lnTo>
                          <a:lnTo>
                            <a:pt x="29" y="3"/>
                          </a:lnTo>
                          <a:lnTo>
                            <a:pt x="22" y="3"/>
                          </a:lnTo>
                          <a:lnTo>
                            <a:pt x="14" y="4"/>
                          </a:lnTo>
                          <a:lnTo>
                            <a:pt x="8" y="7"/>
                          </a:lnTo>
                          <a:lnTo>
                            <a:pt x="0" y="11"/>
                          </a:lnTo>
                          <a:close/>
                        </a:path>
                      </a:pathLst>
                    </a:custGeom>
                    <a:grpFill/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pPr fontAlgn="auto">
                        <a:spcBef>
                          <a:spcPts val="0"/>
                        </a:spcBef>
                        <a:spcAft>
                          <a:spcPts val="0"/>
                        </a:spcAft>
                        <a:defRPr/>
                      </a:pPr>
                      <a:endParaRPr lang="da-DK" kern="0">
                        <a:solidFill>
                          <a:sysClr val="windowText" lastClr="000000"/>
                        </a:solidFill>
                        <a:latin typeface="+mn-lt"/>
                        <a:ea typeface="ＭＳ Ｐゴシック" pitchFamily="-97" charset="-128"/>
                        <a:cs typeface="+mn-cs"/>
                      </a:endParaRPr>
                    </a:p>
                  </p:txBody>
                </p:sp>
                <p:sp>
                  <p:nvSpPr>
                    <p:cNvPr id="214" name="Freeform 367"/>
                    <p:cNvSpPr>
                      <a:spLocks/>
                    </p:cNvSpPr>
                    <p:nvPr/>
                  </p:nvSpPr>
                  <p:spPr bwMode="auto">
                    <a:xfrm>
                      <a:off x="3932238" y="3433763"/>
                      <a:ext cx="168275" cy="127000"/>
                    </a:xfrm>
                    <a:custGeom>
                      <a:avLst/>
                      <a:gdLst/>
                      <a:ahLst/>
                      <a:cxnLst>
                        <a:cxn ang="0">
                          <a:pos x="53" y="0"/>
                        </a:cxn>
                        <a:cxn ang="0">
                          <a:pos x="64" y="1"/>
                        </a:cxn>
                        <a:cxn ang="0">
                          <a:pos x="74" y="2"/>
                        </a:cxn>
                        <a:cxn ang="0">
                          <a:pos x="83" y="6"/>
                        </a:cxn>
                        <a:cxn ang="0">
                          <a:pos x="91" y="11"/>
                        </a:cxn>
                        <a:cxn ang="0">
                          <a:pos x="97" y="18"/>
                        </a:cxn>
                        <a:cxn ang="0">
                          <a:pos x="103" y="24"/>
                        </a:cxn>
                        <a:cxn ang="0">
                          <a:pos x="105" y="32"/>
                        </a:cxn>
                        <a:cxn ang="0">
                          <a:pos x="106" y="40"/>
                        </a:cxn>
                        <a:cxn ang="0">
                          <a:pos x="105" y="48"/>
                        </a:cxn>
                        <a:cxn ang="0">
                          <a:pos x="103" y="55"/>
                        </a:cxn>
                        <a:cxn ang="0">
                          <a:pos x="97" y="62"/>
                        </a:cxn>
                        <a:cxn ang="0">
                          <a:pos x="91" y="68"/>
                        </a:cxn>
                        <a:cxn ang="0">
                          <a:pos x="83" y="74"/>
                        </a:cxn>
                        <a:cxn ang="0">
                          <a:pos x="74" y="78"/>
                        </a:cxn>
                        <a:cxn ang="0">
                          <a:pos x="64" y="79"/>
                        </a:cxn>
                        <a:cxn ang="0">
                          <a:pos x="53" y="80"/>
                        </a:cxn>
                        <a:cxn ang="0">
                          <a:pos x="43" y="79"/>
                        </a:cxn>
                        <a:cxn ang="0">
                          <a:pos x="32" y="78"/>
                        </a:cxn>
                        <a:cxn ang="0">
                          <a:pos x="23" y="74"/>
                        </a:cxn>
                        <a:cxn ang="0">
                          <a:pos x="16" y="68"/>
                        </a:cxn>
                        <a:cxn ang="0">
                          <a:pos x="9" y="62"/>
                        </a:cxn>
                        <a:cxn ang="0">
                          <a:pos x="4" y="55"/>
                        </a:cxn>
                        <a:cxn ang="0">
                          <a:pos x="1" y="48"/>
                        </a:cxn>
                        <a:cxn ang="0">
                          <a:pos x="0" y="40"/>
                        </a:cxn>
                        <a:cxn ang="0">
                          <a:pos x="1" y="32"/>
                        </a:cxn>
                        <a:cxn ang="0">
                          <a:pos x="4" y="24"/>
                        </a:cxn>
                        <a:cxn ang="0">
                          <a:pos x="9" y="18"/>
                        </a:cxn>
                        <a:cxn ang="0">
                          <a:pos x="16" y="11"/>
                        </a:cxn>
                        <a:cxn ang="0">
                          <a:pos x="23" y="6"/>
                        </a:cxn>
                        <a:cxn ang="0">
                          <a:pos x="32" y="2"/>
                        </a:cxn>
                        <a:cxn ang="0">
                          <a:pos x="43" y="1"/>
                        </a:cxn>
                        <a:cxn ang="0">
                          <a:pos x="53" y="0"/>
                        </a:cxn>
                      </a:cxnLst>
                      <a:rect l="0" t="0" r="r" b="b"/>
                      <a:pathLst>
                        <a:path w="106" h="80">
                          <a:moveTo>
                            <a:pt x="53" y="0"/>
                          </a:moveTo>
                          <a:lnTo>
                            <a:pt x="64" y="1"/>
                          </a:lnTo>
                          <a:lnTo>
                            <a:pt x="74" y="2"/>
                          </a:lnTo>
                          <a:lnTo>
                            <a:pt x="83" y="6"/>
                          </a:lnTo>
                          <a:lnTo>
                            <a:pt x="91" y="11"/>
                          </a:lnTo>
                          <a:lnTo>
                            <a:pt x="97" y="18"/>
                          </a:lnTo>
                          <a:lnTo>
                            <a:pt x="103" y="24"/>
                          </a:lnTo>
                          <a:lnTo>
                            <a:pt x="105" y="32"/>
                          </a:lnTo>
                          <a:lnTo>
                            <a:pt x="106" y="40"/>
                          </a:lnTo>
                          <a:lnTo>
                            <a:pt x="105" y="48"/>
                          </a:lnTo>
                          <a:lnTo>
                            <a:pt x="103" y="55"/>
                          </a:lnTo>
                          <a:lnTo>
                            <a:pt x="97" y="62"/>
                          </a:lnTo>
                          <a:lnTo>
                            <a:pt x="91" y="68"/>
                          </a:lnTo>
                          <a:lnTo>
                            <a:pt x="83" y="74"/>
                          </a:lnTo>
                          <a:lnTo>
                            <a:pt x="74" y="78"/>
                          </a:lnTo>
                          <a:lnTo>
                            <a:pt x="64" y="79"/>
                          </a:lnTo>
                          <a:lnTo>
                            <a:pt x="53" y="80"/>
                          </a:lnTo>
                          <a:lnTo>
                            <a:pt x="43" y="79"/>
                          </a:lnTo>
                          <a:lnTo>
                            <a:pt x="32" y="78"/>
                          </a:lnTo>
                          <a:lnTo>
                            <a:pt x="23" y="74"/>
                          </a:lnTo>
                          <a:lnTo>
                            <a:pt x="16" y="68"/>
                          </a:lnTo>
                          <a:lnTo>
                            <a:pt x="9" y="62"/>
                          </a:lnTo>
                          <a:lnTo>
                            <a:pt x="4" y="55"/>
                          </a:lnTo>
                          <a:lnTo>
                            <a:pt x="1" y="48"/>
                          </a:lnTo>
                          <a:lnTo>
                            <a:pt x="0" y="40"/>
                          </a:lnTo>
                          <a:lnTo>
                            <a:pt x="1" y="32"/>
                          </a:lnTo>
                          <a:lnTo>
                            <a:pt x="4" y="24"/>
                          </a:lnTo>
                          <a:lnTo>
                            <a:pt x="9" y="18"/>
                          </a:lnTo>
                          <a:lnTo>
                            <a:pt x="16" y="11"/>
                          </a:lnTo>
                          <a:lnTo>
                            <a:pt x="23" y="6"/>
                          </a:lnTo>
                          <a:lnTo>
                            <a:pt x="32" y="2"/>
                          </a:lnTo>
                          <a:lnTo>
                            <a:pt x="43" y="1"/>
                          </a:lnTo>
                          <a:lnTo>
                            <a:pt x="53" y="0"/>
                          </a:lnTo>
                          <a:close/>
                        </a:path>
                      </a:pathLst>
                    </a:custGeom>
                    <a:grpFill/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pPr fontAlgn="auto">
                        <a:spcBef>
                          <a:spcPts val="0"/>
                        </a:spcBef>
                        <a:spcAft>
                          <a:spcPts val="0"/>
                        </a:spcAft>
                        <a:defRPr/>
                      </a:pPr>
                      <a:endParaRPr lang="da-DK" kern="0">
                        <a:solidFill>
                          <a:sysClr val="windowText" lastClr="000000"/>
                        </a:solidFill>
                        <a:latin typeface="+mn-lt"/>
                        <a:ea typeface="ＭＳ Ｐゴシック" pitchFamily="-97" charset="-128"/>
                        <a:cs typeface="+mn-cs"/>
                      </a:endParaRPr>
                    </a:p>
                  </p:txBody>
                </p:sp>
              </p:grpSp>
            </p:grpSp>
            <p:sp>
              <p:nvSpPr>
                <p:cNvPr id="207" name="Ellipse 542"/>
                <p:cNvSpPr/>
                <p:nvPr/>
              </p:nvSpPr>
              <p:spPr bwMode="auto">
                <a:xfrm>
                  <a:off x="2599530" y="4799242"/>
                  <a:ext cx="457365" cy="464908"/>
                </a:xfrm>
                <a:prstGeom prst="ellipse">
                  <a:avLst/>
                </a:prstGeom>
                <a:gradFill flip="none" rotWithShape="1">
                  <a:gsLst>
                    <a:gs pos="100000">
                      <a:srgbClr val="E6E6E6"/>
                    </a:gs>
                    <a:gs pos="44000">
                      <a:srgbClr val="080808"/>
                    </a:gs>
                    <a:gs pos="48000">
                      <a:srgbClr val="080808"/>
                    </a:gs>
                  </a:gsLst>
                  <a:lin ang="0" scaled="1"/>
                  <a:tileRect/>
                </a:gradFill>
                <a:ln w="952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" lastClr="FFFFFF"/>
                    </a:solidFill>
                    <a:latin typeface="Calibri"/>
                    <a:cs typeface="+mn-cs"/>
                  </a:endParaRPr>
                </a:p>
              </p:txBody>
            </p:sp>
          </p:grpSp>
        </p:grpSp>
        <p:grpSp>
          <p:nvGrpSpPr>
            <p:cNvPr id="128" name="Gruppe 259"/>
            <p:cNvGrpSpPr>
              <a:grpSpLocks/>
            </p:cNvGrpSpPr>
            <p:nvPr/>
          </p:nvGrpSpPr>
          <p:grpSpPr bwMode="auto">
            <a:xfrm flipH="1">
              <a:off x="4262438" y="4308475"/>
              <a:ext cx="688975" cy="914400"/>
              <a:chOff x="2217739" y="4806539"/>
              <a:chExt cx="1096961" cy="1454561"/>
            </a:xfrm>
          </p:grpSpPr>
          <p:sp>
            <p:nvSpPr>
              <p:cNvPr id="186" name="Ellipse 559"/>
              <p:cNvSpPr/>
              <p:nvPr/>
            </p:nvSpPr>
            <p:spPr bwMode="auto">
              <a:xfrm>
                <a:off x="2217739" y="5953229"/>
                <a:ext cx="1096961" cy="307871"/>
              </a:xfrm>
              <a:prstGeom prst="ellipse">
                <a:avLst/>
              </a:prstGeom>
              <a:gradFill flip="none" rotWithShape="1">
                <a:gsLst>
                  <a:gs pos="24000">
                    <a:sysClr val="windowText" lastClr="000000">
                      <a:alpha val="42000"/>
                    </a:sysClr>
                  </a:gs>
                  <a:gs pos="100000">
                    <a:sysClr val="window" lastClr="FFFFFF">
                      <a:alpha val="0"/>
                    </a:sysClr>
                  </a:gs>
                </a:gsLst>
                <a:path path="shape">
                  <a:fillToRect l="50000" t="50000" r="50000" b="50000"/>
                </a:path>
                <a:tileRect/>
              </a:gradFill>
              <a:ln w="9525" cap="flat" cmpd="sng" algn="ctr">
                <a:noFill/>
                <a:prstDash val="solid"/>
              </a:ln>
              <a:effectLst/>
            </p:spPr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 dirty="0" err="1">
                  <a:solidFill>
                    <a:sysClr val="window" lastClr="FFFFFF"/>
                  </a:solidFill>
                  <a:latin typeface="Calibri"/>
                  <a:ea typeface="ＭＳ Ｐゴシック" pitchFamily="-97" charset="-128"/>
                  <a:cs typeface="+mn-cs"/>
                </a:endParaRPr>
              </a:p>
            </p:txBody>
          </p:sp>
          <p:grpSp>
            <p:nvGrpSpPr>
              <p:cNvPr id="187" name="Gruppe 850"/>
              <p:cNvGrpSpPr>
                <a:grpSpLocks/>
              </p:cNvGrpSpPr>
              <p:nvPr/>
            </p:nvGrpSpPr>
            <p:grpSpPr bwMode="auto">
              <a:xfrm>
                <a:off x="2505880" y="4806539"/>
                <a:ext cx="619253" cy="1371227"/>
                <a:chOff x="2505880" y="4806539"/>
                <a:chExt cx="619253" cy="1371227"/>
              </a:xfrm>
            </p:grpSpPr>
            <p:grpSp>
              <p:nvGrpSpPr>
                <p:cNvPr id="188" name="Gruppe 823"/>
                <p:cNvGrpSpPr>
                  <a:grpSpLocks/>
                </p:cNvGrpSpPr>
                <p:nvPr/>
              </p:nvGrpSpPr>
              <p:grpSpPr bwMode="auto">
                <a:xfrm>
                  <a:off x="2505880" y="4876802"/>
                  <a:ext cx="619253" cy="1300964"/>
                  <a:chOff x="1019825" y="3975118"/>
                  <a:chExt cx="733880" cy="1897819"/>
                </a:xfrm>
              </p:grpSpPr>
              <p:grpSp>
                <p:nvGrpSpPr>
                  <p:cNvPr id="190" name="Gruppe 605"/>
                  <p:cNvGrpSpPr>
                    <a:grpSpLocks/>
                  </p:cNvGrpSpPr>
                  <p:nvPr/>
                </p:nvGrpSpPr>
                <p:grpSpPr bwMode="auto">
                  <a:xfrm>
                    <a:off x="1019825" y="4089966"/>
                    <a:ext cx="733880" cy="1782971"/>
                    <a:chOff x="-9197" y="3496802"/>
                    <a:chExt cx="972790" cy="2363405"/>
                  </a:xfrm>
                </p:grpSpPr>
                <p:sp>
                  <p:nvSpPr>
                    <p:cNvPr id="196" name="Freeform 130"/>
                    <p:cNvSpPr>
                      <a:spLocks/>
                    </p:cNvSpPr>
                    <p:nvPr/>
                  </p:nvSpPr>
                  <p:spPr bwMode="auto">
                    <a:xfrm>
                      <a:off x="-20971" y="3506067"/>
                      <a:ext cx="970601" cy="2363925"/>
                    </a:xfrm>
                    <a:custGeom>
                      <a:avLst/>
                      <a:gdLst/>
                      <a:ahLst/>
                      <a:cxnLst>
                        <a:cxn ang="0">
                          <a:pos x="145" y="87"/>
                        </a:cxn>
                        <a:cxn ang="0">
                          <a:pos x="99" y="110"/>
                        </a:cxn>
                        <a:cxn ang="0">
                          <a:pos x="93" y="162"/>
                        </a:cxn>
                        <a:cxn ang="0">
                          <a:pos x="158" y="272"/>
                        </a:cxn>
                        <a:cxn ang="0">
                          <a:pos x="138" y="326"/>
                        </a:cxn>
                        <a:cxn ang="0">
                          <a:pos x="89" y="375"/>
                        </a:cxn>
                        <a:cxn ang="0">
                          <a:pos x="70" y="414"/>
                        </a:cxn>
                        <a:cxn ang="0">
                          <a:pos x="94" y="449"/>
                        </a:cxn>
                        <a:cxn ang="0">
                          <a:pos x="168" y="522"/>
                        </a:cxn>
                        <a:cxn ang="0">
                          <a:pos x="150" y="638"/>
                        </a:cxn>
                        <a:cxn ang="0">
                          <a:pos x="115" y="750"/>
                        </a:cxn>
                        <a:cxn ang="0">
                          <a:pos x="70" y="804"/>
                        </a:cxn>
                        <a:cxn ang="0">
                          <a:pos x="53" y="835"/>
                        </a:cxn>
                        <a:cxn ang="0">
                          <a:pos x="75" y="868"/>
                        </a:cxn>
                        <a:cxn ang="0">
                          <a:pos x="34" y="905"/>
                        </a:cxn>
                        <a:cxn ang="0">
                          <a:pos x="8" y="942"/>
                        </a:cxn>
                        <a:cxn ang="0">
                          <a:pos x="15" y="999"/>
                        </a:cxn>
                        <a:cxn ang="0">
                          <a:pos x="0" y="1121"/>
                        </a:cxn>
                        <a:cxn ang="0">
                          <a:pos x="69" y="1163"/>
                        </a:cxn>
                        <a:cxn ang="0">
                          <a:pos x="171" y="1189"/>
                        </a:cxn>
                        <a:cxn ang="0">
                          <a:pos x="285" y="1193"/>
                        </a:cxn>
                        <a:cxn ang="0">
                          <a:pos x="393" y="1175"/>
                        </a:cxn>
                        <a:cxn ang="0">
                          <a:pos x="474" y="1129"/>
                        </a:cxn>
                        <a:cxn ang="0">
                          <a:pos x="484" y="1032"/>
                        </a:cxn>
                        <a:cxn ang="0">
                          <a:pos x="489" y="965"/>
                        </a:cxn>
                        <a:cxn ang="0">
                          <a:pos x="470" y="921"/>
                        </a:cxn>
                        <a:cxn ang="0">
                          <a:pos x="441" y="870"/>
                        </a:cxn>
                        <a:cxn ang="0">
                          <a:pos x="449" y="832"/>
                        </a:cxn>
                        <a:cxn ang="0">
                          <a:pos x="425" y="805"/>
                        </a:cxn>
                        <a:cxn ang="0">
                          <a:pos x="373" y="713"/>
                        </a:cxn>
                        <a:cxn ang="0">
                          <a:pos x="349" y="609"/>
                        </a:cxn>
                        <a:cxn ang="0">
                          <a:pos x="344" y="485"/>
                        </a:cxn>
                        <a:cxn ang="0">
                          <a:pos x="417" y="446"/>
                        </a:cxn>
                        <a:cxn ang="0">
                          <a:pos x="436" y="411"/>
                        </a:cxn>
                        <a:cxn ang="0">
                          <a:pos x="414" y="374"/>
                        </a:cxn>
                        <a:cxn ang="0">
                          <a:pos x="379" y="343"/>
                        </a:cxn>
                        <a:cxn ang="0">
                          <a:pos x="393" y="306"/>
                        </a:cxn>
                        <a:cxn ang="0">
                          <a:pos x="376" y="273"/>
                        </a:cxn>
                        <a:cxn ang="0">
                          <a:pos x="409" y="192"/>
                        </a:cxn>
                        <a:cxn ang="0">
                          <a:pos x="432" y="139"/>
                        </a:cxn>
                        <a:cxn ang="0">
                          <a:pos x="416" y="110"/>
                        </a:cxn>
                        <a:cxn ang="0">
                          <a:pos x="349" y="77"/>
                        </a:cxn>
                        <a:cxn ang="0">
                          <a:pos x="322" y="42"/>
                        </a:cxn>
                        <a:cxn ang="0">
                          <a:pos x="309" y="16"/>
                        </a:cxn>
                        <a:cxn ang="0">
                          <a:pos x="281" y="2"/>
                        </a:cxn>
                        <a:cxn ang="0">
                          <a:pos x="243" y="3"/>
                        </a:cxn>
                        <a:cxn ang="0">
                          <a:pos x="215" y="27"/>
                        </a:cxn>
                      </a:cxnLst>
                      <a:rect l="0" t="0" r="r" b="b"/>
                      <a:pathLst>
                        <a:path w="493" h="1194">
                          <a:moveTo>
                            <a:pt x="208" y="62"/>
                          </a:moveTo>
                          <a:lnTo>
                            <a:pt x="167" y="83"/>
                          </a:lnTo>
                          <a:lnTo>
                            <a:pt x="145" y="87"/>
                          </a:lnTo>
                          <a:lnTo>
                            <a:pt x="125" y="93"/>
                          </a:lnTo>
                          <a:lnTo>
                            <a:pt x="110" y="100"/>
                          </a:lnTo>
                          <a:lnTo>
                            <a:pt x="99" y="110"/>
                          </a:lnTo>
                          <a:lnTo>
                            <a:pt x="92" y="124"/>
                          </a:lnTo>
                          <a:lnTo>
                            <a:pt x="90" y="141"/>
                          </a:lnTo>
                          <a:lnTo>
                            <a:pt x="93" y="162"/>
                          </a:lnTo>
                          <a:lnTo>
                            <a:pt x="104" y="187"/>
                          </a:lnTo>
                          <a:lnTo>
                            <a:pt x="158" y="242"/>
                          </a:lnTo>
                          <a:lnTo>
                            <a:pt x="158" y="272"/>
                          </a:lnTo>
                          <a:lnTo>
                            <a:pt x="140" y="282"/>
                          </a:lnTo>
                          <a:lnTo>
                            <a:pt x="135" y="302"/>
                          </a:lnTo>
                          <a:lnTo>
                            <a:pt x="138" y="326"/>
                          </a:lnTo>
                          <a:lnTo>
                            <a:pt x="147" y="346"/>
                          </a:lnTo>
                          <a:lnTo>
                            <a:pt x="104" y="360"/>
                          </a:lnTo>
                          <a:lnTo>
                            <a:pt x="89" y="375"/>
                          </a:lnTo>
                          <a:lnTo>
                            <a:pt x="77" y="389"/>
                          </a:lnTo>
                          <a:lnTo>
                            <a:pt x="71" y="402"/>
                          </a:lnTo>
                          <a:lnTo>
                            <a:pt x="70" y="414"/>
                          </a:lnTo>
                          <a:lnTo>
                            <a:pt x="74" y="426"/>
                          </a:lnTo>
                          <a:lnTo>
                            <a:pt x="82" y="437"/>
                          </a:lnTo>
                          <a:lnTo>
                            <a:pt x="94" y="449"/>
                          </a:lnTo>
                          <a:lnTo>
                            <a:pt x="113" y="459"/>
                          </a:lnTo>
                          <a:lnTo>
                            <a:pt x="173" y="480"/>
                          </a:lnTo>
                          <a:lnTo>
                            <a:pt x="168" y="522"/>
                          </a:lnTo>
                          <a:lnTo>
                            <a:pt x="162" y="562"/>
                          </a:lnTo>
                          <a:lnTo>
                            <a:pt x="156" y="601"/>
                          </a:lnTo>
                          <a:lnTo>
                            <a:pt x="150" y="638"/>
                          </a:lnTo>
                          <a:lnTo>
                            <a:pt x="140" y="676"/>
                          </a:lnTo>
                          <a:lnTo>
                            <a:pt x="129" y="713"/>
                          </a:lnTo>
                          <a:lnTo>
                            <a:pt x="115" y="750"/>
                          </a:lnTo>
                          <a:lnTo>
                            <a:pt x="98" y="789"/>
                          </a:lnTo>
                          <a:lnTo>
                            <a:pt x="83" y="796"/>
                          </a:lnTo>
                          <a:lnTo>
                            <a:pt x="70" y="804"/>
                          </a:lnTo>
                          <a:lnTo>
                            <a:pt x="61" y="814"/>
                          </a:lnTo>
                          <a:lnTo>
                            <a:pt x="55" y="823"/>
                          </a:lnTo>
                          <a:lnTo>
                            <a:pt x="53" y="835"/>
                          </a:lnTo>
                          <a:lnTo>
                            <a:pt x="55" y="845"/>
                          </a:lnTo>
                          <a:lnTo>
                            <a:pt x="62" y="857"/>
                          </a:lnTo>
                          <a:lnTo>
                            <a:pt x="75" y="868"/>
                          </a:lnTo>
                          <a:lnTo>
                            <a:pt x="78" y="889"/>
                          </a:lnTo>
                          <a:lnTo>
                            <a:pt x="53" y="896"/>
                          </a:lnTo>
                          <a:lnTo>
                            <a:pt x="34" y="905"/>
                          </a:lnTo>
                          <a:lnTo>
                            <a:pt x="21" y="916"/>
                          </a:lnTo>
                          <a:lnTo>
                            <a:pt x="13" y="928"/>
                          </a:lnTo>
                          <a:lnTo>
                            <a:pt x="8" y="942"/>
                          </a:lnTo>
                          <a:lnTo>
                            <a:pt x="8" y="959"/>
                          </a:lnTo>
                          <a:lnTo>
                            <a:pt x="10" y="978"/>
                          </a:lnTo>
                          <a:lnTo>
                            <a:pt x="15" y="999"/>
                          </a:lnTo>
                          <a:lnTo>
                            <a:pt x="19" y="1032"/>
                          </a:lnTo>
                          <a:lnTo>
                            <a:pt x="0" y="1057"/>
                          </a:lnTo>
                          <a:lnTo>
                            <a:pt x="0" y="1121"/>
                          </a:lnTo>
                          <a:lnTo>
                            <a:pt x="18" y="1137"/>
                          </a:lnTo>
                          <a:lnTo>
                            <a:pt x="41" y="1151"/>
                          </a:lnTo>
                          <a:lnTo>
                            <a:pt x="69" y="1163"/>
                          </a:lnTo>
                          <a:lnTo>
                            <a:pt x="101" y="1174"/>
                          </a:lnTo>
                          <a:lnTo>
                            <a:pt x="135" y="1182"/>
                          </a:lnTo>
                          <a:lnTo>
                            <a:pt x="171" y="1189"/>
                          </a:lnTo>
                          <a:lnTo>
                            <a:pt x="208" y="1192"/>
                          </a:lnTo>
                          <a:lnTo>
                            <a:pt x="246" y="1194"/>
                          </a:lnTo>
                          <a:lnTo>
                            <a:pt x="285" y="1193"/>
                          </a:lnTo>
                          <a:lnTo>
                            <a:pt x="322" y="1190"/>
                          </a:lnTo>
                          <a:lnTo>
                            <a:pt x="359" y="1184"/>
                          </a:lnTo>
                          <a:lnTo>
                            <a:pt x="393" y="1175"/>
                          </a:lnTo>
                          <a:lnTo>
                            <a:pt x="424" y="1162"/>
                          </a:lnTo>
                          <a:lnTo>
                            <a:pt x="451" y="1147"/>
                          </a:lnTo>
                          <a:lnTo>
                            <a:pt x="474" y="1129"/>
                          </a:lnTo>
                          <a:lnTo>
                            <a:pt x="493" y="1107"/>
                          </a:lnTo>
                          <a:lnTo>
                            <a:pt x="493" y="1069"/>
                          </a:lnTo>
                          <a:lnTo>
                            <a:pt x="484" y="1032"/>
                          </a:lnTo>
                          <a:lnTo>
                            <a:pt x="487" y="1005"/>
                          </a:lnTo>
                          <a:lnTo>
                            <a:pt x="489" y="984"/>
                          </a:lnTo>
                          <a:lnTo>
                            <a:pt x="489" y="965"/>
                          </a:lnTo>
                          <a:lnTo>
                            <a:pt x="486" y="950"/>
                          </a:lnTo>
                          <a:lnTo>
                            <a:pt x="480" y="936"/>
                          </a:lnTo>
                          <a:lnTo>
                            <a:pt x="470" y="921"/>
                          </a:lnTo>
                          <a:lnTo>
                            <a:pt x="454" y="906"/>
                          </a:lnTo>
                          <a:lnTo>
                            <a:pt x="433" y="888"/>
                          </a:lnTo>
                          <a:lnTo>
                            <a:pt x="441" y="870"/>
                          </a:lnTo>
                          <a:lnTo>
                            <a:pt x="446" y="855"/>
                          </a:lnTo>
                          <a:lnTo>
                            <a:pt x="449" y="842"/>
                          </a:lnTo>
                          <a:lnTo>
                            <a:pt x="449" y="832"/>
                          </a:lnTo>
                          <a:lnTo>
                            <a:pt x="444" y="823"/>
                          </a:lnTo>
                          <a:lnTo>
                            <a:pt x="438" y="814"/>
                          </a:lnTo>
                          <a:lnTo>
                            <a:pt x="425" y="805"/>
                          </a:lnTo>
                          <a:lnTo>
                            <a:pt x="409" y="793"/>
                          </a:lnTo>
                          <a:lnTo>
                            <a:pt x="389" y="751"/>
                          </a:lnTo>
                          <a:lnTo>
                            <a:pt x="373" y="713"/>
                          </a:lnTo>
                          <a:lnTo>
                            <a:pt x="362" y="677"/>
                          </a:lnTo>
                          <a:lnTo>
                            <a:pt x="355" y="644"/>
                          </a:lnTo>
                          <a:lnTo>
                            <a:pt x="349" y="609"/>
                          </a:lnTo>
                          <a:lnTo>
                            <a:pt x="345" y="572"/>
                          </a:lnTo>
                          <a:lnTo>
                            <a:pt x="344" y="531"/>
                          </a:lnTo>
                          <a:lnTo>
                            <a:pt x="344" y="485"/>
                          </a:lnTo>
                          <a:lnTo>
                            <a:pt x="379" y="471"/>
                          </a:lnTo>
                          <a:lnTo>
                            <a:pt x="404" y="455"/>
                          </a:lnTo>
                          <a:lnTo>
                            <a:pt x="417" y="446"/>
                          </a:lnTo>
                          <a:lnTo>
                            <a:pt x="426" y="435"/>
                          </a:lnTo>
                          <a:lnTo>
                            <a:pt x="433" y="423"/>
                          </a:lnTo>
                          <a:lnTo>
                            <a:pt x="436" y="411"/>
                          </a:lnTo>
                          <a:lnTo>
                            <a:pt x="434" y="398"/>
                          </a:lnTo>
                          <a:lnTo>
                            <a:pt x="427" y="386"/>
                          </a:lnTo>
                          <a:lnTo>
                            <a:pt x="414" y="374"/>
                          </a:lnTo>
                          <a:lnTo>
                            <a:pt x="394" y="364"/>
                          </a:lnTo>
                          <a:lnTo>
                            <a:pt x="368" y="356"/>
                          </a:lnTo>
                          <a:lnTo>
                            <a:pt x="379" y="343"/>
                          </a:lnTo>
                          <a:lnTo>
                            <a:pt x="386" y="330"/>
                          </a:lnTo>
                          <a:lnTo>
                            <a:pt x="390" y="318"/>
                          </a:lnTo>
                          <a:lnTo>
                            <a:pt x="393" y="306"/>
                          </a:lnTo>
                          <a:lnTo>
                            <a:pt x="390" y="295"/>
                          </a:lnTo>
                          <a:lnTo>
                            <a:pt x="386" y="283"/>
                          </a:lnTo>
                          <a:lnTo>
                            <a:pt x="376" y="273"/>
                          </a:lnTo>
                          <a:lnTo>
                            <a:pt x="364" y="261"/>
                          </a:lnTo>
                          <a:lnTo>
                            <a:pt x="389" y="227"/>
                          </a:lnTo>
                          <a:lnTo>
                            <a:pt x="409" y="192"/>
                          </a:lnTo>
                          <a:lnTo>
                            <a:pt x="420" y="170"/>
                          </a:lnTo>
                          <a:lnTo>
                            <a:pt x="428" y="153"/>
                          </a:lnTo>
                          <a:lnTo>
                            <a:pt x="432" y="139"/>
                          </a:lnTo>
                          <a:lnTo>
                            <a:pt x="432" y="128"/>
                          </a:lnTo>
                          <a:lnTo>
                            <a:pt x="426" y="118"/>
                          </a:lnTo>
                          <a:lnTo>
                            <a:pt x="416" y="110"/>
                          </a:lnTo>
                          <a:lnTo>
                            <a:pt x="400" y="102"/>
                          </a:lnTo>
                          <a:lnTo>
                            <a:pt x="378" y="92"/>
                          </a:lnTo>
                          <a:lnTo>
                            <a:pt x="349" y="77"/>
                          </a:lnTo>
                          <a:lnTo>
                            <a:pt x="320" y="68"/>
                          </a:lnTo>
                          <a:lnTo>
                            <a:pt x="322" y="54"/>
                          </a:lnTo>
                          <a:lnTo>
                            <a:pt x="322" y="42"/>
                          </a:lnTo>
                          <a:lnTo>
                            <a:pt x="320" y="32"/>
                          </a:lnTo>
                          <a:lnTo>
                            <a:pt x="315" y="23"/>
                          </a:lnTo>
                          <a:lnTo>
                            <a:pt x="309" y="16"/>
                          </a:lnTo>
                          <a:lnTo>
                            <a:pt x="300" y="10"/>
                          </a:lnTo>
                          <a:lnTo>
                            <a:pt x="291" y="5"/>
                          </a:lnTo>
                          <a:lnTo>
                            <a:pt x="281" y="2"/>
                          </a:lnTo>
                          <a:lnTo>
                            <a:pt x="268" y="0"/>
                          </a:lnTo>
                          <a:lnTo>
                            <a:pt x="256" y="1"/>
                          </a:lnTo>
                          <a:lnTo>
                            <a:pt x="243" y="3"/>
                          </a:lnTo>
                          <a:lnTo>
                            <a:pt x="233" y="8"/>
                          </a:lnTo>
                          <a:lnTo>
                            <a:pt x="222" y="16"/>
                          </a:lnTo>
                          <a:lnTo>
                            <a:pt x="215" y="27"/>
                          </a:lnTo>
                          <a:lnTo>
                            <a:pt x="211" y="42"/>
                          </a:lnTo>
                          <a:lnTo>
                            <a:pt x="208" y="62"/>
                          </a:lnTo>
                          <a:close/>
                        </a:path>
                      </a:pathLst>
                    </a:custGeom>
                    <a:gradFill flip="none" rotWithShape="1">
                      <a:gsLst>
                        <a:gs pos="100000">
                          <a:srgbClr val="E6E6E6"/>
                        </a:gs>
                        <a:gs pos="69000">
                          <a:srgbClr val="E6E6E6">
                            <a:lumMod val="90000"/>
                          </a:srgbClr>
                        </a:gs>
                        <a:gs pos="0">
                          <a:srgbClr val="E6E6E6">
                            <a:lumMod val="75000"/>
                          </a:srgbClr>
                        </a:gs>
                      </a:gsLst>
                      <a:lin ang="0" scaled="1"/>
                      <a:tileRect/>
                    </a:gradFill>
                    <a:ln w="9525" cap="flat" cmpd="sng" algn="ctr">
                      <a:noFill/>
                      <a:prstDash val="solid"/>
                    </a:ln>
                    <a:effectLst>
                      <a:outerShdw blurRad="40000" dist="23000" dir="5400000" rotWithShape="0">
                        <a:srgbClr val="000000">
                          <a:alpha val="35000"/>
                        </a:srgbClr>
                      </a:outerShdw>
                    </a:effectLst>
                  </p:spPr>
                  <p:txBody>
                    <a:bodyPr anchor="ctr"/>
                    <a:lstStyle/>
                    <a:p>
                      <a:pPr algn="ctr" fontAlgn="auto">
                        <a:spcBef>
                          <a:spcPts val="0"/>
                        </a:spcBef>
                        <a:spcAft>
                          <a:spcPts val="0"/>
                        </a:spcAft>
                        <a:defRPr/>
                      </a:pPr>
                      <a:endParaRPr lang="da-DK" kern="0">
                        <a:solidFill>
                          <a:sysClr val="window" lastClr="FFFFFF"/>
                        </a:solidFill>
                        <a:latin typeface="Calibri"/>
                        <a:cs typeface="+mn-cs"/>
                      </a:endParaRPr>
                    </a:p>
                  </p:txBody>
                </p:sp>
                <p:sp>
                  <p:nvSpPr>
                    <p:cNvPr id="197" name="Freeform 131"/>
                    <p:cNvSpPr>
                      <a:spLocks/>
                    </p:cNvSpPr>
                    <p:nvPr/>
                  </p:nvSpPr>
                  <p:spPr bwMode="auto">
                    <a:xfrm>
                      <a:off x="323442" y="3656159"/>
                      <a:ext cx="344393" cy="112557"/>
                    </a:xfrm>
                    <a:custGeom>
                      <a:avLst/>
                      <a:gdLst/>
                      <a:ahLst/>
                      <a:cxnLst>
                        <a:cxn ang="0">
                          <a:pos x="13" y="8"/>
                        </a:cxn>
                        <a:cxn ang="0">
                          <a:pos x="0" y="22"/>
                        </a:cxn>
                        <a:cxn ang="0">
                          <a:pos x="8" y="43"/>
                        </a:cxn>
                        <a:cxn ang="0">
                          <a:pos x="28" y="49"/>
                        </a:cxn>
                        <a:cxn ang="0">
                          <a:pos x="53" y="54"/>
                        </a:cxn>
                        <a:cxn ang="0">
                          <a:pos x="81" y="58"/>
                        </a:cxn>
                        <a:cxn ang="0">
                          <a:pos x="108" y="56"/>
                        </a:cxn>
                        <a:cxn ang="0">
                          <a:pos x="135" y="53"/>
                        </a:cxn>
                        <a:cxn ang="0">
                          <a:pos x="159" y="46"/>
                        </a:cxn>
                        <a:cxn ang="0">
                          <a:pos x="176" y="33"/>
                        </a:cxn>
                        <a:cxn ang="0">
                          <a:pos x="185" y="16"/>
                        </a:cxn>
                        <a:cxn ang="0">
                          <a:pos x="160" y="6"/>
                        </a:cxn>
                        <a:cxn ang="0">
                          <a:pos x="144" y="0"/>
                        </a:cxn>
                        <a:cxn ang="0">
                          <a:pos x="139" y="15"/>
                        </a:cxn>
                        <a:cxn ang="0">
                          <a:pos x="127" y="24"/>
                        </a:cxn>
                        <a:cxn ang="0">
                          <a:pos x="109" y="29"/>
                        </a:cxn>
                        <a:cxn ang="0">
                          <a:pos x="89" y="29"/>
                        </a:cxn>
                        <a:cxn ang="0">
                          <a:pos x="68" y="25"/>
                        </a:cxn>
                        <a:cxn ang="0">
                          <a:pos x="51" y="20"/>
                        </a:cxn>
                        <a:cxn ang="0">
                          <a:pos x="38" y="11"/>
                        </a:cxn>
                        <a:cxn ang="0">
                          <a:pos x="33" y="1"/>
                        </a:cxn>
                        <a:cxn ang="0">
                          <a:pos x="13" y="8"/>
                        </a:cxn>
                      </a:cxnLst>
                      <a:rect l="0" t="0" r="r" b="b"/>
                      <a:pathLst>
                        <a:path w="185" h="58">
                          <a:moveTo>
                            <a:pt x="13" y="8"/>
                          </a:moveTo>
                          <a:lnTo>
                            <a:pt x="0" y="22"/>
                          </a:lnTo>
                          <a:lnTo>
                            <a:pt x="8" y="43"/>
                          </a:lnTo>
                          <a:lnTo>
                            <a:pt x="28" y="49"/>
                          </a:lnTo>
                          <a:lnTo>
                            <a:pt x="53" y="54"/>
                          </a:lnTo>
                          <a:lnTo>
                            <a:pt x="81" y="58"/>
                          </a:lnTo>
                          <a:lnTo>
                            <a:pt x="108" y="56"/>
                          </a:lnTo>
                          <a:lnTo>
                            <a:pt x="135" y="53"/>
                          </a:lnTo>
                          <a:lnTo>
                            <a:pt x="159" y="46"/>
                          </a:lnTo>
                          <a:lnTo>
                            <a:pt x="176" y="33"/>
                          </a:lnTo>
                          <a:lnTo>
                            <a:pt x="185" y="16"/>
                          </a:lnTo>
                          <a:lnTo>
                            <a:pt x="160" y="6"/>
                          </a:lnTo>
                          <a:lnTo>
                            <a:pt x="144" y="0"/>
                          </a:lnTo>
                          <a:lnTo>
                            <a:pt x="139" y="15"/>
                          </a:lnTo>
                          <a:lnTo>
                            <a:pt x="127" y="24"/>
                          </a:lnTo>
                          <a:lnTo>
                            <a:pt x="109" y="29"/>
                          </a:lnTo>
                          <a:lnTo>
                            <a:pt x="89" y="29"/>
                          </a:lnTo>
                          <a:lnTo>
                            <a:pt x="68" y="25"/>
                          </a:lnTo>
                          <a:lnTo>
                            <a:pt x="51" y="20"/>
                          </a:lnTo>
                          <a:lnTo>
                            <a:pt x="38" y="11"/>
                          </a:lnTo>
                          <a:lnTo>
                            <a:pt x="33" y="1"/>
                          </a:lnTo>
                          <a:lnTo>
                            <a:pt x="13" y="8"/>
                          </a:lnTo>
                          <a:close/>
                        </a:path>
                      </a:pathLst>
                    </a:custGeom>
                    <a:solidFill>
                      <a:srgbClr val="E6E6E6">
                        <a:lumMod val="10000"/>
                      </a:srgbClr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pPr fontAlgn="auto">
                        <a:spcBef>
                          <a:spcPts val="0"/>
                        </a:spcBef>
                        <a:spcAft>
                          <a:spcPts val="0"/>
                        </a:spcAft>
                        <a:defRPr/>
                      </a:pPr>
                      <a:endParaRPr lang="da-DK" kern="0">
                        <a:solidFill>
                          <a:sysClr val="windowText" lastClr="000000"/>
                        </a:solidFill>
                        <a:latin typeface="+mn-lt"/>
                        <a:ea typeface="ＭＳ Ｐゴシック" pitchFamily="-97" charset="-128"/>
                        <a:cs typeface="+mn-cs"/>
                      </a:endParaRPr>
                    </a:p>
                  </p:txBody>
                </p:sp>
                <p:sp>
                  <p:nvSpPr>
                    <p:cNvPr id="198" name="Freeform 132"/>
                    <p:cNvSpPr>
                      <a:spLocks/>
                    </p:cNvSpPr>
                    <p:nvPr/>
                  </p:nvSpPr>
                  <p:spPr bwMode="auto">
                    <a:xfrm>
                      <a:off x="198204" y="3693670"/>
                      <a:ext cx="626188" cy="187626"/>
                    </a:xfrm>
                    <a:custGeom>
                      <a:avLst/>
                      <a:gdLst/>
                      <a:ahLst/>
                      <a:cxnLst>
                        <a:cxn ang="0">
                          <a:pos x="32" y="10"/>
                        </a:cxn>
                        <a:cxn ang="0">
                          <a:pos x="1" y="26"/>
                        </a:cxn>
                        <a:cxn ang="0">
                          <a:pos x="0" y="43"/>
                        </a:cxn>
                        <a:cxn ang="0">
                          <a:pos x="3" y="60"/>
                        </a:cxn>
                        <a:cxn ang="0">
                          <a:pos x="14" y="71"/>
                        </a:cxn>
                        <a:cxn ang="0">
                          <a:pos x="27" y="81"/>
                        </a:cxn>
                        <a:cxn ang="0">
                          <a:pos x="46" y="90"/>
                        </a:cxn>
                        <a:cxn ang="0">
                          <a:pos x="67" y="95"/>
                        </a:cxn>
                        <a:cxn ang="0">
                          <a:pos x="91" y="100"/>
                        </a:cxn>
                        <a:cxn ang="0">
                          <a:pos x="117" y="102"/>
                        </a:cxn>
                        <a:cxn ang="0">
                          <a:pos x="144" y="102"/>
                        </a:cxn>
                        <a:cxn ang="0">
                          <a:pos x="171" y="102"/>
                        </a:cxn>
                        <a:cxn ang="0">
                          <a:pos x="199" y="100"/>
                        </a:cxn>
                        <a:cxn ang="0">
                          <a:pos x="225" y="98"/>
                        </a:cxn>
                        <a:cxn ang="0">
                          <a:pos x="251" y="94"/>
                        </a:cxn>
                        <a:cxn ang="0">
                          <a:pos x="273" y="90"/>
                        </a:cxn>
                        <a:cxn ang="0">
                          <a:pos x="292" y="85"/>
                        </a:cxn>
                        <a:cxn ang="0">
                          <a:pos x="308" y="79"/>
                        </a:cxn>
                        <a:cxn ang="0">
                          <a:pos x="319" y="71"/>
                        </a:cxn>
                        <a:cxn ang="0">
                          <a:pos x="326" y="61"/>
                        </a:cxn>
                        <a:cxn ang="0">
                          <a:pos x="329" y="50"/>
                        </a:cxn>
                        <a:cxn ang="0">
                          <a:pos x="329" y="39"/>
                        </a:cxn>
                        <a:cxn ang="0">
                          <a:pos x="325" y="28"/>
                        </a:cxn>
                        <a:cxn ang="0">
                          <a:pos x="316" y="18"/>
                        </a:cxn>
                        <a:cxn ang="0">
                          <a:pos x="303" y="8"/>
                        </a:cxn>
                        <a:cxn ang="0">
                          <a:pos x="285" y="0"/>
                        </a:cxn>
                        <a:cxn ang="0">
                          <a:pos x="269" y="18"/>
                        </a:cxn>
                        <a:cxn ang="0">
                          <a:pos x="252" y="31"/>
                        </a:cxn>
                        <a:cxn ang="0">
                          <a:pos x="234" y="39"/>
                        </a:cxn>
                        <a:cxn ang="0">
                          <a:pos x="215" y="43"/>
                        </a:cxn>
                        <a:cxn ang="0">
                          <a:pos x="194" y="45"/>
                        </a:cxn>
                        <a:cxn ang="0">
                          <a:pos x="173" y="43"/>
                        </a:cxn>
                        <a:cxn ang="0">
                          <a:pos x="148" y="41"/>
                        </a:cxn>
                        <a:cxn ang="0">
                          <a:pos x="122" y="40"/>
                        </a:cxn>
                        <a:cxn ang="0">
                          <a:pos x="67" y="30"/>
                        </a:cxn>
                        <a:cxn ang="0">
                          <a:pos x="49" y="3"/>
                        </a:cxn>
                        <a:cxn ang="0">
                          <a:pos x="32" y="10"/>
                        </a:cxn>
                      </a:cxnLst>
                      <a:rect l="0" t="0" r="r" b="b"/>
                      <a:pathLst>
                        <a:path w="329" h="102">
                          <a:moveTo>
                            <a:pt x="32" y="10"/>
                          </a:moveTo>
                          <a:lnTo>
                            <a:pt x="1" y="26"/>
                          </a:lnTo>
                          <a:lnTo>
                            <a:pt x="0" y="43"/>
                          </a:lnTo>
                          <a:lnTo>
                            <a:pt x="3" y="60"/>
                          </a:lnTo>
                          <a:lnTo>
                            <a:pt x="14" y="71"/>
                          </a:lnTo>
                          <a:lnTo>
                            <a:pt x="27" y="81"/>
                          </a:lnTo>
                          <a:lnTo>
                            <a:pt x="46" y="90"/>
                          </a:lnTo>
                          <a:lnTo>
                            <a:pt x="67" y="95"/>
                          </a:lnTo>
                          <a:lnTo>
                            <a:pt x="91" y="100"/>
                          </a:lnTo>
                          <a:lnTo>
                            <a:pt x="117" y="102"/>
                          </a:lnTo>
                          <a:lnTo>
                            <a:pt x="144" y="102"/>
                          </a:lnTo>
                          <a:lnTo>
                            <a:pt x="171" y="102"/>
                          </a:lnTo>
                          <a:lnTo>
                            <a:pt x="199" y="100"/>
                          </a:lnTo>
                          <a:lnTo>
                            <a:pt x="225" y="98"/>
                          </a:lnTo>
                          <a:lnTo>
                            <a:pt x="251" y="94"/>
                          </a:lnTo>
                          <a:lnTo>
                            <a:pt x="273" y="90"/>
                          </a:lnTo>
                          <a:lnTo>
                            <a:pt x="292" y="85"/>
                          </a:lnTo>
                          <a:lnTo>
                            <a:pt x="308" y="79"/>
                          </a:lnTo>
                          <a:lnTo>
                            <a:pt x="319" y="71"/>
                          </a:lnTo>
                          <a:lnTo>
                            <a:pt x="326" y="61"/>
                          </a:lnTo>
                          <a:lnTo>
                            <a:pt x="329" y="50"/>
                          </a:lnTo>
                          <a:lnTo>
                            <a:pt x="329" y="39"/>
                          </a:lnTo>
                          <a:lnTo>
                            <a:pt x="325" y="28"/>
                          </a:lnTo>
                          <a:lnTo>
                            <a:pt x="316" y="18"/>
                          </a:lnTo>
                          <a:lnTo>
                            <a:pt x="303" y="8"/>
                          </a:lnTo>
                          <a:lnTo>
                            <a:pt x="285" y="0"/>
                          </a:lnTo>
                          <a:lnTo>
                            <a:pt x="269" y="18"/>
                          </a:lnTo>
                          <a:lnTo>
                            <a:pt x="252" y="31"/>
                          </a:lnTo>
                          <a:lnTo>
                            <a:pt x="234" y="39"/>
                          </a:lnTo>
                          <a:lnTo>
                            <a:pt x="215" y="43"/>
                          </a:lnTo>
                          <a:lnTo>
                            <a:pt x="194" y="45"/>
                          </a:lnTo>
                          <a:lnTo>
                            <a:pt x="173" y="43"/>
                          </a:lnTo>
                          <a:lnTo>
                            <a:pt x="148" y="41"/>
                          </a:lnTo>
                          <a:lnTo>
                            <a:pt x="122" y="40"/>
                          </a:lnTo>
                          <a:lnTo>
                            <a:pt x="67" y="30"/>
                          </a:lnTo>
                          <a:lnTo>
                            <a:pt x="49" y="3"/>
                          </a:lnTo>
                          <a:lnTo>
                            <a:pt x="32" y="10"/>
                          </a:lnTo>
                          <a:close/>
                        </a:path>
                      </a:pathLst>
                    </a:custGeom>
                    <a:solidFill>
                      <a:srgbClr val="E6E6E6">
                        <a:lumMod val="10000"/>
                      </a:srgbClr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pPr fontAlgn="auto">
                        <a:spcBef>
                          <a:spcPts val="0"/>
                        </a:spcBef>
                        <a:spcAft>
                          <a:spcPts val="0"/>
                        </a:spcAft>
                        <a:defRPr/>
                      </a:pPr>
                      <a:endParaRPr lang="da-DK" kern="0">
                        <a:solidFill>
                          <a:sysClr val="windowText" lastClr="000000"/>
                        </a:solidFill>
                        <a:latin typeface="+mn-lt"/>
                        <a:ea typeface="ＭＳ Ｐゴシック" pitchFamily="-97" charset="-128"/>
                        <a:cs typeface="+mn-cs"/>
                      </a:endParaRPr>
                    </a:p>
                  </p:txBody>
                </p:sp>
                <p:sp>
                  <p:nvSpPr>
                    <p:cNvPr id="199" name="Freeform 133"/>
                    <p:cNvSpPr>
                      <a:spLocks/>
                    </p:cNvSpPr>
                    <p:nvPr/>
                  </p:nvSpPr>
                  <p:spPr bwMode="auto">
                    <a:xfrm>
                      <a:off x="292123" y="4106432"/>
                      <a:ext cx="375713" cy="112557"/>
                    </a:xfrm>
                    <a:custGeom>
                      <a:avLst/>
                      <a:gdLst/>
                      <a:ahLst/>
                      <a:cxnLst>
                        <a:cxn ang="0">
                          <a:pos x="12" y="0"/>
                        </a:cxn>
                        <a:cxn ang="0">
                          <a:pos x="24" y="6"/>
                        </a:cxn>
                        <a:cxn ang="0">
                          <a:pos x="35" y="12"/>
                        </a:cxn>
                        <a:cxn ang="0">
                          <a:pos x="47" y="15"/>
                        </a:cxn>
                        <a:cxn ang="0">
                          <a:pos x="58" y="17"/>
                        </a:cxn>
                        <a:cxn ang="0">
                          <a:pos x="70" y="20"/>
                        </a:cxn>
                        <a:cxn ang="0">
                          <a:pos x="82" y="21"/>
                        </a:cxn>
                        <a:cxn ang="0">
                          <a:pos x="94" y="22"/>
                        </a:cxn>
                        <a:cxn ang="0">
                          <a:pos x="106" y="21"/>
                        </a:cxn>
                        <a:cxn ang="0">
                          <a:pos x="119" y="20"/>
                        </a:cxn>
                        <a:cxn ang="0">
                          <a:pos x="131" y="19"/>
                        </a:cxn>
                        <a:cxn ang="0">
                          <a:pos x="143" y="16"/>
                        </a:cxn>
                        <a:cxn ang="0">
                          <a:pos x="156" y="14"/>
                        </a:cxn>
                        <a:cxn ang="0">
                          <a:pos x="167" y="12"/>
                        </a:cxn>
                        <a:cxn ang="0">
                          <a:pos x="180" y="8"/>
                        </a:cxn>
                        <a:cxn ang="0">
                          <a:pos x="192" y="6"/>
                        </a:cxn>
                        <a:cxn ang="0">
                          <a:pos x="204" y="2"/>
                        </a:cxn>
                        <a:cxn ang="0">
                          <a:pos x="204" y="14"/>
                        </a:cxn>
                        <a:cxn ang="0">
                          <a:pos x="196" y="17"/>
                        </a:cxn>
                        <a:cxn ang="0">
                          <a:pos x="188" y="21"/>
                        </a:cxn>
                        <a:cxn ang="0">
                          <a:pos x="178" y="24"/>
                        </a:cxn>
                        <a:cxn ang="0">
                          <a:pos x="167" y="27"/>
                        </a:cxn>
                        <a:cxn ang="0">
                          <a:pos x="155" y="30"/>
                        </a:cxn>
                        <a:cxn ang="0">
                          <a:pos x="143" y="32"/>
                        </a:cxn>
                        <a:cxn ang="0">
                          <a:pos x="129" y="35"/>
                        </a:cxn>
                        <a:cxn ang="0">
                          <a:pos x="117" y="37"/>
                        </a:cxn>
                        <a:cxn ang="0">
                          <a:pos x="102" y="37"/>
                        </a:cxn>
                        <a:cxn ang="0">
                          <a:pos x="88" y="37"/>
                        </a:cxn>
                        <a:cxn ang="0">
                          <a:pos x="73" y="36"/>
                        </a:cxn>
                        <a:cxn ang="0">
                          <a:pos x="58" y="34"/>
                        </a:cxn>
                        <a:cxn ang="0">
                          <a:pos x="44" y="29"/>
                        </a:cxn>
                        <a:cxn ang="0">
                          <a:pos x="29" y="24"/>
                        </a:cxn>
                        <a:cxn ang="0">
                          <a:pos x="14" y="17"/>
                        </a:cxn>
                        <a:cxn ang="0">
                          <a:pos x="0" y="8"/>
                        </a:cxn>
                        <a:cxn ang="0">
                          <a:pos x="12" y="0"/>
                        </a:cxn>
                      </a:cxnLst>
                      <a:rect l="0" t="0" r="r" b="b"/>
                      <a:pathLst>
                        <a:path w="204" h="37">
                          <a:moveTo>
                            <a:pt x="12" y="0"/>
                          </a:moveTo>
                          <a:lnTo>
                            <a:pt x="24" y="6"/>
                          </a:lnTo>
                          <a:lnTo>
                            <a:pt x="35" y="12"/>
                          </a:lnTo>
                          <a:lnTo>
                            <a:pt x="47" y="15"/>
                          </a:lnTo>
                          <a:lnTo>
                            <a:pt x="58" y="17"/>
                          </a:lnTo>
                          <a:lnTo>
                            <a:pt x="70" y="20"/>
                          </a:lnTo>
                          <a:lnTo>
                            <a:pt x="82" y="21"/>
                          </a:lnTo>
                          <a:lnTo>
                            <a:pt x="94" y="22"/>
                          </a:lnTo>
                          <a:lnTo>
                            <a:pt x="106" y="21"/>
                          </a:lnTo>
                          <a:lnTo>
                            <a:pt x="119" y="20"/>
                          </a:lnTo>
                          <a:lnTo>
                            <a:pt x="131" y="19"/>
                          </a:lnTo>
                          <a:lnTo>
                            <a:pt x="143" y="16"/>
                          </a:lnTo>
                          <a:lnTo>
                            <a:pt x="156" y="14"/>
                          </a:lnTo>
                          <a:lnTo>
                            <a:pt x="167" y="12"/>
                          </a:lnTo>
                          <a:lnTo>
                            <a:pt x="180" y="8"/>
                          </a:lnTo>
                          <a:lnTo>
                            <a:pt x="192" y="6"/>
                          </a:lnTo>
                          <a:lnTo>
                            <a:pt x="204" y="2"/>
                          </a:lnTo>
                          <a:lnTo>
                            <a:pt x="204" y="14"/>
                          </a:lnTo>
                          <a:lnTo>
                            <a:pt x="196" y="17"/>
                          </a:lnTo>
                          <a:lnTo>
                            <a:pt x="188" y="21"/>
                          </a:lnTo>
                          <a:lnTo>
                            <a:pt x="178" y="24"/>
                          </a:lnTo>
                          <a:lnTo>
                            <a:pt x="167" y="27"/>
                          </a:lnTo>
                          <a:lnTo>
                            <a:pt x="155" y="30"/>
                          </a:lnTo>
                          <a:lnTo>
                            <a:pt x="143" y="32"/>
                          </a:lnTo>
                          <a:lnTo>
                            <a:pt x="129" y="35"/>
                          </a:lnTo>
                          <a:lnTo>
                            <a:pt x="117" y="37"/>
                          </a:lnTo>
                          <a:lnTo>
                            <a:pt x="102" y="37"/>
                          </a:lnTo>
                          <a:lnTo>
                            <a:pt x="88" y="37"/>
                          </a:lnTo>
                          <a:lnTo>
                            <a:pt x="73" y="36"/>
                          </a:lnTo>
                          <a:lnTo>
                            <a:pt x="58" y="34"/>
                          </a:lnTo>
                          <a:lnTo>
                            <a:pt x="44" y="29"/>
                          </a:lnTo>
                          <a:lnTo>
                            <a:pt x="29" y="24"/>
                          </a:lnTo>
                          <a:lnTo>
                            <a:pt x="14" y="17"/>
                          </a:lnTo>
                          <a:lnTo>
                            <a:pt x="0" y="8"/>
                          </a:lnTo>
                          <a:lnTo>
                            <a:pt x="12" y="0"/>
                          </a:lnTo>
                          <a:close/>
                        </a:path>
                      </a:pathLst>
                    </a:custGeom>
                    <a:solidFill>
                      <a:srgbClr val="E6E6E6">
                        <a:lumMod val="90000"/>
                      </a:srgbClr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pPr fontAlgn="auto">
                        <a:spcBef>
                          <a:spcPts val="0"/>
                        </a:spcBef>
                        <a:spcAft>
                          <a:spcPts val="0"/>
                        </a:spcAft>
                        <a:defRPr/>
                      </a:pPr>
                      <a:endParaRPr lang="da-DK" kern="0">
                        <a:solidFill>
                          <a:sysClr val="windowText" lastClr="000000"/>
                        </a:solidFill>
                        <a:latin typeface="+mn-lt"/>
                        <a:ea typeface="ＭＳ Ｐゴシック" pitchFamily="-97" charset="-128"/>
                        <a:cs typeface="+mn-cs"/>
                      </a:endParaRPr>
                    </a:p>
                  </p:txBody>
                </p:sp>
                <p:sp>
                  <p:nvSpPr>
                    <p:cNvPr id="200" name="Freeform 135"/>
                    <p:cNvSpPr>
                      <a:spLocks/>
                    </p:cNvSpPr>
                    <p:nvPr/>
                  </p:nvSpPr>
                  <p:spPr bwMode="auto">
                    <a:xfrm>
                      <a:off x="135585" y="4218989"/>
                      <a:ext cx="720106" cy="187626"/>
                    </a:xfrm>
                    <a:custGeom>
                      <a:avLst/>
                      <a:gdLst/>
                      <a:ahLst/>
                      <a:cxnLst>
                        <a:cxn ang="0">
                          <a:pos x="40" y="0"/>
                        </a:cxn>
                        <a:cxn ang="0">
                          <a:pos x="19" y="9"/>
                        </a:cxn>
                        <a:cxn ang="0">
                          <a:pos x="6" y="20"/>
                        </a:cxn>
                        <a:cxn ang="0">
                          <a:pos x="0" y="30"/>
                        </a:cxn>
                        <a:cxn ang="0">
                          <a:pos x="0" y="42"/>
                        </a:cxn>
                        <a:cxn ang="0">
                          <a:pos x="7" y="53"/>
                        </a:cxn>
                        <a:cxn ang="0">
                          <a:pos x="17" y="65"/>
                        </a:cxn>
                        <a:cxn ang="0">
                          <a:pos x="32" y="75"/>
                        </a:cxn>
                        <a:cxn ang="0">
                          <a:pos x="50" y="85"/>
                        </a:cxn>
                        <a:cxn ang="0">
                          <a:pos x="66" y="89"/>
                        </a:cxn>
                        <a:cxn ang="0">
                          <a:pos x="82" y="92"/>
                        </a:cxn>
                        <a:cxn ang="0">
                          <a:pos x="97" y="95"/>
                        </a:cxn>
                        <a:cxn ang="0">
                          <a:pos x="113" y="96"/>
                        </a:cxn>
                        <a:cxn ang="0">
                          <a:pos x="128" y="98"/>
                        </a:cxn>
                        <a:cxn ang="0">
                          <a:pos x="144" y="99"/>
                        </a:cxn>
                        <a:cxn ang="0">
                          <a:pos x="159" y="99"/>
                        </a:cxn>
                        <a:cxn ang="0">
                          <a:pos x="174" y="100"/>
                        </a:cxn>
                        <a:cxn ang="0">
                          <a:pos x="189" y="100"/>
                        </a:cxn>
                        <a:cxn ang="0">
                          <a:pos x="205" y="100"/>
                        </a:cxn>
                        <a:cxn ang="0">
                          <a:pos x="220" y="99"/>
                        </a:cxn>
                        <a:cxn ang="0">
                          <a:pos x="236" y="99"/>
                        </a:cxn>
                        <a:cxn ang="0">
                          <a:pos x="251" y="98"/>
                        </a:cxn>
                        <a:cxn ang="0">
                          <a:pos x="267" y="97"/>
                        </a:cxn>
                        <a:cxn ang="0">
                          <a:pos x="284" y="95"/>
                        </a:cxn>
                        <a:cxn ang="0">
                          <a:pos x="300" y="94"/>
                        </a:cxn>
                        <a:cxn ang="0">
                          <a:pos x="323" y="81"/>
                        </a:cxn>
                        <a:cxn ang="0">
                          <a:pos x="339" y="68"/>
                        </a:cxn>
                        <a:cxn ang="0">
                          <a:pos x="349" y="56"/>
                        </a:cxn>
                        <a:cxn ang="0">
                          <a:pos x="351" y="43"/>
                        </a:cxn>
                        <a:cxn ang="0">
                          <a:pos x="348" y="31"/>
                        </a:cxn>
                        <a:cxn ang="0">
                          <a:pos x="338" y="21"/>
                        </a:cxn>
                        <a:cxn ang="0">
                          <a:pos x="320" y="12"/>
                        </a:cxn>
                        <a:cxn ang="0">
                          <a:pos x="296" y="5"/>
                        </a:cxn>
                        <a:cxn ang="0">
                          <a:pos x="298" y="15"/>
                        </a:cxn>
                        <a:cxn ang="0">
                          <a:pos x="294" y="23"/>
                        </a:cxn>
                        <a:cxn ang="0">
                          <a:pos x="284" y="30"/>
                        </a:cxn>
                        <a:cxn ang="0">
                          <a:pos x="272" y="37"/>
                        </a:cxn>
                        <a:cxn ang="0">
                          <a:pos x="258" y="38"/>
                        </a:cxn>
                        <a:cxn ang="0">
                          <a:pos x="245" y="39"/>
                        </a:cxn>
                        <a:cxn ang="0">
                          <a:pos x="234" y="41"/>
                        </a:cxn>
                        <a:cxn ang="0">
                          <a:pos x="222" y="42"/>
                        </a:cxn>
                        <a:cxn ang="0">
                          <a:pos x="211" y="43"/>
                        </a:cxn>
                        <a:cxn ang="0">
                          <a:pos x="199" y="43"/>
                        </a:cxn>
                        <a:cxn ang="0">
                          <a:pos x="188" y="44"/>
                        </a:cxn>
                        <a:cxn ang="0">
                          <a:pos x="178" y="44"/>
                        </a:cxn>
                        <a:cxn ang="0">
                          <a:pos x="166" y="44"/>
                        </a:cxn>
                        <a:cxn ang="0">
                          <a:pos x="155" y="44"/>
                        </a:cxn>
                        <a:cxn ang="0">
                          <a:pos x="143" y="44"/>
                        </a:cxn>
                        <a:cxn ang="0">
                          <a:pos x="133" y="43"/>
                        </a:cxn>
                        <a:cxn ang="0">
                          <a:pos x="120" y="42"/>
                        </a:cxn>
                        <a:cxn ang="0">
                          <a:pos x="108" y="41"/>
                        </a:cxn>
                        <a:cxn ang="0">
                          <a:pos x="96" y="39"/>
                        </a:cxn>
                        <a:cxn ang="0">
                          <a:pos x="82" y="37"/>
                        </a:cxn>
                        <a:cxn ang="0">
                          <a:pos x="73" y="32"/>
                        </a:cxn>
                        <a:cxn ang="0">
                          <a:pos x="65" y="28"/>
                        </a:cxn>
                        <a:cxn ang="0">
                          <a:pos x="58" y="23"/>
                        </a:cxn>
                        <a:cxn ang="0">
                          <a:pos x="52" y="19"/>
                        </a:cxn>
                        <a:cxn ang="0">
                          <a:pos x="47" y="14"/>
                        </a:cxn>
                        <a:cxn ang="0">
                          <a:pos x="44" y="11"/>
                        </a:cxn>
                        <a:cxn ang="0">
                          <a:pos x="42" y="5"/>
                        </a:cxn>
                        <a:cxn ang="0">
                          <a:pos x="40" y="0"/>
                        </a:cxn>
                      </a:cxnLst>
                      <a:rect l="0" t="0" r="r" b="b"/>
                      <a:pathLst>
                        <a:path w="351" h="100">
                          <a:moveTo>
                            <a:pt x="40" y="0"/>
                          </a:moveTo>
                          <a:lnTo>
                            <a:pt x="19" y="9"/>
                          </a:lnTo>
                          <a:lnTo>
                            <a:pt x="6" y="20"/>
                          </a:lnTo>
                          <a:lnTo>
                            <a:pt x="0" y="30"/>
                          </a:lnTo>
                          <a:lnTo>
                            <a:pt x="0" y="42"/>
                          </a:lnTo>
                          <a:lnTo>
                            <a:pt x="7" y="53"/>
                          </a:lnTo>
                          <a:lnTo>
                            <a:pt x="17" y="65"/>
                          </a:lnTo>
                          <a:lnTo>
                            <a:pt x="32" y="75"/>
                          </a:lnTo>
                          <a:lnTo>
                            <a:pt x="50" y="85"/>
                          </a:lnTo>
                          <a:lnTo>
                            <a:pt x="66" y="89"/>
                          </a:lnTo>
                          <a:lnTo>
                            <a:pt x="82" y="92"/>
                          </a:lnTo>
                          <a:lnTo>
                            <a:pt x="97" y="95"/>
                          </a:lnTo>
                          <a:lnTo>
                            <a:pt x="113" y="96"/>
                          </a:lnTo>
                          <a:lnTo>
                            <a:pt x="128" y="98"/>
                          </a:lnTo>
                          <a:lnTo>
                            <a:pt x="144" y="99"/>
                          </a:lnTo>
                          <a:lnTo>
                            <a:pt x="159" y="99"/>
                          </a:lnTo>
                          <a:lnTo>
                            <a:pt x="174" y="100"/>
                          </a:lnTo>
                          <a:lnTo>
                            <a:pt x="189" y="100"/>
                          </a:lnTo>
                          <a:lnTo>
                            <a:pt x="205" y="100"/>
                          </a:lnTo>
                          <a:lnTo>
                            <a:pt x="220" y="99"/>
                          </a:lnTo>
                          <a:lnTo>
                            <a:pt x="236" y="99"/>
                          </a:lnTo>
                          <a:lnTo>
                            <a:pt x="251" y="98"/>
                          </a:lnTo>
                          <a:lnTo>
                            <a:pt x="267" y="97"/>
                          </a:lnTo>
                          <a:lnTo>
                            <a:pt x="284" y="95"/>
                          </a:lnTo>
                          <a:lnTo>
                            <a:pt x="300" y="94"/>
                          </a:lnTo>
                          <a:lnTo>
                            <a:pt x="323" y="81"/>
                          </a:lnTo>
                          <a:lnTo>
                            <a:pt x="339" y="68"/>
                          </a:lnTo>
                          <a:lnTo>
                            <a:pt x="349" y="56"/>
                          </a:lnTo>
                          <a:lnTo>
                            <a:pt x="351" y="43"/>
                          </a:lnTo>
                          <a:lnTo>
                            <a:pt x="348" y="31"/>
                          </a:lnTo>
                          <a:lnTo>
                            <a:pt x="338" y="21"/>
                          </a:lnTo>
                          <a:lnTo>
                            <a:pt x="320" y="12"/>
                          </a:lnTo>
                          <a:lnTo>
                            <a:pt x="296" y="5"/>
                          </a:lnTo>
                          <a:lnTo>
                            <a:pt x="298" y="15"/>
                          </a:lnTo>
                          <a:lnTo>
                            <a:pt x="294" y="23"/>
                          </a:lnTo>
                          <a:lnTo>
                            <a:pt x="284" y="30"/>
                          </a:lnTo>
                          <a:lnTo>
                            <a:pt x="272" y="37"/>
                          </a:lnTo>
                          <a:lnTo>
                            <a:pt x="258" y="38"/>
                          </a:lnTo>
                          <a:lnTo>
                            <a:pt x="245" y="39"/>
                          </a:lnTo>
                          <a:lnTo>
                            <a:pt x="234" y="41"/>
                          </a:lnTo>
                          <a:lnTo>
                            <a:pt x="222" y="42"/>
                          </a:lnTo>
                          <a:lnTo>
                            <a:pt x="211" y="43"/>
                          </a:lnTo>
                          <a:lnTo>
                            <a:pt x="199" y="43"/>
                          </a:lnTo>
                          <a:lnTo>
                            <a:pt x="188" y="44"/>
                          </a:lnTo>
                          <a:lnTo>
                            <a:pt x="178" y="44"/>
                          </a:lnTo>
                          <a:lnTo>
                            <a:pt x="166" y="44"/>
                          </a:lnTo>
                          <a:lnTo>
                            <a:pt x="155" y="44"/>
                          </a:lnTo>
                          <a:lnTo>
                            <a:pt x="143" y="44"/>
                          </a:lnTo>
                          <a:lnTo>
                            <a:pt x="133" y="43"/>
                          </a:lnTo>
                          <a:lnTo>
                            <a:pt x="120" y="42"/>
                          </a:lnTo>
                          <a:lnTo>
                            <a:pt x="108" y="41"/>
                          </a:lnTo>
                          <a:lnTo>
                            <a:pt x="96" y="39"/>
                          </a:lnTo>
                          <a:lnTo>
                            <a:pt x="82" y="37"/>
                          </a:lnTo>
                          <a:lnTo>
                            <a:pt x="73" y="32"/>
                          </a:lnTo>
                          <a:lnTo>
                            <a:pt x="65" y="28"/>
                          </a:lnTo>
                          <a:lnTo>
                            <a:pt x="58" y="23"/>
                          </a:lnTo>
                          <a:lnTo>
                            <a:pt x="52" y="19"/>
                          </a:lnTo>
                          <a:lnTo>
                            <a:pt x="47" y="14"/>
                          </a:lnTo>
                          <a:lnTo>
                            <a:pt x="44" y="11"/>
                          </a:lnTo>
                          <a:lnTo>
                            <a:pt x="42" y="5"/>
                          </a:lnTo>
                          <a:lnTo>
                            <a:pt x="40" y="0"/>
                          </a:lnTo>
                          <a:close/>
                        </a:path>
                      </a:pathLst>
                    </a:custGeom>
                    <a:solidFill>
                      <a:srgbClr val="E6E6E6">
                        <a:lumMod val="90000"/>
                      </a:srgbClr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pPr fontAlgn="auto">
                        <a:spcBef>
                          <a:spcPts val="0"/>
                        </a:spcBef>
                        <a:spcAft>
                          <a:spcPts val="0"/>
                        </a:spcAft>
                        <a:defRPr/>
                      </a:pPr>
                      <a:endParaRPr lang="da-DK" kern="0">
                        <a:solidFill>
                          <a:sysClr val="windowText" lastClr="000000"/>
                        </a:solidFill>
                        <a:latin typeface="+mn-lt"/>
                        <a:ea typeface="ＭＳ Ｐゴシック" pitchFamily="-97" charset="-128"/>
                        <a:cs typeface="+mn-cs"/>
                      </a:endParaRPr>
                    </a:p>
                  </p:txBody>
                </p:sp>
                <p:sp>
                  <p:nvSpPr>
                    <p:cNvPr id="201" name="Freeform 147"/>
                    <p:cNvSpPr>
                      <a:spLocks/>
                    </p:cNvSpPr>
                    <p:nvPr/>
                  </p:nvSpPr>
                  <p:spPr bwMode="auto">
                    <a:xfrm>
                      <a:off x="104266" y="5082025"/>
                      <a:ext cx="751425" cy="187602"/>
                    </a:xfrm>
                    <a:custGeom>
                      <a:avLst/>
                      <a:gdLst/>
                      <a:ahLst/>
                      <a:cxnLst>
                        <a:cxn ang="0">
                          <a:pos x="24" y="4"/>
                        </a:cxn>
                        <a:cxn ang="0">
                          <a:pos x="68" y="40"/>
                        </a:cxn>
                        <a:cxn ang="0">
                          <a:pos x="89" y="44"/>
                        </a:cxn>
                        <a:cxn ang="0">
                          <a:pos x="108" y="48"/>
                        </a:cxn>
                        <a:cxn ang="0">
                          <a:pos x="127" y="53"/>
                        </a:cxn>
                        <a:cxn ang="0">
                          <a:pos x="144" y="55"/>
                        </a:cxn>
                        <a:cxn ang="0">
                          <a:pos x="160" y="57"/>
                        </a:cxn>
                        <a:cxn ang="0">
                          <a:pos x="176" y="59"/>
                        </a:cxn>
                        <a:cxn ang="0">
                          <a:pos x="192" y="59"/>
                        </a:cxn>
                        <a:cxn ang="0">
                          <a:pos x="207" y="59"/>
                        </a:cxn>
                        <a:cxn ang="0">
                          <a:pos x="222" y="58"/>
                        </a:cxn>
                        <a:cxn ang="0">
                          <a:pos x="237" y="57"/>
                        </a:cxn>
                        <a:cxn ang="0">
                          <a:pos x="253" y="54"/>
                        </a:cxn>
                        <a:cxn ang="0">
                          <a:pos x="270" y="50"/>
                        </a:cxn>
                        <a:cxn ang="0">
                          <a:pos x="286" y="46"/>
                        </a:cxn>
                        <a:cxn ang="0">
                          <a:pos x="304" y="39"/>
                        </a:cxn>
                        <a:cxn ang="0">
                          <a:pos x="323" y="32"/>
                        </a:cxn>
                        <a:cxn ang="0">
                          <a:pos x="342" y="23"/>
                        </a:cxn>
                        <a:cxn ang="0">
                          <a:pos x="348" y="10"/>
                        </a:cxn>
                        <a:cxn ang="0">
                          <a:pos x="352" y="3"/>
                        </a:cxn>
                        <a:cxn ang="0">
                          <a:pos x="356" y="0"/>
                        </a:cxn>
                        <a:cxn ang="0">
                          <a:pos x="359" y="1"/>
                        </a:cxn>
                        <a:cxn ang="0">
                          <a:pos x="363" y="4"/>
                        </a:cxn>
                        <a:cxn ang="0">
                          <a:pos x="367" y="11"/>
                        </a:cxn>
                        <a:cxn ang="0">
                          <a:pos x="374" y="20"/>
                        </a:cxn>
                        <a:cxn ang="0">
                          <a:pos x="382" y="32"/>
                        </a:cxn>
                        <a:cxn ang="0">
                          <a:pos x="366" y="55"/>
                        </a:cxn>
                        <a:cxn ang="0">
                          <a:pos x="349" y="65"/>
                        </a:cxn>
                        <a:cxn ang="0">
                          <a:pos x="329" y="73"/>
                        </a:cxn>
                        <a:cxn ang="0">
                          <a:pos x="310" y="80"/>
                        </a:cxn>
                        <a:cxn ang="0">
                          <a:pos x="288" y="86"/>
                        </a:cxn>
                        <a:cxn ang="0">
                          <a:pos x="266" y="91"/>
                        </a:cxn>
                        <a:cxn ang="0">
                          <a:pos x="243" y="94"/>
                        </a:cxn>
                        <a:cxn ang="0">
                          <a:pos x="219" y="96"/>
                        </a:cxn>
                        <a:cxn ang="0">
                          <a:pos x="196" y="96"/>
                        </a:cxn>
                        <a:cxn ang="0">
                          <a:pos x="172" y="96"/>
                        </a:cxn>
                        <a:cxn ang="0">
                          <a:pos x="147" y="95"/>
                        </a:cxn>
                        <a:cxn ang="0">
                          <a:pos x="124" y="92"/>
                        </a:cxn>
                        <a:cxn ang="0">
                          <a:pos x="101" y="88"/>
                        </a:cxn>
                        <a:cxn ang="0">
                          <a:pos x="78" y="84"/>
                        </a:cxn>
                        <a:cxn ang="0">
                          <a:pos x="58" y="79"/>
                        </a:cxn>
                        <a:cxn ang="0">
                          <a:pos x="37" y="72"/>
                        </a:cxn>
                        <a:cxn ang="0">
                          <a:pos x="18" y="65"/>
                        </a:cxn>
                        <a:cxn ang="0">
                          <a:pos x="12" y="56"/>
                        </a:cxn>
                        <a:cxn ang="0">
                          <a:pos x="6" y="47"/>
                        </a:cxn>
                        <a:cxn ang="0">
                          <a:pos x="2" y="38"/>
                        </a:cxn>
                        <a:cxn ang="0">
                          <a:pos x="0" y="28"/>
                        </a:cxn>
                        <a:cxn ang="0">
                          <a:pos x="0" y="20"/>
                        </a:cxn>
                        <a:cxn ang="0">
                          <a:pos x="5" y="13"/>
                        </a:cxn>
                        <a:cxn ang="0">
                          <a:pos x="12" y="8"/>
                        </a:cxn>
                        <a:cxn ang="0">
                          <a:pos x="24" y="4"/>
                        </a:cxn>
                      </a:cxnLst>
                      <a:rect l="0" t="0" r="r" b="b"/>
                      <a:pathLst>
                        <a:path w="382" h="96">
                          <a:moveTo>
                            <a:pt x="24" y="4"/>
                          </a:moveTo>
                          <a:lnTo>
                            <a:pt x="68" y="40"/>
                          </a:lnTo>
                          <a:lnTo>
                            <a:pt x="89" y="44"/>
                          </a:lnTo>
                          <a:lnTo>
                            <a:pt x="108" y="48"/>
                          </a:lnTo>
                          <a:lnTo>
                            <a:pt x="127" y="53"/>
                          </a:lnTo>
                          <a:lnTo>
                            <a:pt x="144" y="55"/>
                          </a:lnTo>
                          <a:lnTo>
                            <a:pt x="160" y="57"/>
                          </a:lnTo>
                          <a:lnTo>
                            <a:pt x="176" y="59"/>
                          </a:lnTo>
                          <a:lnTo>
                            <a:pt x="192" y="59"/>
                          </a:lnTo>
                          <a:lnTo>
                            <a:pt x="207" y="59"/>
                          </a:lnTo>
                          <a:lnTo>
                            <a:pt x="222" y="58"/>
                          </a:lnTo>
                          <a:lnTo>
                            <a:pt x="237" y="57"/>
                          </a:lnTo>
                          <a:lnTo>
                            <a:pt x="253" y="54"/>
                          </a:lnTo>
                          <a:lnTo>
                            <a:pt x="270" y="50"/>
                          </a:lnTo>
                          <a:lnTo>
                            <a:pt x="286" y="46"/>
                          </a:lnTo>
                          <a:lnTo>
                            <a:pt x="304" y="39"/>
                          </a:lnTo>
                          <a:lnTo>
                            <a:pt x="323" y="32"/>
                          </a:lnTo>
                          <a:lnTo>
                            <a:pt x="342" y="23"/>
                          </a:lnTo>
                          <a:lnTo>
                            <a:pt x="348" y="10"/>
                          </a:lnTo>
                          <a:lnTo>
                            <a:pt x="352" y="3"/>
                          </a:lnTo>
                          <a:lnTo>
                            <a:pt x="356" y="0"/>
                          </a:lnTo>
                          <a:lnTo>
                            <a:pt x="359" y="1"/>
                          </a:lnTo>
                          <a:lnTo>
                            <a:pt x="363" y="4"/>
                          </a:lnTo>
                          <a:lnTo>
                            <a:pt x="367" y="11"/>
                          </a:lnTo>
                          <a:lnTo>
                            <a:pt x="374" y="20"/>
                          </a:lnTo>
                          <a:lnTo>
                            <a:pt x="382" y="32"/>
                          </a:lnTo>
                          <a:lnTo>
                            <a:pt x="366" y="55"/>
                          </a:lnTo>
                          <a:lnTo>
                            <a:pt x="349" y="65"/>
                          </a:lnTo>
                          <a:lnTo>
                            <a:pt x="329" y="73"/>
                          </a:lnTo>
                          <a:lnTo>
                            <a:pt x="310" y="80"/>
                          </a:lnTo>
                          <a:lnTo>
                            <a:pt x="288" y="86"/>
                          </a:lnTo>
                          <a:lnTo>
                            <a:pt x="266" y="91"/>
                          </a:lnTo>
                          <a:lnTo>
                            <a:pt x="243" y="94"/>
                          </a:lnTo>
                          <a:lnTo>
                            <a:pt x="219" y="96"/>
                          </a:lnTo>
                          <a:lnTo>
                            <a:pt x="196" y="96"/>
                          </a:lnTo>
                          <a:lnTo>
                            <a:pt x="172" y="96"/>
                          </a:lnTo>
                          <a:lnTo>
                            <a:pt x="147" y="95"/>
                          </a:lnTo>
                          <a:lnTo>
                            <a:pt x="124" y="92"/>
                          </a:lnTo>
                          <a:lnTo>
                            <a:pt x="101" y="88"/>
                          </a:lnTo>
                          <a:lnTo>
                            <a:pt x="78" y="84"/>
                          </a:lnTo>
                          <a:lnTo>
                            <a:pt x="58" y="79"/>
                          </a:lnTo>
                          <a:lnTo>
                            <a:pt x="37" y="72"/>
                          </a:lnTo>
                          <a:lnTo>
                            <a:pt x="18" y="65"/>
                          </a:lnTo>
                          <a:lnTo>
                            <a:pt x="12" y="56"/>
                          </a:lnTo>
                          <a:lnTo>
                            <a:pt x="6" y="47"/>
                          </a:lnTo>
                          <a:lnTo>
                            <a:pt x="2" y="38"/>
                          </a:lnTo>
                          <a:lnTo>
                            <a:pt x="0" y="28"/>
                          </a:lnTo>
                          <a:lnTo>
                            <a:pt x="0" y="20"/>
                          </a:lnTo>
                          <a:lnTo>
                            <a:pt x="5" y="13"/>
                          </a:lnTo>
                          <a:lnTo>
                            <a:pt x="12" y="8"/>
                          </a:lnTo>
                          <a:lnTo>
                            <a:pt x="24" y="4"/>
                          </a:lnTo>
                          <a:close/>
                        </a:path>
                      </a:pathLst>
                    </a:custGeom>
                    <a:solidFill>
                      <a:srgbClr val="E6E6E6">
                        <a:lumMod val="90000"/>
                      </a:srgbClr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pPr fontAlgn="auto">
                        <a:spcBef>
                          <a:spcPts val="0"/>
                        </a:spcBef>
                        <a:spcAft>
                          <a:spcPts val="0"/>
                        </a:spcAft>
                        <a:defRPr/>
                      </a:pPr>
                      <a:endParaRPr lang="da-DK" kern="0">
                        <a:solidFill>
                          <a:sysClr val="windowText" lastClr="000000"/>
                        </a:solidFill>
                        <a:latin typeface="+mn-lt"/>
                        <a:ea typeface="ＭＳ Ｐゴシック" pitchFamily="-97" charset="-128"/>
                        <a:cs typeface="+mn-cs"/>
                      </a:endParaRPr>
                    </a:p>
                  </p:txBody>
                </p:sp>
                <p:sp>
                  <p:nvSpPr>
                    <p:cNvPr id="202" name="Freeform 148"/>
                    <p:cNvSpPr>
                      <a:spLocks/>
                    </p:cNvSpPr>
                    <p:nvPr/>
                  </p:nvSpPr>
                  <p:spPr bwMode="auto">
                    <a:xfrm>
                      <a:off x="-20971" y="5269628"/>
                      <a:ext cx="970601" cy="337717"/>
                    </a:xfrm>
                    <a:custGeom>
                      <a:avLst/>
                      <a:gdLst/>
                      <a:ahLst/>
                      <a:cxnLst>
                        <a:cxn ang="0">
                          <a:pos x="7" y="102"/>
                        </a:cxn>
                        <a:cxn ang="0">
                          <a:pos x="18" y="116"/>
                        </a:cxn>
                        <a:cxn ang="0">
                          <a:pos x="34" y="130"/>
                        </a:cxn>
                        <a:cxn ang="0">
                          <a:pos x="55" y="143"/>
                        </a:cxn>
                        <a:cxn ang="0">
                          <a:pos x="80" y="155"/>
                        </a:cxn>
                        <a:cxn ang="0">
                          <a:pos x="109" y="165"/>
                        </a:cxn>
                        <a:cxn ang="0">
                          <a:pos x="141" y="173"/>
                        </a:cxn>
                        <a:cxn ang="0">
                          <a:pos x="176" y="179"/>
                        </a:cxn>
                        <a:cxn ang="0">
                          <a:pos x="211" y="182"/>
                        </a:cxn>
                        <a:cxn ang="0">
                          <a:pos x="248" y="184"/>
                        </a:cxn>
                        <a:cxn ang="0">
                          <a:pos x="285" y="183"/>
                        </a:cxn>
                        <a:cxn ang="0">
                          <a:pos x="323" y="180"/>
                        </a:cxn>
                        <a:cxn ang="0">
                          <a:pos x="359" y="173"/>
                        </a:cxn>
                        <a:cxn ang="0">
                          <a:pos x="393" y="164"/>
                        </a:cxn>
                        <a:cxn ang="0">
                          <a:pos x="427" y="151"/>
                        </a:cxn>
                        <a:cxn ang="0">
                          <a:pos x="455" y="135"/>
                        </a:cxn>
                        <a:cxn ang="0">
                          <a:pos x="482" y="115"/>
                        </a:cxn>
                        <a:cxn ang="0">
                          <a:pos x="483" y="93"/>
                        </a:cxn>
                        <a:cxn ang="0">
                          <a:pos x="483" y="77"/>
                        </a:cxn>
                        <a:cxn ang="0">
                          <a:pos x="482" y="65"/>
                        </a:cxn>
                        <a:cxn ang="0">
                          <a:pos x="478" y="54"/>
                        </a:cxn>
                        <a:cxn ang="0">
                          <a:pos x="473" y="44"/>
                        </a:cxn>
                        <a:cxn ang="0">
                          <a:pos x="463" y="34"/>
                        </a:cxn>
                        <a:cxn ang="0">
                          <a:pos x="451" y="22"/>
                        </a:cxn>
                        <a:cxn ang="0">
                          <a:pos x="435" y="7"/>
                        </a:cxn>
                        <a:cxn ang="0">
                          <a:pos x="416" y="23"/>
                        </a:cxn>
                        <a:cxn ang="0">
                          <a:pos x="396" y="37"/>
                        </a:cxn>
                        <a:cxn ang="0">
                          <a:pos x="375" y="50"/>
                        </a:cxn>
                        <a:cxn ang="0">
                          <a:pos x="353" y="59"/>
                        </a:cxn>
                        <a:cxn ang="0">
                          <a:pos x="330" y="67"/>
                        </a:cxn>
                        <a:cxn ang="0">
                          <a:pos x="307" y="73"/>
                        </a:cxn>
                        <a:cxn ang="0">
                          <a:pos x="284" y="76"/>
                        </a:cxn>
                        <a:cxn ang="0">
                          <a:pos x="260" y="78"/>
                        </a:cxn>
                        <a:cxn ang="0">
                          <a:pos x="235" y="78"/>
                        </a:cxn>
                        <a:cxn ang="0">
                          <a:pos x="211" y="76"/>
                        </a:cxn>
                        <a:cxn ang="0">
                          <a:pos x="187" y="73"/>
                        </a:cxn>
                        <a:cxn ang="0">
                          <a:pos x="163" y="68"/>
                        </a:cxn>
                        <a:cxn ang="0">
                          <a:pos x="140" y="61"/>
                        </a:cxn>
                        <a:cxn ang="0">
                          <a:pos x="116" y="53"/>
                        </a:cxn>
                        <a:cxn ang="0">
                          <a:pos x="94" y="44"/>
                        </a:cxn>
                        <a:cxn ang="0">
                          <a:pos x="72" y="32"/>
                        </a:cxn>
                        <a:cxn ang="0">
                          <a:pos x="66" y="0"/>
                        </a:cxn>
                        <a:cxn ang="0">
                          <a:pos x="56" y="5"/>
                        </a:cxn>
                        <a:cxn ang="0">
                          <a:pos x="42" y="12"/>
                        </a:cxn>
                        <a:cxn ang="0">
                          <a:pos x="29" y="20"/>
                        </a:cxn>
                        <a:cxn ang="0">
                          <a:pos x="17" y="30"/>
                        </a:cxn>
                        <a:cxn ang="0">
                          <a:pos x="7" y="43"/>
                        </a:cxn>
                        <a:cxn ang="0">
                          <a:pos x="2" y="59"/>
                        </a:cxn>
                        <a:cxn ang="0">
                          <a:pos x="0" y="78"/>
                        </a:cxn>
                        <a:cxn ang="0">
                          <a:pos x="7" y="102"/>
                        </a:cxn>
                      </a:cxnLst>
                      <a:rect l="0" t="0" r="r" b="b"/>
                      <a:pathLst>
                        <a:path w="483" h="184">
                          <a:moveTo>
                            <a:pt x="7" y="102"/>
                          </a:moveTo>
                          <a:lnTo>
                            <a:pt x="18" y="116"/>
                          </a:lnTo>
                          <a:lnTo>
                            <a:pt x="34" y="130"/>
                          </a:lnTo>
                          <a:lnTo>
                            <a:pt x="55" y="143"/>
                          </a:lnTo>
                          <a:lnTo>
                            <a:pt x="80" y="155"/>
                          </a:lnTo>
                          <a:lnTo>
                            <a:pt x="109" y="165"/>
                          </a:lnTo>
                          <a:lnTo>
                            <a:pt x="141" y="173"/>
                          </a:lnTo>
                          <a:lnTo>
                            <a:pt x="176" y="179"/>
                          </a:lnTo>
                          <a:lnTo>
                            <a:pt x="211" y="182"/>
                          </a:lnTo>
                          <a:lnTo>
                            <a:pt x="248" y="184"/>
                          </a:lnTo>
                          <a:lnTo>
                            <a:pt x="285" y="183"/>
                          </a:lnTo>
                          <a:lnTo>
                            <a:pt x="323" y="180"/>
                          </a:lnTo>
                          <a:lnTo>
                            <a:pt x="359" y="173"/>
                          </a:lnTo>
                          <a:lnTo>
                            <a:pt x="393" y="164"/>
                          </a:lnTo>
                          <a:lnTo>
                            <a:pt x="427" y="151"/>
                          </a:lnTo>
                          <a:lnTo>
                            <a:pt x="455" y="135"/>
                          </a:lnTo>
                          <a:lnTo>
                            <a:pt x="482" y="115"/>
                          </a:lnTo>
                          <a:lnTo>
                            <a:pt x="483" y="93"/>
                          </a:lnTo>
                          <a:lnTo>
                            <a:pt x="483" y="77"/>
                          </a:lnTo>
                          <a:lnTo>
                            <a:pt x="482" y="65"/>
                          </a:lnTo>
                          <a:lnTo>
                            <a:pt x="478" y="54"/>
                          </a:lnTo>
                          <a:lnTo>
                            <a:pt x="473" y="44"/>
                          </a:lnTo>
                          <a:lnTo>
                            <a:pt x="463" y="34"/>
                          </a:lnTo>
                          <a:lnTo>
                            <a:pt x="451" y="22"/>
                          </a:lnTo>
                          <a:lnTo>
                            <a:pt x="435" y="7"/>
                          </a:lnTo>
                          <a:lnTo>
                            <a:pt x="416" y="23"/>
                          </a:lnTo>
                          <a:lnTo>
                            <a:pt x="396" y="37"/>
                          </a:lnTo>
                          <a:lnTo>
                            <a:pt x="375" y="50"/>
                          </a:lnTo>
                          <a:lnTo>
                            <a:pt x="353" y="59"/>
                          </a:lnTo>
                          <a:lnTo>
                            <a:pt x="330" y="67"/>
                          </a:lnTo>
                          <a:lnTo>
                            <a:pt x="307" y="73"/>
                          </a:lnTo>
                          <a:lnTo>
                            <a:pt x="284" y="76"/>
                          </a:lnTo>
                          <a:lnTo>
                            <a:pt x="260" y="78"/>
                          </a:lnTo>
                          <a:lnTo>
                            <a:pt x="235" y="78"/>
                          </a:lnTo>
                          <a:lnTo>
                            <a:pt x="211" y="76"/>
                          </a:lnTo>
                          <a:lnTo>
                            <a:pt x="187" y="73"/>
                          </a:lnTo>
                          <a:lnTo>
                            <a:pt x="163" y="68"/>
                          </a:lnTo>
                          <a:lnTo>
                            <a:pt x="140" y="61"/>
                          </a:lnTo>
                          <a:lnTo>
                            <a:pt x="116" y="53"/>
                          </a:lnTo>
                          <a:lnTo>
                            <a:pt x="94" y="44"/>
                          </a:lnTo>
                          <a:lnTo>
                            <a:pt x="72" y="32"/>
                          </a:lnTo>
                          <a:lnTo>
                            <a:pt x="66" y="0"/>
                          </a:lnTo>
                          <a:lnTo>
                            <a:pt x="56" y="5"/>
                          </a:lnTo>
                          <a:lnTo>
                            <a:pt x="42" y="12"/>
                          </a:lnTo>
                          <a:lnTo>
                            <a:pt x="29" y="20"/>
                          </a:lnTo>
                          <a:lnTo>
                            <a:pt x="17" y="30"/>
                          </a:lnTo>
                          <a:lnTo>
                            <a:pt x="7" y="43"/>
                          </a:lnTo>
                          <a:lnTo>
                            <a:pt x="2" y="59"/>
                          </a:lnTo>
                          <a:lnTo>
                            <a:pt x="0" y="78"/>
                          </a:lnTo>
                          <a:lnTo>
                            <a:pt x="7" y="102"/>
                          </a:lnTo>
                          <a:close/>
                        </a:path>
                      </a:pathLst>
                    </a:custGeom>
                    <a:solidFill>
                      <a:srgbClr val="E6E6E6">
                        <a:lumMod val="90000"/>
                      </a:srgbClr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pPr fontAlgn="auto">
                        <a:spcBef>
                          <a:spcPts val="0"/>
                        </a:spcBef>
                        <a:spcAft>
                          <a:spcPts val="0"/>
                        </a:spcAft>
                        <a:defRPr/>
                      </a:pPr>
                      <a:endParaRPr lang="da-DK" kern="0">
                        <a:solidFill>
                          <a:sysClr val="windowText" lastClr="000000"/>
                        </a:solidFill>
                        <a:latin typeface="+mn-lt"/>
                        <a:ea typeface="ＭＳ Ｐゴシック" pitchFamily="-97" charset="-128"/>
                        <a:cs typeface="+mn-cs"/>
                      </a:endParaRPr>
                    </a:p>
                  </p:txBody>
                </p:sp>
                <p:sp>
                  <p:nvSpPr>
                    <p:cNvPr id="203" name="Freeform 184"/>
                    <p:cNvSpPr>
                      <a:spLocks/>
                    </p:cNvSpPr>
                    <p:nvPr/>
                  </p:nvSpPr>
                  <p:spPr bwMode="auto">
                    <a:xfrm>
                      <a:off x="417360" y="3506067"/>
                      <a:ext cx="187856" cy="150091"/>
                    </a:xfrm>
                    <a:custGeom>
                      <a:avLst/>
                      <a:gdLst/>
                      <a:ahLst/>
                      <a:cxnLst>
                        <a:cxn ang="0">
                          <a:pos x="48" y="0"/>
                        </a:cxn>
                        <a:cxn ang="0">
                          <a:pos x="57" y="2"/>
                        </a:cxn>
                        <a:cxn ang="0">
                          <a:pos x="66" y="3"/>
                        </a:cxn>
                        <a:cxn ang="0">
                          <a:pos x="74" y="6"/>
                        </a:cxn>
                        <a:cxn ang="0">
                          <a:pos x="81" y="11"/>
                        </a:cxn>
                        <a:cxn ang="0">
                          <a:pos x="87" y="16"/>
                        </a:cxn>
                        <a:cxn ang="0">
                          <a:pos x="91" y="22"/>
                        </a:cxn>
                        <a:cxn ang="0">
                          <a:pos x="94" y="29"/>
                        </a:cxn>
                        <a:cxn ang="0">
                          <a:pos x="95" y="36"/>
                        </a:cxn>
                        <a:cxn ang="0">
                          <a:pos x="94" y="43"/>
                        </a:cxn>
                        <a:cxn ang="0">
                          <a:pos x="91" y="50"/>
                        </a:cxn>
                        <a:cxn ang="0">
                          <a:pos x="87" y="56"/>
                        </a:cxn>
                        <a:cxn ang="0">
                          <a:pos x="81" y="61"/>
                        </a:cxn>
                        <a:cxn ang="0">
                          <a:pos x="74" y="66"/>
                        </a:cxn>
                        <a:cxn ang="0">
                          <a:pos x="66" y="69"/>
                        </a:cxn>
                        <a:cxn ang="0">
                          <a:pos x="57" y="71"/>
                        </a:cxn>
                        <a:cxn ang="0">
                          <a:pos x="48" y="72"/>
                        </a:cxn>
                        <a:cxn ang="0">
                          <a:pos x="38" y="71"/>
                        </a:cxn>
                        <a:cxn ang="0">
                          <a:pos x="29" y="69"/>
                        </a:cxn>
                        <a:cxn ang="0">
                          <a:pos x="21" y="66"/>
                        </a:cxn>
                        <a:cxn ang="0">
                          <a:pos x="14" y="61"/>
                        </a:cxn>
                        <a:cxn ang="0">
                          <a:pos x="8" y="56"/>
                        </a:cxn>
                        <a:cxn ang="0">
                          <a:pos x="4" y="50"/>
                        </a:cxn>
                        <a:cxn ang="0">
                          <a:pos x="2" y="43"/>
                        </a:cxn>
                        <a:cxn ang="0">
                          <a:pos x="0" y="36"/>
                        </a:cxn>
                        <a:cxn ang="0">
                          <a:pos x="2" y="29"/>
                        </a:cxn>
                        <a:cxn ang="0">
                          <a:pos x="4" y="22"/>
                        </a:cxn>
                        <a:cxn ang="0">
                          <a:pos x="8" y="16"/>
                        </a:cxn>
                        <a:cxn ang="0">
                          <a:pos x="14" y="11"/>
                        </a:cxn>
                        <a:cxn ang="0">
                          <a:pos x="21" y="6"/>
                        </a:cxn>
                        <a:cxn ang="0">
                          <a:pos x="29" y="3"/>
                        </a:cxn>
                        <a:cxn ang="0">
                          <a:pos x="38" y="2"/>
                        </a:cxn>
                        <a:cxn ang="0">
                          <a:pos x="48" y="0"/>
                        </a:cxn>
                      </a:cxnLst>
                      <a:rect l="0" t="0" r="r" b="b"/>
                      <a:pathLst>
                        <a:path w="95" h="72">
                          <a:moveTo>
                            <a:pt x="48" y="0"/>
                          </a:moveTo>
                          <a:lnTo>
                            <a:pt x="57" y="2"/>
                          </a:lnTo>
                          <a:lnTo>
                            <a:pt x="66" y="3"/>
                          </a:lnTo>
                          <a:lnTo>
                            <a:pt x="74" y="6"/>
                          </a:lnTo>
                          <a:lnTo>
                            <a:pt x="81" y="11"/>
                          </a:lnTo>
                          <a:lnTo>
                            <a:pt x="87" y="16"/>
                          </a:lnTo>
                          <a:lnTo>
                            <a:pt x="91" y="22"/>
                          </a:lnTo>
                          <a:lnTo>
                            <a:pt x="94" y="29"/>
                          </a:lnTo>
                          <a:lnTo>
                            <a:pt x="95" y="36"/>
                          </a:lnTo>
                          <a:lnTo>
                            <a:pt x="94" y="43"/>
                          </a:lnTo>
                          <a:lnTo>
                            <a:pt x="91" y="50"/>
                          </a:lnTo>
                          <a:lnTo>
                            <a:pt x="87" y="56"/>
                          </a:lnTo>
                          <a:lnTo>
                            <a:pt x="81" y="61"/>
                          </a:lnTo>
                          <a:lnTo>
                            <a:pt x="74" y="66"/>
                          </a:lnTo>
                          <a:lnTo>
                            <a:pt x="66" y="69"/>
                          </a:lnTo>
                          <a:lnTo>
                            <a:pt x="57" y="71"/>
                          </a:lnTo>
                          <a:lnTo>
                            <a:pt x="48" y="72"/>
                          </a:lnTo>
                          <a:lnTo>
                            <a:pt x="38" y="71"/>
                          </a:lnTo>
                          <a:lnTo>
                            <a:pt x="29" y="69"/>
                          </a:lnTo>
                          <a:lnTo>
                            <a:pt x="21" y="66"/>
                          </a:lnTo>
                          <a:lnTo>
                            <a:pt x="14" y="61"/>
                          </a:lnTo>
                          <a:lnTo>
                            <a:pt x="8" y="56"/>
                          </a:lnTo>
                          <a:lnTo>
                            <a:pt x="4" y="50"/>
                          </a:lnTo>
                          <a:lnTo>
                            <a:pt x="2" y="43"/>
                          </a:lnTo>
                          <a:lnTo>
                            <a:pt x="0" y="36"/>
                          </a:lnTo>
                          <a:lnTo>
                            <a:pt x="2" y="29"/>
                          </a:lnTo>
                          <a:lnTo>
                            <a:pt x="4" y="22"/>
                          </a:lnTo>
                          <a:lnTo>
                            <a:pt x="8" y="16"/>
                          </a:lnTo>
                          <a:lnTo>
                            <a:pt x="14" y="11"/>
                          </a:lnTo>
                          <a:lnTo>
                            <a:pt x="21" y="6"/>
                          </a:lnTo>
                          <a:lnTo>
                            <a:pt x="29" y="3"/>
                          </a:lnTo>
                          <a:lnTo>
                            <a:pt x="38" y="2"/>
                          </a:lnTo>
                          <a:lnTo>
                            <a:pt x="48" y="0"/>
                          </a:lnTo>
                          <a:close/>
                        </a:path>
                      </a:pathLst>
                    </a:custGeom>
                    <a:solidFill>
                      <a:srgbClr val="E6E6E6">
                        <a:lumMod val="10000"/>
                      </a:srgbClr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pPr fontAlgn="auto">
                        <a:spcBef>
                          <a:spcPts val="0"/>
                        </a:spcBef>
                        <a:spcAft>
                          <a:spcPts val="0"/>
                        </a:spcAft>
                        <a:defRPr/>
                      </a:pPr>
                      <a:endParaRPr lang="da-DK" kern="0">
                        <a:solidFill>
                          <a:sysClr val="windowText" lastClr="000000"/>
                        </a:solidFill>
                        <a:latin typeface="+mn-lt"/>
                        <a:ea typeface="ＭＳ Ｐゴシック" pitchFamily="-97" charset="-128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191" name="Gruppe 813"/>
                  <p:cNvGrpSpPr/>
                  <p:nvPr/>
                </p:nvGrpSpPr>
                <p:grpSpPr>
                  <a:xfrm>
                    <a:off x="1203876" y="3975118"/>
                    <a:ext cx="443011" cy="1727207"/>
                    <a:chOff x="3781425" y="3433763"/>
                    <a:chExt cx="490538" cy="1912498"/>
                  </a:xfrm>
                  <a:solidFill>
                    <a:srgbClr val="FFFFFF">
                      <a:alpha val="9000"/>
                    </a:srgbClr>
                  </a:solidFill>
                </p:grpSpPr>
                <p:sp>
                  <p:nvSpPr>
                    <p:cNvPr id="192" name="Freeform 316"/>
                    <p:cNvSpPr>
                      <a:spLocks/>
                    </p:cNvSpPr>
                    <p:nvPr/>
                  </p:nvSpPr>
                  <p:spPr bwMode="auto">
                    <a:xfrm>
                      <a:off x="3824288" y="3986213"/>
                      <a:ext cx="365125" cy="65088"/>
                    </a:xfrm>
                    <a:custGeom>
                      <a:avLst/>
                      <a:gdLst/>
                      <a:ahLst/>
                      <a:cxnLst>
                        <a:cxn ang="0">
                          <a:pos x="13" y="0"/>
                        </a:cxn>
                        <a:cxn ang="0">
                          <a:pos x="26" y="6"/>
                        </a:cxn>
                        <a:cxn ang="0">
                          <a:pos x="39" y="13"/>
                        </a:cxn>
                        <a:cxn ang="0">
                          <a:pos x="52" y="16"/>
                        </a:cxn>
                        <a:cxn ang="0">
                          <a:pos x="65" y="19"/>
                        </a:cxn>
                        <a:cxn ang="0">
                          <a:pos x="78" y="22"/>
                        </a:cxn>
                        <a:cxn ang="0">
                          <a:pos x="93" y="23"/>
                        </a:cxn>
                        <a:cxn ang="0">
                          <a:pos x="106" y="24"/>
                        </a:cxn>
                        <a:cxn ang="0">
                          <a:pos x="120" y="23"/>
                        </a:cxn>
                        <a:cxn ang="0">
                          <a:pos x="134" y="22"/>
                        </a:cxn>
                        <a:cxn ang="0">
                          <a:pos x="147" y="20"/>
                        </a:cxn>
                        <a:cxn ang="0">
                          <a:pos x="161" y="18"/>
                        </a:cxn>
                        <a:cxn ang="0">
                          <a:pos x="176" y="15"/>
                        </a:cxn>
                        <a:cxn ang="0">
                          <a:pos x="189" y="13"/>
                        </a:cxn>
                        <a:cxn ang="0">
                          <a:pos x="203" y="9"/>
                        </a:cxn>
                        <a:cxn ang="0">
                          <a:pos x="216" y="6"/>
                        </a:cxn>
                        <a:cxn ang="0">
                          <a:pos x="230" y="2"/>
                        </a:cxn>
                        <a:cxn ang="0">
                          <a:pos x="230" y="15"/>
                        </a:cxn>
                        <a:cxn ang="0">
                          <a:pos x="221" y="19"/>
                        </a:cxn>
                        <a:cxn ang="0">
                          <a:pos x="212" y="23"/>
                        </a:cxn>
                        <a:cxn ang="0">
                          <a:pos x="200" y="27"/>
                        </a:cxn>
                        <a:cxn ang="0">
                          <a:pos x="189" y="29"/>
                        </a:cxn>
                        <a:cxn ang="0">
                          <a:pos x="174" y="33"/>
                        </a:cxn>
                        <a:cxn ang="0">
                          <a:pos x="161" y="36"/>
                        </a:cxn>
                        <a:cxn ang="0">
                          <a:pos x="146" y="39"/>
                        </a:cxn>
                        <a:cxn ang="0">
                          <a:pos x="132" y="41"/>
                        </a:cxn>
                        <a:cxn ang="0">
                          <a:pos x="115" y="41"/>
                        </a:cxn>
                        <a:cxn ang="0">
                          <a:pos x="99" y="41"/>
                        </a:cxn>
                        <a:cxn ang="0">
                          <a:pos x="82" y="40"/>
                        </a:cxn>
                        <a:cxn ang="0">
                          <a:pos x="65" y="37"/>
                        </a:cxn>
                        <a:cxn ang="0">
                          <a:pos x="50" y="32"/>
                        </a:cxn>
                        <a:cxn ang="0">
                          <a:pos x="33" y="27"/>
                        </a:cxn>
                        <a:cxn ang="0">
                          <a:pos x="16" y="19"/>
                        </a:cxn>
                        <a:cxn ang="0">
                          <a:pos x="0" y="9"/>
                        </a:cxn>
                        <a:cxn ang="0">
                          <a:pos x="13" y="0"/>
                        </a:cxn>
                      </a:cxnLst>
                      <a:rect l="0" t="0" r="r" b="b"/>
                      <a:pathLst>
                        <a:path w="230" h="41">
                          <a:moveTo>
                            <a:pt x="13" y="0"/>
                          </a:moveTo>
                          <a:lnTo>
                            <a:pt x="26" y="6"/>
                          </a:lnTo>
                          <a:lnTo>
                            <a:pt x="39" y="13"/>
                          </a:lnTo>
                          <a:lnTo>
                            <a:pt x="52" y="16"/>
                          </a:lnTo>
                          <a:lnTo>
                            <a:pt x="65" y="19"/>
                          </a:lnTo>
                          <a:lnTo>
                            <a:pt x="78" y="22"/>
                          </a:lnTo>
                          <a:lnTo>
                            <a:pt x="93" y="23"/>
                          </a:lnTo>
                          <a:lnTo>
                            <a:pt x="106" y="24"/>
                          </a:lnTo>
                          <a:lnTo>
                            <a:pt x="120" y="23"/>
                          </a:lnTo>
                          <a:lnTo>
                            <a:pt x="134" y="22"/>
                          </a:lnTo>
                          <a:lnTo>
                            <a:pt x="147" y="20"/>
                          </a:lnTo>
                          <a:lnTo>
                            <a:pt x="161" y="18"/>
                          </a:lnTo>
                          <a:lnTo>
                            <a:pt x="176" y="15"/>
                          </a:lnTo>
                          <a:lnTo>
                            <a:pt x="189" y="13"/>
                          </a:lnTo>
                          <a:lnTo>
                            <a:pt x="203" y="9"/>
                          </a:lnTo>
                          <a:lnTo>
                            <a:pt x="216" y="6"/>
                          </a:lnTo>
                          <a:lnTo>
                            <a:pt x="230" y="2"/>
                          </a:lnTo>
                          <a:lnTo>
                            <a:pt x="230" y="15"/>
                          </a:lnTo>
                          <a:lnTo>
                            <a:pt x="221" y="19"/>
                          </a:lnTo>
                          <a:lnTo>
                            <a:pt x="212" y="23"/>
                          </a:lnTo>
                          <a:lnTo>
                            <a:pt x="200" y="27"/>
                          </a:lnTo>
                          <a:lnTo>
                            <a:pt x="189" y="29"/>
                          </a:lnTo>
                          <a:lnTo>
                            <a:pt x="174" y="33"/>
                          </a:lnTo>
                          <a:lnTo>
                            <a:pt x="161" y="36"/>
                          </a:lnTo>
                          <a:lnTo>
                            <a:pt x="146" y="39"/>
                          </a:lnTo>
                          <a:lnTo>
                            <a:pt x="132" y="41"/>
                          </a:lnTo>
                          <a:lnTo>
                            <a:pt x="115" y="41"/>
                          </a:lnTo>
                          <a:lnTo>
                            <a:pt x="99" y="41"/>
                          </a:lnTo>
                          <a:lnTo>
                            <a:pt x="82" y="40"/>
                          </a:lnTo>
                          <a:lnTo>
                            <a:pt x="65" y="37"/>
                          </a:lnTo>
                          <a:lnTo>
                            <a:pt x="50" y="32"/>
                          </a:lnTo>
                          <a:lnTo>
                            <a:pt x="33" y="27"/>
                          </a:lnTo>
                          <a:lnTo>
                            <a:pt x="16" y="19"/>
                          </a:lnTo>
                          <a:lnTo>
                            <a:pt x="0" y="9"/>
                          </a:lnTo>
                          <a:lnTo>
                            <a:pt x="13" y="0"/>
                          </a:lnTo>
                          <a:close/>
                        </a:path>
                      </a:pathLst>
                    </a:custGeom>
                    <a:grpFill/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pPr fontAlgn="auto">
                        <a:spcBef>
                          <a:spcPts val="0"/>
                        </a:spcBef>
                        <a:spcAft>
                          <a:spcPts val="0"/>
                        </a:spcAft>
                        <a:defRPr/>
                      </a:pPr>
                      <a:endParaRPr lang="da-DK" kern="0">
                        <a:solidFill>
                          <a:sysClr val="windowText" lastClr="000000"/>
                        </a:solidFill>
                        <a:latin typeface="+mn-lt"/>
                        <a:ea typeface="ＭＳ Ｐゴシック" pitchFamily="-97" charset="-128"/>
                        <a:cs typeface="+mn-cs"/>
                      </a:endParaRPr>
                    </a:p>
                  </p:txBody>
                </p:sp>
                <p:sp>
                  <p:nvSpPr>
                    <p:cNvPr id="193" name="Freeform 336"/>
                    <p:cNvSpPr>
                      <a:spLocks/>
                    </p:cNvSpPr>
                    <p:nvPr/>
                  </p:nvSpPr>
                  <p:spPr bwMode="auto">
                    <a:xfrm>
                      <a:off x="3781425" y="5231961"/>
                      <a:ext cx="490538" cy="114300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29"/>
                        </a:cxn>
                        <a:cxn ang="0">
                          <a:pos x="3" y="37"/>
                        </a:cxn>
                        <a:cxn ang="0">
                          <a:pos x="7" y="45"/>
                        </a:cxn>
                        <a:cxn ang="0">
                          <a:pos x="11" y="53"/>
                        </a:cxn>
                        <a:cxn ang="0">
                          <a:pos x="15" y="61"/>
                        </a:cxn>
                        <a:cxn ang="0">
                          <a:pos x="22" y="62"/>
                        </a:cxn>
                        <a:cxn ang="0">
                          <a:pos x="29" y="63"/>
                        </a:cxn>
                        <a:cxn ang="0">
                          <a:pos x="37" y="65"/>
                        </a:cxn>
                        <a:cxn ang="0">
                          <a:pos x="44" y="66"/>
                        </a:cxn>
                        <a:cxn ang="0">
                          <a:pos x="51" y="67"/>
                        </a:cxn>
                        <a:cxn ang="0">
                          <a:pos x="59" y="68"/>
                        </a:cxn>
                        <a:cxn ang="0">
                          <a:pos x="65" y="71"/>
                        </a:cxn>
                        <a:cxn ang="0">
                          <a:pos x="73" y="72"/>
                        </a:cxn>
                        <a:cxn ang="0">
                          <a:pos x="91" y="72"/>
                        </a:cxn>
                        <a:cxn ang="0">
                          <a:pos x="109" y="71"/>
                        </a:cxn>
                        <a:cxn ang="0">
                          <a:pos x="127" y="71"/>
                        </a:cxn>
                        <a:cxn ang="0">
                          <a:pos x="146" y="70"/>
                        </a:cxn>
                        <a:cxn ang="0">
                          <a:pos x="164" y="70"/>
                        </a:cxn>
                        <a:cxn ang="0">
                          <a:pos x="183" y="68"/>
                        </a:cxn>
                        <a:cxn ang="0">
                          <a:pos x="201" y="68"/>
                        </a:cxn>
                        <a:cxn ang="0">
                          <a:pos x="220" y="67"/>
                        </a:cxn>
                        <a:cxn ang="0">
                          <a:pos x="231" y="65"/>
                        </a:cxn>
                        <a:cxn ang="0">
                          <a:pos x="242" y="61"/>
                        </a:cxn>
                        <a:cxn ang="0">
                          <a:pos x="253" y="58"/>
                        </a:cxn>
                        <a:cxn ang="0">
                          <a:pos x="265" y="54"/>
                        </a:cxn>
                        <a:cxn ang="0">
                          <a:pos x="275" y="52"/>
                        </a:cxn>
                        <a:cxn ang="0">
                          <a:pos x="287" y="48"/>
                        </a:cxn>
                        <a:cxn ang="0">
                          <a:pos x="297" y="45"/>
                        </a:cxn>
                        <a:cxn ang="0">
                          <a:pos x="309" y="41"/>
                        </a:cxn>
                        <a:cxn ang="0">
                          <a:pos x="309" y="26"/>
                        </a:cxn>
                        <a:cxn ang="0">
                          <a:pos x="307" y="13"/>
                        </a:cxn>
                        <a:cxn ang="0">
                          <a:pos x="303" y="5"/>
                        </a:cxn>
                        <a:cxn ang="0">
                          <a:pos x="297" y="1"/>
                        </a:cxn>
                        <a:cxn ang="0">
                          <a:pos x="290" y="0"/>
                        </a:cxn>
                        <a:cxn ang="0">
                          <a:pos x="279" y="0"/>
                        </a:cxn>
                        <a:cxn ang="0">
                          <a:pos x="268" y="4"/>
                        </a:cxn>
                        <a:cxn ang="0">
                          <a:pos x="252" y="9"/>
                        </a:cxn>
                        <a:cxn ang="0">
                          <a:pos x="242" y="9"/>
                        </a:cxn>
                        <a:cxn ang="0">
                          <a:pos x="231" y="10"/>
                        </a:cxn>
                        <a:cxn ang="0">
                          <a:pos x="221" y="10"/>
                        </a:cxn>
                        <a:cxn ang="0">
                          <a:pos x="211" y="10"/>
                        </a:cxn>
                        <a:cxn ang="0">
                          <a:pos x="200" y="10"/>
                        </a:cxn>
                        <a:cxn ang="0">
                          <a:pos x="188" y="10"/>
                        </a:cxn>
                        <a:cxn ang="0">
                          <a:pos x="178" y="11"/>
                        </a:cxn>
                        <a:cxn ang="0">
                          <a:pos x="168" y="11"/>
                        </a:cxn>
                        <a:cxn ang="0">
                          <a:pos x="140" y="10"/>
                        </a:cxn>
                        <a:cxn ang="0">
                          <a:pos x="116" y="9"/>
                        </a:cxn>
                        <a:cxn ang="0">
                          <a:pos x="96" y="6"/>
                        </a:cxn>
                        <a:cxn ang="0">
                          <a:pos x="77" y="5"/>
                        </a:cxn>
                        <a:cxn ang="0">
                          <a:pos x="60" y="6"/>
                        </a:cxn>
                        <a:cxn ang="0">
                          <a:pos x="42" y="9"/>
                        </a:cxn>
                        <a:cxn ang="0">
                          <a:pos x="22" y="16"/>
                        </a:cxn>
                        <a:cxn ang="0">
                          <a:pos x="0" y="29"/>
                        </a:cxn>
                      </a:cxnLst>
                      <a:rect l="0" t="0" r="r" b="b"/>
                      <a:pathLst>
                        <a:path w="309" h="72">
                          <a:moveTo>
                            <a:pt x="0" y="29"/>
                          </a:moveTo>
                          <a:lnTo>
                            <a:pt x="3" y="37"/>
                          </a:lnTo>
                          <a:lnTo>
                            <a:pt x="7" y="45"/>
                          </a:lnTo>
                          <a:lnTo>
                            <a:pt x="11" y="53"/>
                          </a:lnTo>
                          <a:lnTo>
                            <a:pt x="15" y="61"/>
                          </a:lnTo>
                          <a:lnTo>
                            <a:pt x="22" y="62"/>
                          </a:lnTo>
                          <a:lnTo>
                            <a:pt x="29" y="63"/>
                          </a:lnTo>
                          <a:lnTo>
                            <a:pt x="37" y="65"/>
                          </a:lnTo>
                          <a:lnTo>
                            <a:pt x="44" y="66"/>
                          </a:lnTo>
                          <a:lnTo>
                            <a:pt x="51" y="67"/>
                          </a:lnTo>
                          <a:lnTo>
                            <a:pt x="59" y="68"/>
                          </a:lnTo>
                          <a:lnTo>
                            <a:pt x="65" y="71"/>
                          </a:lnTo>
                          <a:lnTo>
                            <a:pt x="73" y="72"/>
                          </a:lnTo>
                          <a:lnTo>
                            <a:pt x="91" y="72"/>
                          </a:lnTo>
                          <a:lnTo>
                            <a:pt x="109" y="71"/>
                          </a:lnTo>
                          <a:lnTo>
                            <a:pt x="127" y="71"/>
                          </a:lnTo>
                          <a:lnTo>
                            <a:pt x="146" y="70"/>
                          </a:lnTo>
                          <a:lnTo>
                            <a:pt x="164" y="70"/>
                          </a:lnTo>
                          <a:lnTo>
                            <a:pt x="183" y="68"/>
                          </a:lnTo>
                          <a:lnTo>
                            <a:pt x="201" y="68"/>
                          </a:lnTo>
                          <a:lnTo>
                            <a:pt x="220" y="67"/>
                          </a:lnTo>
                          <a:lnTo>
                            <a:pt x="231" y="65"/>
                          </a:lnTo>
                          <a:lnTo>
                            <a:pt x="242" y="61"/>
                          </a:lnTo>
                          <a:lnTo>
                            <a:pt x="253" y="58"/>
                          </a:lnTo>
                          <a:lnTo>
                            <a:pt x="265" y="54"/>
                          </a:lnTo>
                          <a:lnTo>
                            <a:pt x="275" y="52"/>
                          </a:lnTo>
                          <a:lnTo>
                            <a:pt x="287" y="48"/>
                          </a:lnTo>
                          <a:lnTo>
                            <a:pt x="297" y="45"/>
                          </a:lnTo>
                          <a:lnTo>
                            <a:pt x="309" y="41"/>
                          </a:lnTo>
                          <a:lnTo>
                            <a:pt x="309" y="26"/>
                          </a:lnTo>
                          <a:lnTo>
                            <a:pt x="307" y="13"/>
                          </a:lnTo>
                          <a:lnTo>
                            <a:pt x="303" y="5"/>
                          </a:lnTo>
                          <a:lnTo>
                            <a:pt x="297" y="1"/>
                          </a:lnTo>
                          <a:lnTo>
                            <a:pt x="290" y="0"/>
                          </a:lnTo>
                          <a:lnTo>
                            <a:pt x="279" y="0"/>
                          </a:lnTo>
                          <a:lnTo>
                            <a:pt x="268" y="4"/>
                          </a:lnTo>
                          <a:lnTo>
                            <a:pt x="252" y="9"/>
                          </a:lnTo>
                          <a:lnTo>
                            <a:pt x="242" y="9"/>
                          </a:lnTo>
                          <a:lnTo>
                            <a:pt x="231" y="10"/>
                          </a:lnTo>
                          <a:lnTo>
                            <a:pt x="221" y="10"/>
                          </a:lnTo>
                          <a:lnTo>
                            <a:pt x="211" y="10"/>
                          </a:lnTo>
                          <a:lnTo>
                            <a:pt x="200" y="10"/>
                          </a:lnTo>
                          <a:lnTo>
                            <a:pt x="188" y="10"/>
                          </a:lnTo>
                          <a:lnTo>
                            <a:pt x="178" y="11"/>
                          </a:lnTo>
                          <a:lnTo>
                            <a:pt x="168" y="11"/>
                          </a:lnTo>
                          <a:lnTo>
                            <a:pt x="140" y="10"/>
                          </a:lnTo>
                          <a:lnTo>
                            <a:pt x="116" y="9"/>
                          </a:lnTo>
                          <a:lnTo>
                            <a:pt x="96" y="6"/>
                          </a:lnTo>
                          <a:lnTo>
                            <a:pt x="77" y="5"/>
                          </a:lnTo>
                          <a:lnTo>
                            <a:pt x="60" y="6"/>
                          </a:lnTo>
                          <a:lnTo>
                            <a:pt x="42" y="9"/>
                          </a:lnTo>
                          <a:lnTo>
                            <a:pt x="22" y="16"/>
                          </a:lnTo>
                          <a:lnTo>
                            <a:pt x="0" y="29"/>
                          </a:lnTo>
                          <a:close/>
                        </a:path>
                      </a:pathLst>
                    </a:custGeom>
                    <a:grpFill/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pPr fontAlgn="auto">
                        <a:spcBef>
                          <a:spcPts val="0"/>
                        </a:spcBef>
                        <a:spcAft>
                          <a:spcPts val="0"/>
                        </a:spcAft>
                        <a:defRPr/>
                      </a:pPr>
                      <a:endParaRPr lang="da-DK" kern="0">
                        <a:solidFill>
                          <a:sysClr val="windowText" lastClr="000000"/>
                        </a:solidFill>
                        <a:latin typeface="+mn-lt"/>
                        <a:ea typeface="ＭＳ Ｐゴシック" pitchFamily="-97" charset="-128"/>
                        <a:cs typeface="+mn-cs"/>
                      </a:endParaRPr>
                    </a:p>
                  </p:txBody>
                </p:sp>
                <p:sp>
                  <p:nvSpPr>
                    <p:cNvPr id="194" name="Freeform 353"/>
                    <p:cNvSpPr>
                      <a:spLocks/>
                    </p:cNvSpPr>
                    <p:nvPr/>
                  </p:nvSpPr>
                  <p:spPr bwMode="auto">
                    <a:xfrm>
                      <a:off x="3932238" y="4217988"/>
                      <a:ext cx="177800" cy="39688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11"/>
                        </a:cxn>
                        <a:cxn ang="0">
                          <a:pos x="5" y="17"/>
                        </a:cxn>
                        <a:cxn ang="0">
                          <a:pos x="26" y="25"/>
                        </a:cxn>
                        <a:cxn ang="0">
                          <a:pos x="80" y="20"/>
                        </a:cxn>
                        <a:cxn ang="0">
                          <a:pos x="112" y="13"/>
                        </a:cxn>
                        <a:cxn ang="0">
                          <a:pos x="110" y="4"/>
                        </a:cxn>
                        <a:cxn ang="0">
                          <a:pos x="108" y="0"/>
                        </a:cxn>
                        <a:cxn ang="0">
                          <a:pos x="103" y="2"/>
                        </a:cxn>
                        <a:cxn ang="0">
                          <a:pos x="92" y="4"/>
                        </a:cxn>
                        <a:cxn ang="0">
                          <a:pos x="61" y="6"/>
                        </a:cxn>
                        <a:cxn ang="0">
                          <a:pos x="51" y="6"/>
                        </a:cxn>
                        <a:cxn ang="0">
                          <a:pos x="43" y="4"/>
                        </a:cxn>
                        <a:cxn ang="0">
                          <a:pos x="35" y="4"/>
                        </a:cxn>
                        <a:cxn ang="0">
                          <a:pos x="29" y="3"/>
                        </a:cxn>
                        <a:cxn ang="0">
                          <a:pos x="22" y="3"/>
                        </a:cxn>
                        <a:cxn ang="0">
                          <a:pos x="14" y="4"/>
                        </a:cxn>
                        <a:cxn ang="0">
                          <a:pos x="8" y="7"/>
                        </a:cxn>
                        <a:cxn ang="0">
                          <a:pos x="0" y="11"/>
                        </a:cxn>
                      </a:cxnLst>
                      <a:rect l="0" t="0" r="r" b="b"/>
                      <a:pathLst>
                        <a:path w="112" h="25">
                          <a:moveTo>
                            <a:pt x="0" y="11"/>
                          </a:moveTo>
                          <a:lnTo>
                            <a:pt x="5" y="17"/>
                          </a:lnTo>
                          <a:lnTo>
                            <a:pt x="26" y="25"/>
                          </a:lnTo>
                          <a:lnTo>
                            <a:pt x="80" y="20"/>
                          </a:lnTo>
                          <a:lnTo>
                            <a:pt x="112" y="13"/>
                          </a:lnTo>
                          <a:lnTo>
                            <a:pt x="110" y="4"/>
                          </a:lnTo>
                          <a:lnTo>
                            <a:pt x="108" y="0"/>
                          </a:lnTo>
                          <a:lnTo>
                            <a:pt x="103" y="2"/>
                          </a:lnTo>
                          <a:lnTo>
                            <a:pt x="92" y="4"/>
                          </a:lnTo>
                          <a:lnTo>
                            <a:pt x="61" y="6"/>
                          </a:lnTo>
                          <a:lnTo>
                            <a:pt x="51" y="6"/>
                          </a:lnTo>
                          <a:lnTo>
                            <a:pt x="43" y="4"/>
                          </a:lnTo>
                          <a:lnTo>
                            <a:pt x="35" y="4"/>
                          </a:lnTo>
                          <a:lnTo>
                            <a:pt x="29" y="3"/>
                          </a:lnTo>
                          <a:lnTo>
                            <a:pt x="22" y="3"/>
                          </a:lnTo>
                          <a:lnTo>
                            <a:pt x="14" y="4"/>
                          </a:lnTo>
                          <a:lnTo>
                            <a:pt x="8" y="7"/>
                          </a:lnTo>
                          <a:lnTo>
                            <a:pt x="0" y="11"/>
                          </a:lnTo>
                          <a:close/>
                        </a:path>
                      </a:pathLst>
                    </a:custGeom>
                    <a:grpFill/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pPr fontAlgn="auto">
                        <a:spcBef>
                          <a:spcPts val="0"/>
                        </a:spcBef>
                        <a:spcAft>
                          <a:spcPts val="0"/>
                        </a:spcAft>
                        <a:defRPr/>
                      </a:pPr>
                      <a:endParaRPr lang="da-DK" kern="0">
                        <a:solidFill>
                          <a:sysClr val="windowText" lastClr="000000"/>
                        </a:solidFill>
                        <a:latin typeface="+mn-lt"/>
                        <a:ea typeface="ＭＳ Ｐゴシック" pitchFamily="-97" charset="-128"/>
                        <a:cs typeface="+mn-cs"/>
                      </a:endParaRPr>
                    </a:p>
                  </p:txBody>
                </p:sp>
                <p:sp>
                  <p:nvSpPr>
                    <p:cNvPr id="195" name="Freeform 367"/>
                    <p:cNvSpPr>
                      <a:spLocks/>
                    </p:cNvSpPr>
                    <p:nvPr/>
                  </p:nvSpPr>
                  <p:spPr bwMode="auto">
                    <a:xfrm>
                      <a:off x="3932238" y="3433763"/>
                      <a:ext cx="168275" cy="127000"/>
                    </a:xfrm>
                    <a:custGeom>
                      <a:avLst/>
                      <a:gdLst/>
                      <a:ahLst/>
                      <a:cxnLst>
                        <a:cxn ang="0">
                          <a:pos x="53" y="0"/>
                        </a:cxn>
                        <a:cxn ang="0">
                          <a:pos x="64" y="1"/>
                        </a:cxn>
                        <a:cxn ang="0">
                          <a:pos x="74" y="2"/>
                        </a:cxn>
                        <a:cxn ang="0">
                          <a:pos x="83" y="6"/>
                        </a:cxn>
                        <a:cxn ang="0">
                          <a:pos x="91" y="11"/>
                        </a:cxn>
                        <a:cxn ang="0">
                          <a:pos x="97" y="18"/>
                        </a:cxn>
                        <a:cxn ang="0">
                          <a:pos x="103" y="24"/>
                        </a:cxn>
                        <a:cxn ang="0">
                          <a:pos x="105" y="32"/>
                        </a:cxn>
                        <a:cxn ang="0">
                          <a:pos x="106" y="40"/>
                        </a:cxn>
                        <a:cxn ang="0">
                          <a:pos x="105" y="48"/>
                        </a:cxn>
                        <a:cxn ang="0">
                          <a:pos x="103" y="55"/>
                        </a:cxn>
                        <a:cxn ang="0">
                          <a:pos x="97" y="62"/>
                        </a:cxn>
                        <a:cxn ang="0">
                          <a:pos x="91" y="68"/>
                        </a:cxn>
                        <a:cxn ang="0">
                          <a:pos x="83" y="74"/>
                        </a:cxn>
                        <a:cxn ang="0">
                          <a:pos x="74" y="78"/>
                        </a:cxn>
                        <a:cxn ang="0">
                          <a:pos x="64" y="79"/>
                        </a:cxn>
                        <a:cxn ang="0">
                          <a:pos x="53" y="80"/>
                        </a:cxn>
                        <a:cxn ang="0">
                          <a:pos x="43" y="79"/>
                        </a:cxn>
                        <a:cxn ang="0">
                          <a:pos x="32" y="78"/>
                        </a:cxn>
                        <a:cxn ang="0">
                          <a:pos x="23" y="74"/>
                        </a:cxn>
                        <a:cxn ang="0">
                          <a:pos x="16" y="68"/>
                        </a:cxn>
                        <a:cxn ang="0">
                          <a:pos x="9" y="62"/>
                        </a:cxn>
                        <a:cxn ang="0">
                          <a:pos x="4" y="55"/>
                        </a:cxn>
                        <a:cxn ang="0">
                          <a:pos x="1" y="48"/>
                        </a:cxn>
                        <a:cxn ang="0">
                          <a:pos x="0" y="40"/>
                        </a:cxn>
                        <a:cxn ang="0">
                          <a:pos x="1" y="32"/>
                        </a:cxn>
                        <a:cxn ang="0">
                          <a:pos x="4" y="24"/>
                        </a:cxn>
                        <a:cxn ang="0">
                          <a:pos x="9" y="18"/>
                        </a:cxn>
                        <a:cxn ang="0">
                          <a:pos x="16" y="11"/>
                        </a:cxn>
                        <a:cxn ang="0">
                          <a:pos x="23" y="6"/>
                        </a:cxn>
                        <a:cxn ang="0">
                          <a:pos x="32" y="2"/>
                        </a:cxn>
                        <a:cxn ang="0">
                          <a:pos x="43" y="1"/>
                        </a:cxn>
                        <a:cxn ang="0">
                          <a:pos x="53" y="0"/>
                        </a:cxn>
                      </a:cxnLst>
                      <a:rect l="0" t="0" r="r" b="b"/>
                      <a:pathLst>
                        <a:path w="106" h="80">
                          <a:moveTo>
                            <a:pt x="53" y="0"/>
                          </a:moveTo>
                          <a:lnTo>
                            <a:pt x="64" y="1"/>
                          </a:lnTo>
                          <a:lnTo>
                            <a:pt x="74" y="2"/>
                          </a:lnTo>
                          <a:lnTo>
                            <a:pt x="83" y="6"/>
                          </a:lnTo>
                          <a:lnTo>
                            <a:pt x="91" y="11"/>
                          </a:lnTo>
                          <a:lnTo>
                            <a:pt x="97" y="18"/>
                          </a:lnTo>
                          <a:lnTo>
                            <a:pt x="103" y="24"/>
                          </a:lnTo>
                          <a:lnTo>
                            <a:pt x="105" y="32"/>
                          </a:lnTo>
                          <a:lnTo>
                            <a:pt x="106" y="40"/>
                          </a:lnTo>
                          <a:lnTo>
                            <a:pt x="105" y="48"/>
                          </a:lnTo>
                          <a:lnTo>
                            <a:pt x="103" y="55"/>
                          </a:lnTo>
                          <a:lnTo>
                            <a:pt x="97" y="62"/>
                          </a:lnTo>
                          <a:lnTo>
                            <a:pt x="91" y="68"/>
                          </a:lnTo>
                          <a:lnTo>
                            <a:pt x="83" y="74"/>
                          </a:lnTo>
                          <a:lnTo>
                            <a:pt x="74" y="78"/>
                          </a:lnTo>
                          <a:lnTo>
                            <a:pt x="64" y="79"/>
                          </a:lnTo>
                          <a:lnTo>
                            <a:pt x="53" y="80"/>
                          </a:lnTo>
                          <a:lnTo>
                            <a:pt x="43" y="79"/>
                          </a:lnTo>
                          <a:lnTo>
                            <a:pt x="32" y="78"/>
                          </a:lnTo>
                          <a:lnTo>
                            <a:pt x="23" y="74"/>
                          </a:lnTo>
                          <a:lnTo>
                            <a:pt x="16" y="68"/>
                          </a:lnTo>
                          <a:lnTo>
                            <a:pt x="9" y="62"/>
                          </a:lnTo>
                          <a:lnTo>
                            <a:pt x="4" y="55"/>
                          </a:lnTo>
                          <a:lnTo>
                            <a:pt x="1" y="48"/>
                          </a:lnTo>
                          <a:lnTo>
                            <a:pt x="0" y="40"/>
                          </a:lnTo>
                          <a:lnTo>
                            <a:pt x="1" y="32"/>
                          </a:lnTo>
                          <a:lnTo>
                            <a:pt x="4" y="24"/>
                          </a:lnTo>
                          <a:lnTo>
                            <a:pt x="9" y="18"/>
                          </a:lnTo>
                          <a:lnTo>
                            <a:pt x="16" y="11"/>
                          </a:lnTo>
                          <a:lnTo>
                            <a:pt x="23" y="6"/>
                          </a:lnTo>
                          <a:lnTo>
                            <a:pt x="32" y="2"/>
                          </a:lnTo>
                          <a:lnTo>
                            <a:pt x="43" y="1"/>
                          </a:lnTo>
                          <a:lnTo>
                            <a:pt x="53" y="0"/>
                          </a:lnTo>
                          <a:close/>
                        </a:path>
                      </a:pathLst>
                    </a:custGeom>
                    <a:grpFill/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pPr fontAlgn="auto">
                        <a:spcBef>
                          <a:spcPts val="0"/>
                        </a:spcBef>
                        <a:spcAft>
                          <a:spcPts val="0"/>
                        </a:spcAft>
                        <a:defRPr/>
                      </a:pPr>
                      <a:endParaRPr lang="da-DK" kern="0">
                        <a:solidFill>
                          <a:sysClr val="windowText" lastClr="000000"/>
                        </a:solidFill>
                        <a:latin typeface="+mn-lt"/>
                        <a:ea typeface="ＭＳ Ｐゴシック" pitchFamily="-97" charset="-128"/>
                        <a:cs typeface="+mn-cs"/>
                      </a:endParaRPr>
                    </a:p>
                  </p:txBody>
                </p:sp>
              </p:grpSp>
            </p:grpSp>
            <p:sp>
              <p:nvSpPr>
                <p:cNvPr id="189" name="Ellipse 562"/>
                <p:cNvSpPr/>
                <p:nvPr/>
              </p:nvSpPr>
              <p:spPr bwMode="auto">
                <a:xfrm>
                  <a:off x="2598045" y="4805084"/>
                  <a:ext cx="458401" cy="465718"/>
                </a:xfrm>
                <a:prstGeom prst="ellipse">
                  <a:avLst/>
                </a:prstGeom>
                <a:gradFill flip="none" rotWithShape="1">
                  <a:gsLst>
                    <a:gs pos="100000">
                      <a:srgbClr val="E6E6E6"/>
                    </a:gs>
                    <a:gs pos="69000">
                      <a:srgbClr val="E6E6E6">
                        <a:lumMod val="90000"/>
                      </a:srgbClr>
                    </a:gs>
                    <a:gs pos="0">
                      <a:srgbClr val="E6E6E6">
                        <a:lumMod val="75000"/>
                      </a:srgbClr>
                    </a:gs>
                  </a:gsLst>
                  <a:lin ang="0" scaled="1"/>
                  <a:tileRect/>
                </a:gradFill>
                <a:ln w="952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" lastClr="FFFFFF"/>
                    </a:solidFill>
                    <a:latin typeface="Calibri"/>
                    <a:cs typeface="+mn-cs"/>
                  </a:endParaRPr>
                </a:p>
              </p:txBody>
            </p:sp>
          </p:grpSp>
        </p:grpSp>
        <p:grpSp>
          <p:nvGrpSpPr>
            <p:cNvPr id="129" name="Gruppe 291"/>
            <p:cNvGrpSpPr>
              <a:grpSpLocks/>
            </p:cNvGrpSpPr>
            <p:nvPr/>
          </p:nvGrpSpPr>
          <p:grpSpPr bwMode="auto">
            <a:xfrm flipH="1">
              <a:off x="6938963" y="4286250"/>
              <a:ext cx="690562" cy="914400"/>
              <a:chOff x="2217739" y="4806539"/>
              <a:chExt cx="1096961" cy="1454561"/>
            </a:xfrm>
          </p:grpSpPr>
          <p:sp>
            <p:nvSpPr>
              <p:cNvPr id="168" name="Ellipse 578"/>
              <p:cNvSpPr/>
              <p:nvPr/>
            </p:nvSpPr>
            <p:spPr bwMode="auto">
              <a:xfrm>
                <a:off x="2217739" y="5953229"/>
                <a:ext cx="1096961" cy="307871"/>
              </a:xfrm>
              <a:prstGeom prst="ellipse">
                <a:avLst/>
              </a:prstGeom>
              <a:gradFill flip="none" rotWithShape="1">
                <a:gsLst>
                  <a:gs pos="24000">
                    <a:sysClr val="windowText" lastClr="000000">
                      <a:alpha val="42000"/>
                    </a:sysClr>
                  </a:gs>
                  <a:gs pos="100000">
                    <a:sysClr val="window" lastClr="FFFFFF">
                      <a:alpha val="0"/>
                    </a:sysClr>
                  </a:gs>
                </a:gsLst>
                <a:path path="shape">
                  <a:fillToRect l="50000" t="50000" r="50000" b="50000"/>
                </a:path>
                <a:tileRect/>
              </a:gradFill>
              <a:ln w="9525" cap="flat" cmpd="sng" algn="ctr">
                <a:noFill/>
                <a:prstDash val="solid"/>
              </a:ln>
              <a:effectLst/>
            </p:spPr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 dirty="0" err="1">
                  <a:solidFill>
                    <a:sysClr val="window" lastClr="FFFFFF"/>
                  </a:solidFill>
                  <a:latin typeface="Calibri"/>
                  <a:ea typeface="ＭＳ Ｐゴシック" pitchFamily="-97" charset="-128"/>
                  <a:cs typeface="+mn-cs"/>
                </a:endParaRPr>
              </a:p>
            </p:txBody>
          </p:sp>
          <p:grpSp>
            <p:nvGrpSpPr>
              <p:cNvPr id="169" name="Gruppe 850"/>
              <p:cNvGrpSpPr>
                <a:grpSpLocks/>
              </p:cNvGrpSpPr>
              <p:nvPr/>
            </p:nvGrpSpPr>
            <p:grpSpPr bwMode="auto">
              <a:xfrm>
                <a:off x="2507739" y="4806539"/>
                <a:ext cx="615306" cy="1371227"/>
                <a:chOff x="2507739" y="4806539"/>
                <a:chExt cx="615306" cy="1371227"/>
              </a:xfrm>
            </p:grpSpPr>
            <p:grpSp>
              <p:nvGrpSpPr>
                <p:cNvPr id="170" name="Gruppe 823"/>
                <p:cNvGrpSpPr>
                  <a:grpSpLocks/>
                </p:cNvGrpSpPr>
                <p:nvPr/>
              </p:nvGrpSpPr>
              <p:grpSpPr bwMode="auto">
                <a:xfrm>
                  <a:off x="2507739" y="4876802"/>
                  <a:ext cx="615306" cy="1300964"/>
                  <a:chOff x="1022030" y="3975118"/>
                  <a:chExt cx="729203" cy="1897819"/>
                </a:xfrm>
              </p:grpSpPr>
              <p:grpSp>
                <p:nvGrpSpPr>
                  <p:cNvPr id="172" name="Gruppe 605"/>
                  <p:cNvGrpSpPr>
                    <a:grpSpLocks/>
                  </p:cNvGrpSpPr>
                  <p:nvPr/>
                </p:nvGrpSpPr>
                <p:grpSpPr bwMode="auto">
                  <a:xfrm>
                    <a:off x="1022030" y="4089966"/>
                    <a:ext cx="729203" cy="1782971"/>
                    <a:chOff x="-6274" y="3496802"/>
                    <a:chExt cx="966590" cy="2363405"/>
                  </a:xfrm>
                </p:grpSpPr>
                <p:sp>
                  <p:nvSpPr>
                    <p:cNvPr id="178" name="Freeform 130"/>
                    <p:cNvSpPr>
                      <a:spLocks/>
                    </p:cNvSpPr>
                    <p:nvPr/>
                  </p:nvSpPr>
                  <p:spPr bwMode="auto">
                    <a:xfrm>
                      <a:off x="7402" y="3499378"/>
                      <a:ext cx="937133" cy="2326414"/>
                    </a:xfrm>
                    <a:custGeom>
                      <a:avLst/>
                      <a:gdLst/>
                      <a:ahLst/>
                      <a:cxnLst>
                        <a:cxn ang="0">
                          <a:pos x="145" y="87"/>
                        </a:cxn>
                        <a:cxn ang="0">
                          <a:pos x="99" y="110"/>
                        </a:cxn>
                        <a:cxn ang="0">
                          <a:pos x="93" y="162"/>
                        </a:cxn>
                        <a:cxn ang="0">
                          <a:pos x="158" y="272"/>
                        </a:cxn>
                        <a:cxn ang="0">
                          <a:pos x="138" y="326"/>
                        </a:cxn>
                        <a:cxn ang="0">
                          <a:pos x="89" y="375"/>
                        </a:cxn>
                        <a:cxn ang="0">
                          <a:pos x="70" y="414"/>
                        </a:cxn>
                        <a:cxn ang="0">
                          <a:pos x="94" y="449"/>
                        </a:cxn>
                        <a:cxn ang="0">
                          <a:pos x="168" y="522"/>
                        </a:cxn>
                        <a:cxn ang="0">
                          <a:pos x="150" y="638"/>
                        </a:cxn>
                        <a:cxn ang="0">
                          <a:pos x="115" y="750"/>
                        </a:cxn>
                        <a:cxn ang="0">
                          <a:pos x="70" y="804"/>
                        </a:cxn>
                        <a:cxn ang="0">
                          <a:pos x="53" y="835"/>
                        </a:cxn>
                        <a:cxn ang="0">
                          <a:pos x="75" y="868"/>
                        </a:cxn>
                        <a:cxn ang="0">
                          <a:pos x="34" y="905"/>
                        </a:cxn>
                        <a:cxn ang="0">
                          <a:pos x="8" y="942"/>
                        </a:cxn>
                        <a:cxn ang="0">
                          <a:pos x="15" y="999"/>
                        </a:cxn>
                        <a:cxn ang="0">
                          <a:pos x="0" y="1121"/>
                        </a:cxn>
                        <a:cxn ang="0">
                          <a:pos x="69" y="1163"/>
                        </a:cxn>
                        <a:cxn ang="0">
                          <a:pos x="171" y="1189"/>
                        </a:cxn>
                        <a:cxn ang="0">
                          <a:pos x="285" y="1193"/>
                        </a:cxn>
                        <a:cxn ang="0">
                          <a:pos x="393" y="1175"/>
                        </a:cxn>
                        <a:cxn ang="0">
                          <a:pos x="474" y="1129"/>
                        </a:cxn>
                        <a:cxn ang="0">
                          <a:pos x="484" y="1032"/>
                        </a:cxn>
                        <a:cxn ang="0">
                          <a:pos x="489" y="965"/>
                        </a:cxn>
                        <a:cxn ang="0">
                          <a:pos x="470" y="921"/>
                        </a:cxn>
                        <a:cxn ang="0">
                          <a:pos x="441" y="870"/>
                        </a:cxn>
                        <a:cxn ang="0">
                          <a:pos x="449" y="832"/>
                        </a:cxn>
                        <a:cxn ang="0">
                          <a:pos x="425" y="805"/>
                        </a:cxn>
                        <a:cxn ang="0">
                          <a:pos x="373" y="713"/>
                        </a:cxn>
                        <a:cxn ang="0">
                          <a:pos x="349" y="609"/>
                        </a:cxn>
                        <a:cxn ang="0">
                          <a:pos x="344" y="485"/>
                        </a:cxn>
                        <a:cxn ang="0">
                          <a:pos x="417" y="446"/>
                        </a:cxn>
                        <a:cxn ang="0">
                          <a:pos x="436" y="411"/>
                        </a:cxn>
                        <a:cxn ang="0">
                          <a:pos x="414" y="374"/>
                        </a:cxn>
                        <a:cxn ang="0">
                          <a:pos x="379" y="343"/>
                        </a:cxn>
                        <a:cxn ang="0">
                          <a:pos x="393" y="306"/>
                        </a:cxn>
                        <a:cxn ang="0">
                          <a:pos x="376" y="273"/>
                        </a:cxn>
                        <a:cxn ang="0">
                          <a:pos x="409" y="192"/>
                        </a:cxn>
                        <a:cxn ang="0">
                          <a:pos x="432" y="139"/>
                        </a:cxn>
                        <a:cxn ang="0">
                          <a:pos x="416" y="110"/>
                        </a:cxn>
                        <a:cxn ang="0">
                          <a:pos x="349" y="77"/>
                        </a:cxn>
                        <a:cxn ang="0">
                          <a:pos x="322" y="42"/>
                        </a:cxn>
                        <a:cxn ang="0">
                          <a:pos x="309" y="16"/>
                        </a:cxn>
                        <a:cxn ang="0">
                          <a:pos x="281" y="2"/>
                        </a:cxn>
                        <a:cxn ang="0">
                          <a:pos x="243" y="3"/>
                        </a:cxn>
                        <a:cxn ang="0">
                          <a:pos x="215" y="27"/>
                        </a:cxn>
                      </a:cxnLst>
                      <a:rect l="0" t="0" r="r" b="b"/>
                      <a:pathLst>
                        <a:path w="493" h="1194">
                          <a:moveTo>
                            <a:pt x="208" y="62"/>
                          </a:moveTo>
                          <a:lnTo>
                            <a:pt x="167" y="83"/>
                          </a:lnTo>
                          <a:lnTo>
                            <a:pt x="145" y="87"/>
                          </a:lnTo>
                          <a:lnTo>
                            <a:pt x="125" y="93"/>
                          </a:lnTo>
                          <a:lnTo>
                            <a:pt x="110" y="100"/>
                          </a:lnTo>
                          <a:lnTo>
                            <a:pt x="99" y="110"/>
                          </a:lnTo>
                          <a:lnTo>
                            <a:pt x="92" y="124"/>
                          </a:lnTo>
                          <a:lnTo>
                            <a:pt x="90" y="141"/>
                          </a:lnTo>
                          <a:lnTo>
                            <a:pt x="93" y="162"/>
                          </a:lnTo>
                          <a:lnTo>
                            <a:pt x="104" y="187"/>
                          </a:lnTo>
                          <a:lnTo>
                            <a:pt x="158" y="242"/>
                          </a:lnTo>
                          <a:lnTo>
                            <a:pt x="158" y="272"/>
                          </a:lnTo>
                          <a:lnTo>
                            <a:pt x="140" y="282"/>
                          </a:lnTo>
                          <a:lnTo>
                            <a:pt x="135" y="302"/>
                          </a:lnTo>
                          <a:lnTo>
                            <a:pt x="138" y="326"/>
                          </a:lnTo>
                          <a:lnTo>
                            <a:pt x="147" y="346"/>
                          </a:lnTo>
                          <a:lnTo>
                            <a:pt x="104" y="360"/>
                          </a:lnTo>
                          <a:lnTo>
                            <a:pt x="89" y="375"/>
                          </a:lnTo>
                          <a:lnTo>
                            <a:pt x="77" y="389"/>
                          </a:lnTo>
                          <a:lnTo>
                            <a:pt x="71" y="402"/>
                          </a:lnTo>
                          <a:lnTo>
                            <a:pt x="70" y="414"/>
                          </a:lnTo>
                          <a:lnTo>
                            <a:pt x="74" y="426"/>
                          </a:lnTo>
                          <a:lnTo>
                            <a:pt x="82" y="437"/>
                          </a:lnTo>
                          <a:lnTo>
                            <a:pt x="94" y="449"/>
                          </a:lnTo>
                          <a:lnTo>
                            <a:pt x="113" y="459"/>
                          </a:lnTo>
                          <a:lnTo>
                            <a:pt x="173" y="480"/>
                          </a:lnTo>
                          <a:lnTo>
                            <a:pt x="168" y="522"/>
                          </a:lnTo>
                          <a:lnTo>
                            <a:pt x="162" y="562"/>
                          </a:lnTo>
                          <a:lnTo>
                            <a:pt x="156" y="601"/>
                          </a:lnTo>
                          <a:lnTo>
                            <a:pt x="150" y="638"/>
                          </a:lnTo>
                          <a:lnTo>
                            <a:pt x="140" y="676"/>
                          </a:lnTo>
                          <a:lnTo>
                            <a:pt x="129" y="713"/>
                          </a:lnTo>
                          <a:lnTo>
                            <a:pt x="115" y="750"/>
                          </a:lnTo>
                          <a:lnTo>
                            <a:pt x="98" y="789"/>
                          </a:lnTo>
                          <a:lnTo>
                            <a:pt x="83" y="796"/>
                          </a:lnTo>
                          <a:lnTo>
                            <a:pt x="70" y="804"/>
                          </a:lnTo>
                          <a:lnTo>
                            <a:pt x="61" y="814"/>
                          </a:lnTo>
                          <a:lnTo>
                            <a:pt x="55" y="823"/>
                          </a:lnTo>
                          <a:lnTo>
                            <a:pt x="53" y="835"/>
                          </a:lnTo>
                          <a:lnTo>
                            <a:pt x="55" y="845"/>
                          </a:lnTo>
                          <a:lnTo>
                            <a:pt x="62" y="857"/>
                          </a:lnTo>
                          <a:lnTo>
                            <a:pt x="75" y="868"/>
                          </a:lnTo>
                          <a:lnTo>
                            <a:pt x="78" y="889"/>
                          </a:lnTo>
                          <a:lnTo>
                            <a:pt x="53" y="896"/>
                          </a:lnTo>
                          <a:lnTo>
                            <a:pt x="34" y="905"/>
                          </a:lnTo>
                          <a:lnTo>
                            <a:pt x="21" y="916"/>
                          </a:lnTo>
                          <a:lnTo>
                            <a:pt x="13" y="928"/>
                          </a:lnTo>
                          <a:lnTo>
                            <a:pt x="8" y="942"/>
                          </a:lnTo>
                          <a:lnTo>
                            <a:pt x="8" y="959"/>
                          </a:lnTo>
                          <a:lnTo>
                            <a:pt x="10" y="978"/>
                          </a:lnTo>
                          <a:lnTo>
                            <a:pt x="15" y="999"/>
                          </a:lnTo>
                          <a:lnTo>
                            <a:pt x="19" y="1032"/>
                          </a:lnTo>
                          <a:lnTo>
                            <a:pt x="0" y="1057"/>
                          </a:lnTo>
                          <a:lnTo>
                            <a:pt x="0" y="1121"/>
                          </a:lnTo>
                          <a:lnTo>
                            <a:pt x="18" y="1137"/>
                          </a:lnTo>
                          <a:lnTo>
                            <a:pt x="41" y="1151"/>
                          </a:lnTo>
                          <a:lnTo>
                            <a:pt x="69" y="1163"/>
                          </a:lnTo>
                          <a:lnTo>
                            <a:pt x="101" y="1174"/>
                          </a:lnTo>
                          <a:lnTo>
                            <a:pt x="135" y="1182"/>
                          </a:lnTo>
                          <a:lnTo>
                            <a:pt x="171" y="1189"/>
                          </a:lnTo>
                          <a:lnTo>
                            <a:pt x="208" y="1192"/>
                          </a:lnTo>
                          <a:lnTo>
                            <a:pt x="246" y="1194"/>
                          </a:lnTo>
                          <a:lnTo>
                            <a:pt x="285" y="1193"/>
                          </a:lnTo>
                          <a:lnTo>
                            <a:pt x="322" y="1190"/>
                          </a:lnTo>
                          <a:lnTo>
                            <a:pt x="359" y="1184"/>
                          </a:lnTo>
                          <a:lnTo>
                            <a:pt x="393" y="1175"/>
                          </a:lnTo>
                          <a:lnTo>
                            <a:pt x="424" y="1162"/>
                          </a:lnTo>
                          <a:lnTo>
                            <a:pt x="451" y="1147"/>
                          </a:lnTo>
                          <a:lnTo>
                            <a:pt x="474" y="1129"/>
                          </a:lnTo>
                          <a:lnTo>
                            <a:pt x="493" y="1107"/>
                          </a:lnTo>
                          <a:lnTo>
                            <a:pt x="493" y="1069"/>
                          </a:lnTo>
                          <a:lnTo>
                            <a:pt x="484" y="1032"/>
                          </a:lnTo>
                          <a:lnTo>
                            <a:pt x="487" y="1005"/>
                          </a:lnTo>
                          <a:lnTo>
                            <a:pt x="489" y="984"/>
                          </a:lnTo>
                          <a:lnTo>
                            <a:pt x="489" y="965"/>
                          </a:lnTo>
                          <a:lnTo>
                            <a:pt x="486" y="950"/>
                          </a:lnTo>
                          <a:lnTo>
                            <a:pt x="480" y="936"/>
                          </a:lnTo>
                          <a:lnTo>
                            <a:pt x="470" y="921"/>
                          </a:lnTo>
                          <a:lnTo>
                            <a:pt x="454" y="906"/>
                          </a:lnTo>
                          <a:lnTo>
                            <a:pt x="433" y="888"/>
                          </a:lnTo>
                          <a:lnTo>
                            <a:pt x="441" y="870"/>
                          </a:lnTo>
                          <a:lnTo>
                            <a:pt x="446" y="855"/>
                          </a:lnTo>
                          <a:lnTo>
                            <a:pt x="449" y="842"/>
                          </a:lnTo>
                          <a:lnTo>
                            <a:pt x="449" y="832"/>
                          </a:lnTo>
                          <a:lnTo>
                            <a:pt x="444" y="823"/>
                          </a:lnTo>
                          <a:lnTo>
                            <a:pt x="438" y="814"/>
                          </a:lnTo>
                          <a:lnTo>
                            <a:pt x="425" y="805"/>
                          </a:lnTo>
                          <a:lnTo>
                            <a:pt x="409" y="793"/>
                          </a:lnTo>
                          <a:lnTo>
                            <a:pt x="389" y="751"/>
                          </a:lnTo>
                          <a:lnTo>
                            <a:pt x="373" y="713"/>
                          </a:lnTo>
                          <a:lnTo>
                            <a:pt x="362" y="677"/>
                          </a:lnTo>
                          <a:lnTo>
                            <a:pt x="355" y="644"/>
                          </a:lnTo>
                          <a:lnTo>
                            <a:pt x="349" y="609"/>
                          </a:lnTo>
                          <a:lnTo>
                            <a:pt x="345" y="572"/>
                          </a:lnTo>
                          <a:lnTo>
                            <a:pt x="344" y="531"/>
                          </a:lnTo>
                          <a:lnTo>
                            <a:pt x="344" y="485"/>
                          </a:lnTo>
                          <a:lnTo>
                            <a:pt x="379" y="471"/>
                          </a:lnTo>
                          <a:lnTo>
                            <a:pt x="404" y="455"/>
                          </a:lnTo>
                          <a:lnTo>
                            <a:pt x="417" y="446"/>
                          </a:lnTo>
                          <a:lnTo>
                            <a:pt x="426" y="435"/>
                          </a:lnTo>
                          <a:lnTo>
                            <a:pt x="433" y="423"/>
                          </a:lnTo>
                          <a:lnTo>
                            <a:pt x="436" y="411"/>
                          </a:lnTo>
                          <a:lnTo>
                            <a:pt x="434" y="398"/>
                          </a:lnTo>
                          <a:lnTo>
                            <a:pt x="427" y="386"/>
                          </a:lnTo>
                          <a:lnTo>
                            <a:pt x="414" y="374"/>
                          </a:lnTo>
                          <a:lnTo>
                            <a:pt x="394" y="364"/>
                          </a:lnTo>
                          <a:lnTo>
                            <a:pt x="368" y="356"/>
                          </a:lnTo>
                          <a:lnTo>
                            <a:pt x="379" y="343"/>
                          </a:lnTo>
                          <a:lnTo>
                            <a:pt x="386" y="330"/>
                          </a:lnTo>
                          <a:lnTo>
                            <a:pt x="390" y="318"/>
                          </a:lnTo>
                          <a:lnTo>
                            <a:pt x="393" y="306"/>
                          </a:lnTo>
                          <a:lnTo>
                            <a:pt x="390" y="295"/>
                          </a:lnTo>
                          <a:lnTo>
                            <a:pt x="386" y="283"/>
                          </a:lnTo>
                          <a:lnTo>
                            <a:pt x="376" y="273"/>
                          </a:lnTo>
                          <a:lnTo>
                            <a:pt x="364" y="261"/>
                          </a:lnTo>
                          <a:lnTo>
                            <a:pt x="389" y="227"/>
                          </a:lnTo>
                          <a:lnTo>
                            <a:pt x="409" y="192"/>
                          </a:lnTo>
                          <a:lnTo>
                            <a:pt x="420" y="170"/>
                          </a:lnTo>
                          <a:lnTo>
                            <a:pt x="428" y="153"/>
                          </a:lnTo>
                          <a:lnTo>
                            <a:pt x="432" y="139"/>
                          </a:lnTo>
                          <a:lnTo>
                            <a:pt x="432" y="128"/>
                          </a:lnTo>
                          <a:lnTo>
                            <a:pt x="426" y="118"/>
                          </a:lnTo>
                          <a:lnTo>
                            <a:pt x="416" y="110"/>
                          </a:lnTo>
                          <a:lnTo>
                            <a:pt x="400" y="102"/>
                          </a:lnTo>
                          <a:lnTo>
                            <a:pt x="378" y="92"/>
                          </a:lnTo>
                          <a:lnTo>
                            <a:pt x="349" y="77"/>
                          </a:lnTo>
                          <a:lnTo>
                            <a:pt x="320" y="68"/>
                          </a:lnTo>
                          <a:lnTo>
                            <a:pt x="322" y="54"/>
                          </a:lnTo>
                          <a:lnTo>
                            <a:pt x="322" y="42"/>
                          </a:lnTo>
                          <a:lnTo>
                            <a:pt x="320" y="32"/>
                          </a:lnTo>
                          <a:lnTo>
                            <a:pt x="315" y="23"/>
                          </a:lnTo>
                          <a:lnTo>
                            <a:pt x="309" y="16"/>
                          </a:lnTo>
                          <a:lnTo>
                            <a:pt x="300" y="10"/>
                          </a:lnTo>
                          <a:lnTo>
                            <a:pt x="291" y="5"/>
                          </a:lnTo>
                          <a:lnTo>
                            <a:pt x="281" y="2"/>
                          </a:lnTo>
                          <a:lnTo>
                            <a:pt x="268" y="0"/>
                          </a:lnTo>
                          <a:lnTo>
                            <a:pt x="256" y="1"/>
                          </a:lnTo>
                          <a:lnTo>
                            <a:pt x="243" y="3"/>
                          </a:lnTo>
                          <a:lnTo>
                            <a:pt x="233" y="8"/>
                          </a:lnTo>
                          <a:lnTo>
                            <a:pt x="222" y="16"/>
                          </a:lnTo>
                          <a:lnTo>
                            <a:pt x="215" y="27"/>
                          </a:lnTo>
                          <a:lnTo>
                            <a:pt x="211" y="42"/>
                          </a:lnTo>
                          <a:lnTo>
                            <a:pt x="208" y="62"/>
                          </a:lnTo>
                          <a:close/>
                        </a:path>
                      </a:pathLst>
                    </a:custGeom>
                    <a:gradFill flip="none" rotWithShape="1">
                      <a:gsLst>
                        <a:gs pos="100000">
                          <a:srgbClr val="E6E6E6"/>
                        </a:gs>
                        <a:gs pos="69000">
                          <a:srgbClr val="E6E6E6">
                            <a:lumMod val="90000"/>
                          </a:srgbClr>
                        </a:gs>
                        <a:gs pos="0">
                          <a:srgbClr val="E6E6E6">
                            <a:lumMod val="75000"/>
                          </a:srgbClr>
                        </a:gs>
                      </a:gsLst>
                      <a:lin ang="0" scaled="1"/>
                      <a:tileRect/>
                    </a:gradFill>
                    <a:ln w="9525" cap="flat" cmpd="sng" algn="ctr">
                      <a:noFill/>
                      <a:prstDash val="solid"/>
                    </a:ln>
                    <a:effectLst>
                      <a:outerShdw blurRad="40000" dist="23000" dir="5400000" rotWithShape="0">
                        <a:srgbClr val="000000">
                          <a:alpha val="35000"/>
                        </a:srgbClr>
                      </a:outerShdw>
                    </a:effectLst>
                  </p:spPr>
                  <p:txBody>
                    <a:bodyPr anchor="ctr"/>
                    <a:lstStyle/>
                    <a:p>
                      <a:pPr algn="ctr" fontAlgn="auto">
                        <a:spcBef>
                          <a:spcPts val="0"/>
                        </a:spcBef>
                        <a:spcAft>
                          <a:spcPts val="0"/>
                        </a:spcAft>
                        <a:defRPr/>
                      </a:pPr>
                      <a:endParaRPr lang="da-DK" kern="0">
                        <a:solidFill>
                          <a:sysClr val="window" lastClr="FFFFFF"/>
                        </a:solidFill>
                        <a:latin typeface="Calibri"/>
                        <a:cs typeface="+mn-cs"/>
                      </a:endParaRPr>
                    </a:p>
                  </p:txBody>
                </p:sp>
                <p:sp>
                  <p:nvSpPr>
                    <p:cNvPr id="179" name="Freeform 131"/>
                    <p:cNvSpPr>
                      <a:spLocks/>
                    </p:cNvSpPr>
                    <p:nvPr/>
                  </p:nvSpPr>
                  <p:spPr bwMode="auto">
                    <a:xfrm>
                      <a:off x="319779" y="3611935"/>
                      <a:ext cx="374853" cy="112580"/>
                    </a:xfrm>
                    <a:custGeom>
                      <a:avLst/>
                      <a:gdLst/>
                      <a:ahLst/>
                      <a:cxnLst>
                        <a:cxn ang="0">
                          <a:pos x="13" y="8"/>
                        </a:cxn>
                        <a:cxn ang="0">
                          <a:pos x="0" y="22"/>
                        </a:cxn>
                        <a:cxn ang="0">
                          <a:pos x="8" y="43"/>
                        </a:cxn>
                        <a:cxn ang="0">
                          <a:pos x="28" y="49"/>
                        </a:cxn>
                        <a:cxn ang="0">
                          <a:pos x="53" y="54"/>
                        </a:cxn>
                        <a:cxn ang="0">
                          <a:pos x="81" y="58"/>
                        </a:cxn>
                        <a:cxn ang="0">
                          <a:pos x="108" y="56"/>
                        </a:cxn>
                        <a:cxn ang="0">
                          <a:pos x="135" y="53"/>
                        </a:cxn>
                        <a:cxn ang="0">
                          <a:pos x="159" y="46"/>
                        </a:cxn>
                        <a:cxn ang="0">
                          <a:pos x="176" y="33"/>
                        </a:cxn>
                        <a:cxn ang="0">
                          <a:pos x="185" y="16"/>
                        </a:cxn>
                        <a:cxn ang="0">
                          <a:pos x="160" y="6"/>
                        </a:cxn>
                        <a:cxn ang="0">
                          <a:pos x="144" y="0"/>
                        </a:cxn>
                        <a:cxn ang="0">
                          <a:pos x="139" y="15"/>
                        </a:cxn>
                        <a:cxn ang="0">
                          <a:pos x="127" y="24"/>
                        </a:cxn>
                        <a:cxn ang="0">
                          <a:pos x="109" y="29"/>
                        </a:cxn>
                        <a:cxn ang="0">
                          <a:pos x="89" y="29"/>
                        </a:cxn>
                        <a:cxn ang="0">
                          <a:pos x="68" y="25"/>
                        </a:cxn>
                        <a:cxn ang="0">
                          <a:pos x="51" y="20"/>
                        </a:cxn>
                        <a:cxn ang="0">
                          <a:pos x="38" y="11"/>
                        </a:cxn>
                        <a:cxn ang="0">
                          <a:pos x="33" y="1"/>
                        </a:cxn>
                        <a:cxn ang="0">
                          <a:pos x="13" y="8"/>
                        </a:cxn>
                      </a:cxnLst>
                      <a:rect l="0" t="0" r="r" b="b"/>
                      <a:pathLst>
                        <a:path w="185" h="58">
                          <a:moveTo>
                            <a:pt x="13" y="8"/>
                          </a:moveTo>
                          <a:lnTo>
                            <a:pt x="0" y="22"/>
                          </a:lnTo>
                          <a:lnTo>
                            <a:pt x="8" y="43"/>
                          </a:lnTo>
                          <a:lnTo>
                            <a:pt x="28" y="49"/>
                          </a:lnTo>
                          <a:lnTo>
                            <a:pt x="53" y="54"/>
                          </a:lnTo>
                          <a:lnTo>
                            <a:pt x="81" y="58"/>
                          </a:lnTo>
                          <a:lnTo>
                            <a:pt x="108" y="56"/>
                          </a:lnTo>
                          <a:lnTo>
                            <a:pt x="135" y="53"/>
                          </a:lnTo>
                          <a:lnTo>
                            <a:pt x="159" y="46"/>
                          </a:lnTo>
                          <a:lnTo>
                            <a:pt x="176" y="33"/>
                          </a:lnTo>
                          <a:lnTo>
                            <a:pt x="185" y="16"/>
                          </a:lnTo>
                          <a:lnTo>
                            <a:pt x="160" y="6"/>
                          </a:lnTo>
                          <a:lnTo>
                            <a:pt x="144" y="0"/>
                          </a:lnTo>
                          <a:lnTo>
                            <a:pt x="139" y="15"/>
                          </a:lnTo>
                          <a:lnTo>
                            <a:pt x="127" y="24"/>
                          </a:lnTo>
                          <a:lnTo>
                            <a:pt x="109" y="29"/>
                          </a:lnTo>
                          <a:lnTo>
                            <a:pt x="89" y="29"/>
                          </a:lnTo>
                          <a:lnTo>
                            <a:pt x="68" y="25"/>
                          </a:lnTo>
                          <a:lnTo>
                            <a:pt x="51" y="20"/>
                          </a:lnTo>
                          <a:lnTo>
                            <a:pt x="38" y="11"/>
                          </a:lnTo>
                          <a:lnTo>
                            <a:pt x="33" y="1"/>
                          </a:lnTo>
                          <a:lnTo>
                            <a:pt x="13" y="8"/>
                          </a:lnTo>
                          <a:close/>
                        </a:path>
                      </a:pathLst>
                    </a:custGeom>
                    <a:solidFill>
                      <a:srgbClr val="E6E6E6">
                        <a:lumMod val="10000"/>
                      </a:srgbClr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pPr fontAlgn="auto">
                        <a:spcBef>
                          <a:spcPts val="0"/>
                        </a:spcBef>
                        <a:spcAft>
                          <a:spcPts val="0"/>
                        </a:spcAft>
                        <a:defRPr/>
                      </a:pPr>
                      <a:endParaRPr lang="da-DK" kern="0">
                        <a:solidFill>
                          <a:sysClr val="windowText" lastClr="000000"/>
                        </a:solidFill>
                        <a:latin typeface="+mn-lt"/>
                        <a:ea typeface="ＭＳ Ｐゴシック" pitchFamily="-97" charset="-128"/>
                        <a:cs typeface="+mn-cs"/>
                      </a:endParaRPr>
                    </a:p>
                  </p:txBody>
                </p:sp>
                <p:sp>
                  <p:nvSpPr>
                    <p:cNvPr id="180" name="Freeform 132"/>
                    <p:cNvSpPr>
                      <a:spLocks/>
                    </p:cNvSpPr>
                    <p:nvPr/>
                  </p:nvSpPr>
                  <p:spPr bwMode="auto">
                    <a:xfrm>
                      <a:off x="194828" y="3686981"/>
                      <a:ext cx="624755" cy="187626"/>
                    </a:xfrm>
                    <a:custGeom>
                      <a:avLst/>
                      <a:gdLst/>
                      <a:ahLst/>
                      <a:cxnLst>
                        <a:cxn ang="0">
                          <a:pos x="32" y="10"/>
                        </a:cxn>
                        <a:cxn ang="0">
                          <a:pos x="1" y="26"/>
                        </a:cxn>
                        <a:cxn ang="0">
                          <a:pos x="0" y="43"/>
                        </a:cxn>
                        <a:cxn ang="0">
                          <a:pos x="3" y="60"/>
                        </a:cxn>
                        <a:cxn ang="0">
                          <a:pos x="14" y="71"/>
                        </a:cxn>
                        <a:cxn ang="0">
                          <a:pos x="27" y="81"/>
                        </a:cxn>
                        <a:cxn ang="0">
                          <a:pos x="46" y="90"/>
                        </a:cxn>
                        <a:cxn ang="0">
                          <a:pos x="67" y="95"/>
                        </a:cxn>
                        <a:cxn ang="0">
                          <a:pos x="91" y="100"/>
                        </a:cxn>
                        <a:cxn ang="0">
                          <a:pos x="117" y="102"/>
                        </a:cxn>
                        <a:cxn ang="0">
                          <a:pos x="144" y="102"/>
                        </a:cxn>
                        <a:cxn ang="0">
                          <a:pos x="171" y="102"/>
                        </a:cxn>
                        <a:cxn ang="0">
                          <a:pos x="199" y="100"/>
                        </a:cxn>
                        <a:cxn ang="0">
                          <a:pos x="225" y="98"/>
                        </a:cxn>
                        <a:cxn ang="0">
                          <a:pos x="251" y="94"/>
                        </a:cxn>
                        <a:cxn ang="0">
                          <a:pos x="273" y="90"/>
                        </a:cxn>
                        <a:cxn ang="0">
                          <a:pos x="292" y="85"/>
                        </a:cxn>
                        <a:cxn ang="0">
                          <a:pos x="308" y="79"/>
                        </a:cxn>
                        <a:cxn ang="0">
                          <a:pos x="319" y="71"/>
                        </a:cxn>
                        <a:cxn ang="0">
                          <a:pos x="326" y="61"/>
                        </a:cxn>
                        <a:cxn ang="0">
                          <a:pos x="329" y="50"/>
                        </a:cxn>
                        <a:cxn ang="0">
                          <a:pos x="329" y="39"/>
                        </a:cxn>
                        <a:cxn ang="0">
                          <a:pos x="325" y="28"/>
                        </a:cxn>
                        <a:cxn ang="0">
                          <a:pos x="316" y="18"/>
                        </a:cxn>
                        <a:cxn ang="0">
                          <a:pos x="303" y="8"/>
                        </a:cxn>
                        <a:cxn ang="0">
                          <a:pos x="285" y="0"/>
                        </a:cxn>
                        <a:cxn ang="0">
                          <a:pos x="269" y="18"/>
                        </a:cxn>
                        <a:cxn ang="0">
                          <a:pos x="252" y="31"/>
                        </a:cxn>
                        <a:cxn ang="0">
                          <a:pos x="234" y="39"/>
                        </a:cxn>
                        <a:cxn ang="0">
                          <a:pos x="215" y="43"/>
                        </a:cxn>
                        <a:cxn ang="0">
                          <a:pos x="194" y="45"/>
                        </a:cxn>
                        <a:cxn ang="0">
                          <a:pos x="173" y="43"/>
                        </a:cxn>
                        <a:cxn ang="0">
                          <a:pos x="148" y="41"/>
                        </a:cxn>
                        <a:cxn ang="0">
                          <a:pos x="122" y="40"/>
                        </a:cxn>
                        <a:cxn ang="0">
                          <a:pos x="67" y="30"/>
                        </a:cxn>
                        <a:cxn ang="0">
                          <a:pos x="49" y="3"/>
                        </a:cxn>
                        <a:cxn ang="0">
                          <a:pos x="32" y="10"/>
                        </a:cxn>
                      </a:cxnLst>
                      <a:rect l="0" t="0" r="r" b="b"/>
                      <a:pathLst>
                        <a:path w="329" h="102">
                          <a:moveTo>
                            <a:pt x="32" y="10"/>
                          </a:moveTo>
                          <a:lnTo>
                            <a:pt x="1" y="26"/>
                          </a:lnTo>
                          <a:lnTo>
                            <a:pt x="0" y="43"/>
                          </a:lnTo>
                          <a:lnTo>
                            <a:pt x="3" y="60"/>
                          </a:lnTo>
                          <a:lnTo>
                            <a:pt x="14" y="71"/>
                          </a:lnTo>
                          <a:lnTo>
                            <a:pt x="27" y="81"/>
                          </a:lnTo>
                          <a:lnTo>
                            <a:pt x="46" y="90"/>
                          </a:lnTo>
                          <a:lnTo>
                            <a:pt x="67" y="95"/>
                          </a:lnTo>
                          <a:lnTo>
                            <a:pt x="91" y="100"/>
                          </a:lnTo>
                          <a:lnTo>
                            <a:pt x="117" y="102"/>
                          </a:lnTo>
                          <a:lnTo>
                            <a:pt x="144" y="102"/>
                          </a:lnTo>
                          <a:lnTo>
                            <a:pt x="171" y="102"/>
                          </a:lnTo>
                          <a:lnTo>
                            <a:pt x="199" y="100"/>
                          </a:lnTo>
                          <a:lnTo>
                            <a:pt x="225" y="98"/>
                          </a:lnTo>
                          <a:lnTo>
                            <a:pt x="251" y="94"/>
                          </a:lnTo>
                          <a:lnTo>
                            <a:pt x="273" y="90"/>
                          </a:lnTo>
                          <a:lnTo>
                            <a:pt x="292" y="85"/>
                          </a:lnTo>
                          <a:lnTo>
                            <a:pt x="308" y="79"/>
                          </a:lnTo>
                          <a:lnTo>
                            <a:pt x="319" y="71"/>
                          </a:lnTo>
                          <a:lnTo>
                            <a:pt x="326" y="61"/>
                          </a:lnTo>
                          <a:lnTo>
                            <a:pt x="329" y="50"/>
                          </a:lnTo>
                          <a:lnTo>
                            <a:pt x="329" y="39"/>
                          </a:lnTo>
                          <a:lnTo>
                            <a:pt x="325" y="28"/>
                          </a:lnTo>
                          <a:lnTo>
                            <a:pt x="316" y="18"/>
                          </a:lnTo>
                          <a:lnTo>
                            <a:pt x="303" y="8"/>
                          </a:lnTo>
                          <a:lnTo>
                            <a:pt x="285" y="0"/>
                          </a:lnTo>
                          <a:lnTo>
                            <a:pt x="269" y="18"/>
                          </a:lnTo>
                          <a:lnTo>
                            <a:pt x="252" y="31"/>
                          </a:lnTo>
                          <a:lnTo>
                            <a:pt x="234" y="39"/>
                          </a:lnTo>
                          <a:lnTo>
                            <a:pt x="215" y="43"/>
                          </a:lnTo>
                          <a:lnTo>
                            <a:pt x="194" y="45"/>
                          </a:lnTo>
                          <a:lnTo>
                            <a:pt x="173" y="43"/>
                          </a:lnTo>
                          <a:lnTo>
                            <a:pt x="148" y="41"/>
                          </a:lnTo>
                          <a:lnTo>
                            <a:pt x="122" y="40"/>
                          </a:lnTo>
                          <a:lnTo>
                            <a:pt x="67" y="30"/>
                          </a:lnTo>
                          <a:lnTo>
                            <a:pt x="49" y="3"/>
                          </a:lnTo>
                          <a:lnTo>
                            <a:pt x="32" y="10"/>
                          </a:lnTo>
                          <a:close/>
                        </a:path>
                      </a:pathLst>
                    </a:custGeom>
                    <a:solidFill>
                      <a:srgbClr val="E6E6E6">
                        <a:lumMod val="10000"/>
                      </a:srgbClr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pPr fontAlgn="auto">
                        <a:spcBef>
                          <a:spcPts val="0"/>
                        </a:spcBef>
                        <a:spcAft>
                          <a:spcPts val="0"/>
                        </a:spcAft>
                        <a:defRPr/>
                      </a:pPr>
                      <a:endParaRPr lang="da-DK" kern="0">
                        <a:solidFill>
                          <a:sysClr val="windowText" lastClr="000000"/>
                        </a:solidFill>
                        <a:latin typeface="+mn-lt"/>
                        <a:ea typeface="ＭＳ Ｐゴシック" pitchFamily="-97" charset="-128"/>
                        <a:cs typeface="+mn-cs"/>
                      </a:endParaRPr>
                    </a:p>
                  </p:txBody>
                </p:sp>
                <p:sp>
                  <p:nvSpPr>
                    <p:cNvPr id="181" name="Freeform 133"/>
                    <p:cNvSpPr>
                      <a:spLocks/>
                    </p:cNvSpPr>
                    <p:nvPr/>
                  </p:nvSpPr>
                  <p:spPr bwMode="auto">
                    <a:xfrm>
                      <a:off x="319779" y="4099743"/>
                      <a:ext cx="374853" cy="75046"/>
                    </a:xfrm>
                    <a:custGeom>
                      <a:avLst/>
                      <a:gdLst/>
                      <a:ahLst/>
                      <a:cxnLst>
                        <a:cxn ang="0">
                          <a:pos x="12" y="0"/>
                        </a:cxn>
                        <a:cxn ang="0">
                          <a:pos x="24" y="6"/>
                        </a:cxn>
                        <a:cxn ang="0">
                          <a:pos x="35" y="12"/>
                        </a:cxn>
                        <a:cxn ang="0">
                          <a:pos x="47" y="15"/>
                        </a:cxn>
                        <a:cxn ang="0">
                          <a:pos x="58" y="17"/>
                        </a:cxn>
                        <a:cxn ang="0">
                          <a:pos x="70" y="20"/>
                        </a:cxn>
                        <a:cxn ang="0">
                          <a:pos x="82" y="21"/>
                        </a:cxn>
                        <a:cxn ang="0">
                          <a:pos x="94" y="22"/>
                        </a:cxn>
                        <a:cxn ang="0">
                          <a:pos x="106" y="21"/>
                        </a:cxn>
                        <a:cxn ang="0">
                          <a:pos x="119" y="20"/>
                        </a:cxn>
                        <a:cxn ang="0">
                          <a:pos x="131" y="19"/>
                        </a:cxn>
                        <a:cxn ang="0">
                          <a:pos x="143" y="16"/>
                        </a:cxn>
                        <a:cxn ang="0">
                          <a:pos x="156" y="14"/>
                        </a:cxn>
                        <a:cxn ang="0">
                          <a:pos x="167" y="12"/>
                        </a:cxn>
                        <a:cxn ang="0">
                          <a:pos x="180" y="8"/>
                        </a:cxn>
                        <a:cxn ang="0">
                          <a:pos x="192" y="6"/>
                        </a:cxn>
                        <a:cxn ang="0">
                          <a:pos x="204" y="2"/>
                        </a:cxn>
                        <a:cxn ang="0">
                          <a:pos x="204" y="14"/>
                        </a:cxn>
                        <a:cxn ang="0">
                          <a:pos x="196" y="17"/>
                        </a:cxn>
                        <a:cxn ang="0">
                          <a:pos x="188" y="21"/>
                        </a:cxn>
                        <a:cxn ang="0">
                          <a:pos x="178" y="24"/>
                        </a:cxn>
                        <a:cxn ang="0">
                          <a:pos x="167" y="27"/>
                        </a:cxn>
                        <a:cxn ang="0">
                          <a:pos x="155" y="30"/>
                        </a:cxn>
                        <a:cxn ang="0">
                          <a:pos x="143" y="32"/>
                        </a:cxn>
                        <a:cxn ang="0">
                          <a:pos x="129" y="35"/>
                        </a:cxn>
                        <a:cxn ang="0">
                          <a:pos x="117" y="37"/>
                        </a:cxn>
                        <a:cxn ang="0">
                          <a:pos x="102" y="37"/>
                        </a:cxn>
                        <a:cxn ang="0">
                          <a:pos x="88" y="37"/>
                        </a:cxn>
                        <a:cxn ang="0">
                          <a:pos x="73" y="36"/>
                        </a:cxn>
                        <a:cxn ang="0">
                          <a:pos x="58" y="34"/>
                        </a:cxn>
                        <a:cxn ang="0">
                          <a:pos x="44" y="29"/>
                        </a:cxn>
                        <a:cxn ang="0">
                          <a:pos x="29" y="24"/>
                        </a:cxn>
                        <a:cxn ang="0">
                          <a:pos x="14" y="17"/>
                        </a:cxn>
                        <a:cxn ang="0">
                          <a:pos x="0" y="8"/>
                        </a:cxn>
                        <a:cxn ang="0">
                          <a:pos x="12" y="0"/>
                        </a:cxn>
                      </a:cxnLst>
                      <a:rect l="0" t="0" r="r" b="b"/>
                      <a:pathLst>
                        <a:path w="204" h="37">
                          <a:moveTo>
                            <a:pt x="12" y="0"/>
                          </a:moveTo>
                          <a:lnTo>
                            <a:pt x="24" y="6"/>
                          </a:lnTo>
                          <a:lnTo>
                            <a:pt x="35" y="12"/>
                          </a:lnTo>
                          <a:lnTo>
                            <a:pt x="47" y="15"/>
                          </a:lnTo>
                          <a:lnTo>
                            <a:pt x="58" y="17"/>
                          </a:lnTo>
                          <a:lnTo>
                            <a:pt x="70" y="20"/>
                          </a:lnTo>
                          <a:lnTo>
                            <a:pt x="82" y="21"/>
                          </a:lnTo>
                          <a:lnTo>
                            <a:pt x="94" y="22"/>
                          </a:lnTo>
                          <a:lnTo>
                            <a:pt x="106" y="21"/>
                          </a:lnTo>
                          <a:lnTo>
                            <a:pt x="119" y="20"/>
                          </a:lnTo>
                          <a:lnTo>
                            <a:pt x="131" y="19"/>
                          </a:lnTo>
                          <a:lnTo>
                            <a:pt x="143" y="16"/>
                          </a:lnTo>
                          <a:lnTo>
                            <a:pt x="156" y="14"/>
                          </a:lnTo>
                          <a:lnTo>
                            <a:pt x="167" y="12"/>
                          </a:lnTo>
                          <a:lnTo>
                            <a:pt x="180" y="8"/>
                          </a:lnTo>
                          <a:lnTo>
                            <a:pt x="192" y="6"/>
                          </a:lnTo>
                          <a:lnTo>
                            <a:pt x="204" y="2"/>
                          </a:lnTo>
                          <a:lnTo>
                            <a:pt x="204" y="14"/>
                          </a:lnTo>
                          <a:lnTo>
                            <a:pt x="196" y="17"/>
                          </a:lnTo>
                          <a:lnTo>
                            <a:pt x="188" y="21"/>
                          </a:lnTo>
                          <a:lnTo>
                            <a:pt x="178" y="24"/>
                          </a:lnTo>
                          <a:lnTo>
                            <a:pt x="167" y="27"/>
                          </a:lnTo>
                          <a:lnTo>
                            <a:pt x="155" y="30"/>
                          </a:lnTo>
                          <a:lnTo>
                            <a:pt x="143" y="32"/>
                          </a:lnTo>
                          <a:lnTo>
                            <a:pt x="129" y="35"/>
                          </a:lnTo>
                          <a:lnTo>
                            <a:pt x="117" y="37"/>
                          </a:lnTo>
                          <a:lnTo>
                            <a:pt x="102" y="37"/>
                          </a:lnTo>
                          <a:lnTo>
                            <a:pt x="88" y="37"/>
                          </a:lnTo>
                          <a:lnTo>
                            <a:pt x="73" y="36"/>
                          </a:lnTo>
                          <a:lnTo>
                            <a:pt x="58" y="34"/>
                          </a:lnTo>
                          <a:lnTo>
                            <a:pt x="44" y="29"/>
                          </a:lnTo>
                          <a:lnTo>
                            <a:pt x="29" y="24"/>
                          </a:lnTo>
                          <a:lnTo>
                            <a:pt x="14" y="17"/>
                          </a:lnTo>
                          <a:lnTo>
                            <a:pt x="0" y="8"/>
                          </a:lnTo>
                          <a:lnTo>
                            <a:pt x="12" y="0"/>
                          </a:lnTo>
                          <a:close/>
                        </a:path>
                      </a:pathLst>
                    </a:custGeom>
                    <a:solidFill>
                      <a:srgbClr val="E6E6E6">
                        <a:lumMod val="90000"/>
                      </a:srgbClr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pPr fontAlgn="auto">
                        <a:spcBef>
                          <a:spcPts val="0"/>
                        </a:spcBef>
                        <a:spcAft>
                          <a:spcPts val="0"/>
                        </a:spcAft>
                        <a:defRPr/>
                      </a:pPr>
                      <a:endParaRPr lang="da-DK" kern="0">
                        <a:solidFill>
                          <a:sysClr val="windowText" lastClr="000000"/>
                        </a:solidFill>
                        <a:latin typeface="+mn-lt"/>
                        <a:ea typeface="ＭＳ Ｐゴシック" pitchFamily="-97" charset="-128"/>
                        <a:cs typeface="+mn-cs"/>
                      </a:endParaRPr>
                    </a:p>
                  </p:txBody>
                </p:sp>
                <p:sp>
                  <p:nvSpPr>
                    <p:cNvPr id="182" name="Freeform 135"/>
                    <p:cNvSpPr>
                      <a:spLocks/>
                    </p:cNvSpPr>
                    <p:nvPr/>
                  </p:nvSpPr>
                  <p:spPr bwMode="auto">
                    <a:xfrm>
                      <a:off x="163581" y="4174789"/>
                      <a:ext cx="687231" cy="187602"/>
                    </a:xfrm>
                    <a:custGeom>
                      <a:avLst/>
                      <a:gdLst/>
                      <a:ahLst/>
                      <a:cxnLst>
                        <a:cxn ang="0">
                          <a:pos x="40" y="0"/>
                        </a:cxn>
                        <a:cxn ang="0">
                          <a:pos x="19" y="9"/>
                        </a:cxn>
                        <a:cxn ang="0">
                          <a:pos x="6" y="20"/>
                        </a:cxn>
                        <a:cxn ang="0">
                          <a:pos x="0" y="30"/>
                        </a:cxn>
                        <a:cxn ang="0">
                          <a:pos x="0" y="42"/>
                        </a:cxn>
                        <a:cxn ang="0">
                          <a:pos x="7" y="53"/>
                        </a:cxn>
                        <a:cxn ang="0">
                          <a:pos x="17" y="65"/>
                        </a:cxn>
                        <a:cxn ang="0">
                          <a:pos x="32" y="75"/>
                        </a:cxn>
                        <a:cxn ang="0">
                          <a:pos x="50" y="85"/>
                        </a:cxn>
                        <a:cxn ang="0">
                          <a:pos x="66" y="89"/>
                        </a:cxn>
                        <a:cxn ang="0">
                          <a:pos x="82" y="92"/>
                        </a:cxn>
                        <a:cxn ang="0">
                          <a:pos x="97" y="95"/>
                        </a:cxn>
                        <a:cxn ang="0">
                          <a:pos x="113" y="96"/>
                        </a:cxn>
                        <a:cxn ang="0">
                          <a:pos x="128" y="98"/>
                        </a:cxn>
                        <a:cxn ang="0">
                          <a:pos x="144" y="99"/>
                        </a:cxn>
                        <a:cxn ang="0">
                          <a:pos x="159" y="99"/>
                        </a:cxn>
                        <a:cxn ang="0">
                          <a:pos x="174" y="100"/>
                        </a:cxn>
                        <a:cxn ang="0">
                          <a:pos x="189" y="100"/>
                        </a:cxn>
                        <a:cxn ang="0">
                          <a:pos x="205" y="100"/>
                        </a:cxn>
                        <a:cxn ang="0">
                          <a:pos x="220" y="99"/>
                        </a:cxn>
                        <a:cxn ang="0">
                          <a:pos x="236" y="99"/>
                        </a:cxn>
                        <a:cxn ang="0">
                          <a:pos x="251" y="98"/>
                        </a:cxn>
                        <a:cxn ang="0">
                          <a:pos x="267" y="97"/>
                        </a:cxn>
                        <a:cxn ang="0">
                          <a:pos x="284" y="95"/>
                        </a:cxn>
                        <a:cxn ang="0">
                          <a:pos x="300" y="94"/>
                        </a:cxn>
                        <a:cxn ang="0">
                          <a:pos x="323" y="81"/>
                        </a:cxn>
                        <a:cxn ang="0">
                          <a:pos x="339" y="68"/>
                        </a:cxn>
                        <a:cxn ang="0">
                          <a:pos x="349" y="56"/>
                        </a:cxn>
                        <a:cxn ang="0">
                          <a:pos x="351" y="43"/>
                        </a:cxn>
                        <a:cxn ang="0">
                          <a:pos x="348" y="31"/>
                        </a:cxn>
                        <a:cxn ang="0">
                          <a:pos x="338" y="21"/>
                        </a:cxn>
                        <a:cxn ang="0">
                          <a:pos x="320" y="12"/>
                        </a:cxn>
                        <a:cxn ang="0">
                          <a:pos x="296" y="5"/>
                        </a:cxn>
                        <a:cxn ang="0">
                          <a:pos x="298" y="15"/>
                        </a:cxn>
                        <a:cxn ang="0">
                          <a:pos x="294" y="23"/>
                        </a:cxn>
                        <a:cxn ang="0">
                          <a:pos x="284" y="30"/>
                        </a:cxn>
                        <a:cxn ang="0">
                          <a:pos x="272" y="37"/>
                        </a:cxn>
                        <a:cxn ang="0">
                          <a:pos x="258" y="38"/>
                        </a:cxn>
                        <a:cxn ang="0">
                          <a:pos x="245" y="39"/>
                        </a:cxn>
                        <a:cxn ang="0">
                          <a:pos x="234" y="41"/>
                        </a:cxn>
                        <a:cxn ang="0">
                          <a:pos x="222" y="42"/>
                        </a:cxn>
                        <a:cxn ang="0">
                          <a:pos x="211" y="43"/>
                        </a:cxn>
                        <a:cxn ang="0">
                          <a:pos x="199" y="43"/>
                        </a:cxn>
                        <a:cxn ang="0">
                          <a:pos x="188" y="44"/>
                        </a:cxn>
                        <a:cxn ang="0">
                          <a:pos x="178" y="44"/>
                        </a:cxn>
                        <a:cxn ang="0">
                          <a:pos x="166" y="44"/>
                        </a:cxn>
                        <a:cxn ang="0">
                          <a:pos x="155" y="44"/>
                        </a:cxn>
                        <a:cxn ang="0">
                          <a:pos x="143" y="44"/>
                        </a:cxn>
                        <a:cxn ang="0">
                          <a:pos x="133" y="43"/>
                        </a:cxn>
                        <a:cxn ang="0">
                          <a:pos x="120" y="42"/>
                        </a:cxn>
                        <a:cxn ang="0">
                          <a:pos x="108" y="41"/>
                        </a:cxn>
                        <a:cxn ang="0">
                          <a:pos x="96" y="39"/>
                        </a:cxn>
                        <a:cxn ang="0">
                          <a:pos x="82" y="37"/>
                        </a:cxn>
                        <a:cxn ang="0">
                          <a:pos x="73" y="32"/>
                        </a:cxn>
                        <a:cxn ang="0">
                          <a:pos x="65" y="28"/>
                        </a:cxn>
                        <a:cxn ang="0">
                          <a:pos x="58" y="23"/>
                        </a:cxn>
                        <a:cxn ang="0">
                          <a:pos x="52" y="19"/>
                        </a:cxn>
                        <a:cxn ang="0">
                          <a:pos x="47" y="14"/>
                        </a:cxn>
                        <a:cxn ang="0">
                          <a:pos x="44" y="11"/>
                        </a:cxn>
                        <a:cxn ang="0">
                          <a:pos x="42" y="5"/>
                        </a:cxn>
                        <a:cxn ang="0">
                          <a:pos x="40" y="0"/>
                        </a:cxn>
                      </a:cxnLst>
                      <a:rect l="0" t="0" r="r" b="b"/>
                      <a:pathLst>
                        <a:path w="351" h="100">
                          <a:moveTo>
                            <a:pt x="40" y="0"/>
                          </a:moveTo>
                          <a:lnTo>
                            <a:pt x="19" y="9"/>
                          </a:lnTo>
                          <a:lnTo>
                            <a:pt x="6" y="20"/>
                          </a:lnTo>
                          <a:lnTo>
                            <a:pt x="0" y="30"/>
                          </a:lnTo>
                          <a:lnTo>
                            <a:pt x="0" y="42"/>
                          </a:lnTo>
                          <a:lnTo>
                            <a:pt x="7" y="53"/>
                          </a:lnTo>
                          <a:lnTo>
                            <a:pt x="17" y="65"/>
                          </a:lnTo>
                          <a:lnTo>
                            <a:pt x="32" y="75"/>
                          </a:lnTo>
                          <a:lnTo>
                            <a:pt x="50" y="85"/>
                          </a:lnTo>
                          <a:lnTo>
                            <a:pt x="66" y="89"/>
                          </a:lnTo>
                          <a:lnTo>
                            <a:pt x="82" y="92"/>
                          </a:lnTo>
                          <a:lnTo>
                            <a:pt x="97" y="95"/>
                          </a:lnTo>
                          <a:lnTo>
                            <a:pt x="113" y="96"/>
                          </a:lnTo>
                          <a:lnTo>
                            <a:pt x="128" y="98"/>
                          </a:lnTo>
                          <a:lnTo>
                            <a:pt x="144" y="99"/>
                          </a:lnTo>
                          <a:lnTo>
                            <a:pt x="159" y="99"/>
                          </a:lnTo>
                          <a:lnTo>
                            <a:pt x="174" y="100"/>
                          </a:lnTo>
                          <a:lnTo>
                            <a:pt x="189" y="100"/>
                          </a:lnTo>
                          <a:lnTo>
                            <a:pt x="205" y="100"/>
                          </a:lnTo>
                          <a:lnTo>
                            <a:pt x="220" y="99"/>
                          </a:lnTo>
                          <a:lnTo>
                            <a:pt x="236" y="99"/>
                          </a:lnTo>
                          <a:lnTo>
                            <a:pt x="251" y="98"/>
                          </a:lnTo>
                          <a:lnTo>
                            <a:pt x="267" y="97"/>
                          </a:lnTo>
                          <a:lnTo>
                            <a:pt x="284" y="95"/>
                          </a:lnTo>
                          <a:lnTo>
                            <a:pt x="300" y="94"/>
                          </a:lnTo>
                          <a:lnTo>
                            <a:pt x="323" y="81"/>
                          </a:lnTo>
                          <a:lnTo>
                            <a:pt x="339" y="68"/>
                          </a:lnTo>
                          <a:lnTo>
                            <a:pt x="349" y="56"/>
                          </a:lnTo>
                          <a:lnTo>
                            <a:pt x="351" y="43"/>
                          </a:lnTo>
                          <a:lnTo>
                            <a:pt x="348" y="31"/>
                          </a:lnTo>
                          <a:lnTo>
                            <a:pt x="338" y="21"/>
                          </a:lnTo>
                          <a:lnTo>
                            <a:pt x="320" y="12"/>
                          </a:lnTo>
                          <a:lnTo>
                            <a:pt x="296" y="5"/>
                          </a:lnTo>
                          <a:lnTo>
                            <a:pt x="298" y="15"/>
                          </a:lnTo>
                          <a:lnTo>
                            <a:pt x="294" y="23"/>
                          </a:lnTo>
                          <a:lnTo>
                            <a:pt x="284" y="30"/>
                          </a:lnTo>
                          <a:lnTo>
                            <a:pt x="272" y="37"/>
                          </a:lnTo>
                          <a:lnTo>
                            <a:pt x="258" y="38"/>
                          </a:lnTo>
                          <a:lnTo>
                            <a:pt x="245" y="39"/>
                          </a:lnTo>
                          <a:lnTo>
                            <a:pt x="234" y="41"/>
                          </a:lnTo>
                          <a:lnTo>
                            <a:pt x="222" y="42"/>
                          </a:lnTo>
                          <a:lnTo>
                            <a:pt x="211" y="43"/>
                          </a:lnTo>
                          <a:lnTo>
                            <a:pt x="199" y="43"/>
                          </a:lnTo>
                          <a:lnTo>
                            <a:pt x="188" y="44"/>
                          </a:lnTo>
                          <a:lnTo>
                            <a:pt x="178" y="44"/>
                          </a:lnTo>
                          <a:lnTo>
                            <a:pt x="166" y="44"/>
                          </a:lnTo>
                          <a:lnTo>
                            <a:pt x="155" y="44"/>
                          </a:lnTo>
                          <a:lnTo>
                            <a:pt x="143" y="44"/>
                          </a:lnTo>
                          <a:lnTo>
                            <a:pt x="133" y="43"/>
                          </a:lnTo>
                          <a:lnTo>
                            <a:pt x="120" y="42"/>
                          </a:lnTo>
                          <a:lnTo>
                            <a:pt x="108" y="41"/>
                          </a:lnTo>
                          <a:lnTo>
                            <a:pt x="96" y="39"/>
                          </a:lnTo>
                          <a:lnTo>
                            <a:pt x="82" y="37"/>
                          </a:lnTo>
                          <a:lnTo>
                            <a:pt x="73" y="32"/>
                          </a:lnTo>
                          <a:lnTo>
                            <a:pt x="65" y="28"/>
                          </a:lnTo>
                          <a:lnTo>
                            <a:pt x="58" y="23"/>
                          </a:lnTo>
                          <a:lnTo>
                            <a:pt x="52" y="19"/>
                          </a:lnTo>
                          <a:lnTo>
                            <a:pt x="47" y="14"/>
                          </a:lnTo>
                          <a:lnTo>
                            <a:pt x="44" y="11"/>
                          </a:lnTo>
                          <a:lnTo>
                            <a:pt x="42" y="5"/>
                          </a:lnTo>
                          <a:lnTo>
                            <a:pt x="40" y="0"/>
                          </a:lnTo>
                          <a:close/>
                        </a:path>
                      </a:pathLst>
                    </a:custGeom>
                    <a:solidFill>
                      <a:srgbClr val="E6E6E6">
                        <a:lumMod val="90000"/>
                      </a:srgbClr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pPr fontAlgn="auto">
                        <a:spcBef>
                          <a:spcPts val="0"/>
                        </a:spcBef>
                        <a:spcAft>
                          <a:spcPts val="0"/>
                        </a:spcAft>
                        <a:defRPr/>
                      </a:pPr>
                      <a:endParaRPr lang="da-DK" kern="0">
                        <a:solidFill>
                          <a:sysClr val="windowText" lastClr="000000"/>
                        </a:solidFill>
                        <a:latin typeface="+mn-lt"/>
                        <a:ea typeface="ＭＳ Ｐゴシック" pitchFamily="-97" charset="-128"/>
                        <a:cs typeface="+mn-cs"/>
                      </a:endParaRPr>
                    </a:p>
                  </p:txBody>
                </p:sp>
                <p:sp>
                  <p:nvSpPr>
                    <p:cNvPr id="183" name="Freeform 147"/>
                    <p:cNvSpPr>
                      <a:spLocks/>
                    </p:cNvSpPr>
                    <p:nvPr/>
                  </p:nvSpPr>
                  <p:spPr bwMode="auto">
                    <a:xfrm>
                      <a:off x="101105" y="5037802"/>
                      <a:ext cx="749706" cy="187626"/>
                    </a:xfrm>
                    <a:custGeom>
                      <a:avLst/>
                      <a:gdLst/>
                      <a:ahLst/>
                      <a:cxnLst>
                        <a:cxn ang="0">
                          <a:pos x="24" y="4"/>
                        </a:cxn>
                        <a:cxn ang="0">
                          <a:pos x="68" y="40"/>
                        </a:cxn>
                        <a:cxn ang="0">
                          <a:pos x="89" y="44"/>
                        </a:cxn>
                        <a:cxn ang="0">
                          <a:pos x="108" y="48"/>
                        </a:cxn>
                        <a:cxn ang="0">
                          <a:pos x="127" y="53"/>
                        </a:cxn>
                        <a:cxn ang="0">
                          <a:pos x="144" y="55"/>
                        </a:cxn>
                        <a:cxn ang="0">
                          <a:pos x="160" y="57"/>
                        </a:cxn>
                        <a:cxn ang="0">
                          <a:pos x="176" y="59"/>
                        </a:cxn>
                        <a:cxn ang="0">
                          <a:pos x="192" y="59"/>
                        </a:cxn>
                        <a:cxn ang="0">
                          <a:pos x="207" y="59"/>
                        </a:cxn>
                        <a:cxn ang="0">
                          <a:pos x="222" y="58"/>
                        </a:cxn>
                        <a:cxn ang="0">
                          <a:pos x="237" y="57"/>
                        </a:cxn>
                        <a:cxn ang="0">
                          <a:pos x="253" y="54"/>
                        </a:cxn>
                        <a:cxn ang="0">
                          <a:pos x="270" y="50"/>
                        </a:cxn>
                        <a:cxn ang="0">
                          <a:pos x="286" y="46"/>
                        </a:cxn>
                        <a:cxn ang="0">
                          <a:pos x="304" y="39"/>
                        </a:cxn>
                        <a:cxn ang="0">
                          <a:pos x="323" y="32"/>
                        </a:cxn>
                        <a:cxn ang="0">
                          <a:pos x="342" y="23"/>
                        </a:cxn>
                        <a:cxn ang="0">
                          <a:pos x="348" y="10"/>
                        </a:cxn>
                        <a:cxn ang="0">
                          <a:pos x="352" y="3"/>
                        </a:cxn>
                        <a:cxn ang="0">
                          <a:pos x="356" y="0"/>
                        </a:cxn>
                        <a:cxn ang="0">
                          <a:pos x="359" y="1"/>
                        </a:cxn>
                        <a:cxn ang="0">
                          <a:pos x="363" y="4"/>
                        </a:cxn>
                        <a:cxn ang="0">
                          <a:pos x="367" y="11"/>
                        </a:cxn>
                        <a:cxn ang="0">
                          <a:pos x="374" y="20"/>
                        </a:cxn>
                        <a:cxn ang="0">
                          <a:pos x="382" y="32"/>
                        </a:cxn>
                        <a:cxn ang="0">
                          <a:pos x="366" y="55"/>
                        </a:cxn>
                        <a:cxn ang="0">
                          <a:pos x="349" y="65"/>
                        </a:cxn>
                        <a:cxn ang="0">
                          <a:pos x="329" y="73"/>
                        </a:cxn>
                        <a:cxn ang="0">
                          <a:pos x="310" y="80"/>
                        </a:cxn>
                        <a:cxn ang="0">
                          <a:pos x="288" y="86"/>
                        </a:cxn>
                        <a:cxn ang="0">
                          <a:pos x="266" y="91"/>
                        </a:cxn>
                        <a:cxn ang="0">
                          <a:pos x="243" y="94"/>
                        </a:cxn>
                        <a:cxn ang="0">
                          <a:pos x="219" y="96"/>
                        </a:cxn>
                        <a:cxn ang="0">
                          <a:pos x="196" y="96"/>
                        </a:cxn>
                        <a:cxn ang="0">
                          <a:pos x="172" y="96"/>
                        </a:cxn>
                        <a:cxn ang="0">
                          <a:pos x="147" y="95"/>
                        </a:cxn>
                        <a:cxn ang="0">
                          <a:pos x="124" y="92"/>
                        </a:cxn>
                        <a:cxn ang="0">
                          <a:pos x="101" y="88"/>
                        </a:cxn>
                        <a:cxn ang="0">
                          <a:pos x="78" y="84"/>
                        </a:cxn>
                        <a:cxn ang="0">
                          <a:pos x="58" y="79"/>
                        </a:cxn>
                        <a:cxn ang="0">
                          <a:pos x="37" y="72"/>
                        </a:cxn>
                        <a:cxn ang="0">
                          <a:pos x="18" y="65"/>
                        </a:cxn>
                        <a:cxn ang="0">
                          <a:pos x="12" y="56"/>
                        </a:cxn>
                        <a:cxn ang="0">
                          <a:pos x="6" y="47"/>
                        </a:cxn>
                        <a:cxn ang="0">
                          <a:pos x="2" y="38"/>
                        </a:cxn>
                        <a:cxn ang="0">
                          <a:pos x="0" y="28"/>
                        </a:cxn>
                        <a:cxn ang="0">
                          <a:pos x="0" y="20"/>
                        </a:cxn>
                        <a:cxn ang="0">
                          <a:pos x="5" y="13"/>
                        </a:cxn>
                        <a:cxn ang="0">
                          <a:pos x="12" y="8"/>
                        </a:cxn>
                        <a:cxn ang="0">
                          <a:pos x="24" y="4"/>
                        </a:cxn>
                      </a:cxnLst>
                      <a:rect l="0" t="0" r="r" b="b"/>
                      <a:pathLst>
                        <a:path w="382" h="96">
                          <a:moveTo>
                            <a:pt x="24" y="4"/>
                          </a:moveTo>
                          <a:lnTo>
                            <a:pt x="68" y="40"/>
                          </a:lnTo>
                          <a:lnTo>
                            <a:pt x="89" y="44"/>
                          </a:lnTo>
                          <a:lnTo>
                            <a:pt x="108" y="48"/>
                          </a:lnTo>
                          <a:lnTo>
                            <a:pt x="127" y="53"/>
                          </a:lnTo>
                          <a:lnTo>
                            <a:pt x="144" y="55"/>
                          </a:lnTo>
                          <a:lnTo>
                            <a:pt x="160" y="57"/>
                          </a:lnTo>
                          <a:lnTo>
                            <a:pt x="176" y="59"/>
                          </a:lnTo>
                          <a:lnTo>
                            <a:pt x="192" y="59"/>
                          </a:lnTo>
                          <a:lnTo>
                            <a:pt x="207" y="59"/>
                          </a:lnTo>
                          <a:lnTo>
                            <a:pt x="222" y="58"/>
                          </a:lnTo>
                          <a:lnTo>
                            <a:pt x="237" y="57"/>
                          </a:lnTo>
                          <a:lnTo>
                            <a:pt x="253" y="54"/>
                          </a:lnTo>
                          <a:lnTo>
                            <a:pt x="270" y="50"/>
                          </a:lnTo>
                          <a:lnTo>
                            <a:pt x="286" y="46"/>
                          </a:lnTo>
                          <a:lnTo>
                            <a:pt x="304" y="39"/>
                          </a:lnTo>
                          <a:lnTo>
                            <a:pt x="323" y="32"/>
                          </a:lnTo>
                          <a:lnTo>
                            <a:pt x="342" y="23"/>
                          </a:lnTo>
                          <a:lnTo>
                            <a:pt x="348" y="10"/>
                          </a:lnTo>
                          <a:lnTo>
                            <a:pt x="352" y="3"/>
                          </a:lnTo>
                          <a:lnTo>
                            <a:pt x="356" y="0"/>
                          </a:lnTo>
                          <a:lnTo>
                            <a:pt x="359" y="1"/>
                          </a:lnTo>
                          <a:lnTo>
                            <a:pt x="363" y="4"/>
                          </a:lnTo>
                          <a:lnTo>
                            <a:pt x="367" y="11"/>
                          </a:lnTo>
                          <a:lnTo>
                            <a:pt x="374" y="20"/>
                          </a:lnTo>
                          <a:lnTo>
                            <a:pt x="382" y="32"/>
                          </a:lnTo>
                          <a:lnTo>
                            <a:pt x="366" y="55"/>
                          </a:lnTo>
                          <a:lnTo>
                            <a:pt x="349" y="65"/>
                          </a:lnTo>
                          <a:lnTo>
                            <a:pt x="329" y="73"/>
                          </a:lnTo>
                          <a:lnTo>
                            <a:pt x="310" y="80"/>
                          </a:lnTo>
                          <a:lnTo>
                            <a:pt x="288" y="86"/>
                          </a:lnTo>
                          <a:lnTo>
                            <a:pt x="266" y="91"/>
                          </a:lnTo>
                          <a:lnTo>
                            <a:pt x="243" y="94"/>
                          </a:lnTo>
                          <a:lnTo>
                            <a:pt x="219" y="96"/>
                          </a:lnTo>
                          <a:lnTo>
                            <a:pt x="196" y="96"/>
                          </a:lnTo>
                          <a:lnTo>
                            <a:pt x="172" y="96"/>
                          </a:lnTo>
                          <a:lnTo>
                            <a:pt x="147" y="95"/>
                          </a:lnTo>
                          <a:lnTo>
                            <a:pt x="124" y="92"/>
                          </a:lnTo>
                          <a:lnTo>
                            <a:pt x="101" y="88"/>
                          </a:lnTo>
                          <a:lnTo>
                            <a:pt x="78" y="84"/>
                          </a:lnTo>
                          <a:lnTo>
                            <a:pt x="58" y="79"/>
                          </a:lnTo>
                          <a:lnTo>
                            <a:pt x="37" y="72"/>
                          </a:lnTo>
                          <a:lnTo>
                            <a:pt x="18" y="65"/>
                          </a:lnTo>
                          <a:lnTo>
                            <a:pt x="12" y="56"/>
                          </a:lnTo>
                          <a:lnTo>
                            <a:pt x="6" y="47"/>
                          </a:lnTo>
                          <a:lnTo>
                            <a:pt x="2" y="38"/>
                          </a:lnTo>
                          <a:lnTo>
                            <a:pt x="0" y="28"/>
                          </a:lnTo>
                          <a:lnTo>
                            <a:pt x="0" y="20"/>
                          </a:lnTo>
                          <a:lnTo>
                            <a:pt x="5" y="13"/>
                          </a:lnTo>
                          <a:lnTo>
                            <a:pt x="12" y="8"/>
                          </a:lnTo>
                          <a:lnTo>
                            <a:pt x="24" y="4"/>
                          </a:lnTo>
                          <a:close/>
                        </a:path>
                      </a:pathLst>
                    </a:custGeom>
                    <a:solidFill>
                      <a:srgbClr val="E6E6E6">
                        <a:lumMod val="90000"/>
                      </a:srgbClr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pPr fontAlgn="auto">
                        <a:spcBef>
                          <a:spcPts val="0"/>
                        </a:spcBef>
                        <a:spcAft>
                          <a:spcPts val="0"/>
                        </a:spcAft>
                        <a:defRPr/>
                      </a:pPr>
                      <a:endParaRPr lang="da-DK" kern="0">
                        <a:solidFill>
                          <a:sysClr val="windowText" lastClr="000000"/>
                        </a:solidFill>
                        <a:latin typeface="+mn-lt"/>
                        <a:ea typeface="ＭＳ Ｐゴシック" pitchFamily="-97" charset="-128"/>
                        <a:cs typeface="+mn-cs"/>
                      </a:endParaRPr>
                    </a:p>
                  </p:txBody>
                </p:sp>
                <p:sp>
                  <p:nvSpPr>
                    <p:cNvPr id="184" name="Freeform 148"/>
                    <p:cNvSpPr>
                      <a:spLocks/>
                    </p:cNvSpPr>
                    <p:nvPr/>
                  </p:nvSpPr>
                  <p:spPr bwMode="auto">
                    <a:xfrm>
                      <a:off x="7402" y="5225427"/>
                      <a:ext cx="937133" cy="337693"/>
                    </a:xfrm>
                    <a:custGeom>
                      <a:avLst/>
                      <a:gdLst/>
                      <a:ahLst/>
                      <a:cxnLst>
                        <a:cxn ang="0">
                          <a:pos x="7" y="102"/>
                        </a:cxn>
                        <a:cxn ang="0">
                          <a:pos x="18" y="116"/>
                        </a:cxn>
                        <a:cxn ang="0">
                          <a:pos x="34" y="130"/>
                        </a:cxn>
                        <a:cxn ang="0">
                          <a:pos x="55" y="143"/>
                        </a:cxn>
                        <a:cxn ang="0">
                          <a:pos x="80" y="155"/>
                        </a:cxn>
                        <a:cxn ang="0">
                          <a:pos x="109" y="165"/>
                        </a:cxn>
                        <a:cxn ang="0">
                          <a:pos x="141" y="173"/>
                        </a:cxn>
                        <a:cxn ang="0">
                          <a:pos x="176" y="179"/>
                        </a:cxn>
                        <a:cxn ang="0">
                          <a:pos x="211" y="182"/>
                        </a:cxn>
                        <a:cxn ang="0">
                          <a:pos x="248" y="184"/>
                        </a:cxn>
                        <a:cxn ang="0">
                          <a:pos x="285" y="183"/>
                        </a:cxn>
                        <a:cxn ang="0">
                          <a:pos x="323" y="180"/>
                        </a:cxn>
                        <a:cxn ang="0">
                          <a:pos x="359" y="173"/>
                        </a:cxn>
                        <a:cxn ang="0">
                          <a:pos x="393" y="164"/>
                        </a:cxn>
                        <a:cxn ang="0">
                          <a:pos x="427" y="151"/>
                        </a:cxn>
                        <a:cxn ang="0">
                          <a:pos x="455" y="135"/>
                        </a:cxn>
                        <a:cxn ang="0">
                          <a:pos x="482" y="115"/>
                        </a:cxn>
                        <a:cxn ang="0">
                          <a:pos x="483" y="93"/>
                        </a:cxn>
                        <a:cxn ang="0">
                          <a:pos x="483" y="77"/>
                        </a:cxn>
                        <a:cxn ang="0">
                          <a:pos x="482" y="65"/>
                        </a:cxn>
                        <a:cxn ang="0">
                          <a:pos x="478" y="54"/>
                        </a:cxn>
                        <a:cxn ang="0">
                          <a:pos x="473" y="44"/>
                        </a:cxn>
                        <a:cxn ang="0">
                          <a:pos x="463" y="34"/>
                        </a:cxn>
                        <a:cxn ang="0">
                          <a:pos x="451" y="22"/>
                        </a:cxn>
                        <a:cxn ang="0">
                          <a:pos x="435" y="7"/>
                        </a:cxn>
                        <a:cxn ang="0">
                          <a:pos x="416" y="23"/>
                        </a:cxn>
                        <a:cxn ang="0">
                          <a:pos x="396" y="37"/>
                        </a:cxn>
                        <a:cxn ang="0">
                          <a:pos x="375" y="50"/>
                        </a:cxn>
                        <a:cxn ang="0">
                          <a:pos x="353" y="59"/>
                        </a:cxn>
                        <a:cxn ang="0">
                          <a:pos x="330" y="67"/>
                        </a:cxn>
                        <a:cxn ang="0">
                          <a:pos x="307" y="73"/>
                        </a:cxn>
                        <a:cxn ang="0">
                          <a:pos x="284" y="76"/>
                        </a:cxn>
                        <a:cxn ang="0">
                          <a:pos x="260" y="78"/>
                        </a:cxn>
                        <a:cxn ang="0">
                          <a:pos x="235" y="78"/>
                        </a:cxn>
                        <a:cxn ang="0">
                          <a:pos x="211" y="76"/>
                        </a:cxn>
                        <a:cxn ang="0">
                          <a:pos x="187" y="73"/>
                        </a:cxn>
                        <a:cxn ang="0">
                          <a:pos x="163" y="68"/>
                        </a:cxn>
                        <a:cxn ang="0">
                          <a:pos x="140" y="61"/>
                        </a:cxn>
                        <a:cxn ang="0">
                          <a:pos x="116" y="53"/>
                        </a:cxn>
                        <a:cxn ang="0">
                          <a:pos x="94" y="44"/>
                        </a:cxn>
                        <a:cxn ang="0">
                          <a:pos x="72" y="32"/>
                        </a:cxn>
                        <a:cxn ang="0">
                          <a:pos x="66" y="0"/>
                        </a:cxn>
                        <a:cxn ang="0">
                          <a:pos x="56" y="5"/>
                        </a:cxn>
                        <a:cxn ang="0">
                          <a:pos x="42" y="12"/>
                        </a:cxn>
                        <a:cxn ang="0">
                          <a:pos x="29" y="20"/>
                        </a:cxn>
                        <a:cxn ang="0">
                          <a:pos x="17" y="30"/>
                        </a:cxn>
                        <a:cxn ang="0">
                          <a:pos x="7" y="43"/>
                        </a:cxn>
                        <a:cxn ang="0">
                          <a:pos x="2" y="59"/>
                        </a:cxn>
                        <a:cxn ang="0">
                          <a:pos x="0" y="78"/>
                        </a:cxn>
                        <a:cxn ang="0">
                          <a:pos x="7" y="102"/>
                        </a:cxn>
                      </a:cxnLst>
                      <a:rect l="0" t="0" r="r" b="b"/>
                      <a:pathLst>
                        <a:path w="483" h="184">
                          <a:moveTo>
                            <a:pt x="7" y="102"/>
                          </a:moveTo>
                          <a:lnTo>
                            <a:pt x="18" y="116"/>
                          </a:lnTo>
                          <a:lnTo>
                            <a:pt x="34" y="130"/>
                          </a:lnTo>
                          <a:lnTo>
                            <a:pt x="55" y="143"/>
                          </a:lnTo>
                          <a:lnTo>
                            <a:pt x="80" y="155"/>
                          </a:lnTo>
                          <a:lnTo>
                            <a:pt x="109" y="165"/>
                          </a:lnTo>
                          <a:lnTo>
                            <a:pt x="141" y="173"/>
                          </a:lnTo>
                          <a:lnTo>
                            <a:pt x="176" y="179"/>
                          </a:lnTo>
                          <a:lnTo>
                            <a:pt x="211" y="182"/>
                          </a:lnTo>
                          <a:lnTo>
                            <a:pt x="248" y="184"/>
                          </a:lnTo>
                          <a:lnTo>
                            <a:pt x="285" y="183"/>
                          </a:lnTo>
                          <a:lnTo>
                            <a:pt x="323" y="180"/>
                          </a:lnTo>
                          <a:lnTo>
                            <a:pt x="359" y="173"/>
                          </a:lnTo>
                          <a:lnTo>
                            <a:pt x="393" y="164"/>
                          </a:lnTo>
                          <a:lnTo>
                            <a:pt x="427" y="151"/>
                          </a:lnTo>
                          <a:lnTo>
                            <a:pt x="455" y="135"/>
                          </a:lnTo>
                          <a:lnTo>
                            <a:pt x="482" y="115"/>
                          </a:lnTo>
                          <a:lnTo>
                            <a:pt x="483" y="93"/>
                          </a:lnTo>
                          <a:lnTo>
                            <a:pt x="483" y="77"/>
                          </a:lnTo>
                          <a:lnTo>
                            <a:pt x="482" y="65"/>
                          </a:lnTo>
                          <a:lnTo>
                            <a:pt x="478" y="54"/>
                          </a:lnTo>
                          <a:lnTo>
                            <a:pt x="473" y="44"/>
                          </a:lnTo>
                          <a:lnTo>
                            <a:pt x="463" y="34"/>
                          </a:lnTo>
                          <a:lnTo>
                            <a:pt x="451" y="22"/>
                          </a:lnTo>
                          <a:lnTo>
                            <a:pt x="435" y="7"/>
                          </a:lnTo>
                          <a:lnTo>
                            <a:pt x="416" y="23"/>
                          </a:lnTo>
                          <a:lnTo>
                            <a:pt x="396" y="37"/>
                          </a:lnTo>
                          <a:lnTo>
                            <a:pt x="375" y="50"/>
                          </a:lnTo>
                          <a:lnTo>
                            <a:pt x="353" y="59"/>
                          </a:lnTo>
                          <a:lnTo>
                            <a:pt x="330" y="67"/>
                          </a:lnTo>
                          <a:lnTo>
                            <a:pt x="307" y="73"/>
                          </a:lnTo>
                          <a:lnTo>
                            <a:pt x="284" y="76"/>
                          </a:lnTo>
                          <a:lnTo>
                            <a:pt x="260" y="78"/>
                          </a:lnTo>
                          <a:lnTo>
                            <a:pt x="235" y="78"/>
                          </a:lnTo>
                          <a:lnTo>
                            <a:pt x="211" y="76"/>
                          </a:lnTo>
                          <a:lnTo>
                            <a:pt x="187" y="73"/>
                          </a:lnTo>
                          <a:lnTo>
                            <a:pt x="163" y="68"/>
                          </a:lnTo>
                          <a:lnTo>
                            <a:pt x="140" y="61"/>
                          </a:lnTo>
                          <a:lnTo>
                            <a:pt x="116" y="53"/>
                          </a:lnTo>
                          <a:lnTo>
                            <a:pt x="94" y="44"/>
                          </a:lnTo>
                          <a:lnTo>
                            <a:pt x="72" y="32"/>
                          </a:lnTo>
                          <a:lnTo>
                            <a:pt x="66" y="0"/>
                          </a:lnTo>
                          <a:lnTo>
                            <a:pt x="56" y="5"/>
                          </a:lnTo>
                          <a:lnTo>
                            <a:pt x="42" y="12"/>
                          </a:lnTo>
                          <a:lnTo>
                            <a:pt x="29" y="20"/>
                          </a:lnTo>
                          <a:lnTo>
                            <a:pt x="17" y="30"/>
                          </a:lnTo>
                          <a:lnTo>
                            <a:pt x="7" y="43"/>
                          </a:lnTo>
                          <a:lnTo>
                            <a:pt x="2" y="59"/>
                          </a:lnTo>
                          <a:lnTo>
                            <a:pt x="0" y="78"/>
                          </a:lnTo>
                          <a:lnTo>
                            <a:pt x="7" y="102"/>
                          </a:lnTo>
                          <a:close/>
                        </a:path>
                      </a:pathLst>
                    </a:custGeom>
                    <a:solidFill>
                      <a:srgbClr val="E6E6E6">
                        <a:lumMod val="90000"/>
                      </a:srgbClr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pPr fontAlgn="auto">
                        <a:spcBef>
                          <a:spcPts val="0"/>
                        </a:spcBef>
                        <a:spcAft>
                          <a:spcPts val="0"/>
                        </a:spcAft>
                        <a:defRPr/>
                      </a:pPr>
                      <a:endParaRPr lang="da-DK" kern="0">
                        <a:solidFill>
                          <a:sysClr val="windowText" lastClr="000000"/>
                        </a:solidFill>
                        <a:latin typeface="+mn-lt"/>
                        <a:ea typeface="ＭＳ Ｐゴシック" pitchFamily="-97" charset="-128"/>
                        <a:cs typeface="+mn-cs"/>
                      </a:endParaRPr>
                    </a:p>
                  </p:txBody>
                </p:sp>
                <p:sp>
                  <p:nvSpPr>
                    <p:cNvPr id="185" name="Freeform 184"/>
                    <p:cNvSpPr>
                      <a:spLocks/>
                    </p:cNvSpPr>
                    <p:nvPr/>
                  </p:nvSpPr>
                  <p:spPr bwMode="auto">
                    <a:xfrm>
                      <a:off x="413483" y="3499378"/>
                      <a:ext cx="187427" cy="112557"/>
                    </a:xfrm>
                    <a:custGeom>
                      <a:avLst/>
                      <a:gdLst/>
                      <a:ahLst/>
                      <a:cxnLst>
                        <a:cxn ang="0">
                          <a:pos x="48" y="0"/>
                        </a:cxn>
                        <a:cxn ang="0">
                          <a:pos x="57" y="2"/>
                        </a:cxn>
                        <a:cxn ang="0">
                          <a:pos x="66" y="3"/>
                        </a:cxn>
                        <a:cxn ang="0">
                          <a:pos x="74" y="6"/>
                        </a:cxn>
                        <a:cxn ang="0">
                          <a:pos x="81" y="11"/>
                        </a:cxn>
                        <a:cxn ang="0">
                          <a:pos x="87" y="16"/>
                        </a:cxn>
                        <a:cxn ang="0">
                          <a:pos x="91" y="22"/>
                        </a:cxn>
                        <a:cxn ang="0">
                          <a:pos x="94" y="29"/>
                        </a:cxn>
                        <a:cxn ang="0">
                          <a:pos x="95" y="36"/>
                        </a:cxn>
                        <a:cxn ang="0">
                          <a:pos x="94" y="43"/>
                        </a:cxn>
                        <a:cxn ang="0">
                          <a:pos x="91" y="50"/>
                        </a:cxn>
                        <a:cxn ang="0">
                          <a:pos x="87" y="56"/>
                        </a:cxn>
                        <a:cxn ang="0">
                          <a:pos x="81" y="61"/>
                        </a:cxn>
                        <a:cxn ang="0">
                          <a:pos x="74" y="66"/>
                        </a:cxn>
                        <a:cxn ang="0">
                          <a:pos x="66" y="69"/>
                        </a:cxn>
                        <a:cxn ang="0">
                          <a:pos x="57" y="71"/>
                        </a:cxn>
                        <a:cxn ang="0">
                          <a:pos x="48" y="72"/>
                        </a:cxn>
                        <a:cxn ang="0">
                          <a:pos x="38" y="71"/>
                        </a:cxn>
                        <a:cxn ang="0">
                          <a:pos x="29" y="69"/>
                        </a:cxn>
                        <a:cxn ang="0">
                          <a:pos x="21" y="66"/>
                        </a:cxn>
                        <a:cxn ang="0">
                          <a:pos x="14" y="61"/>
                        </a:cxn>
                        <a:cxn ang="0">
                          <a:pos x="8" y="56"/>
                        </a:cxn>
                        <a:cxn ang="0">
                          <a:pos x="4" y="50"/>
                        </a:cxn>
                        <a:cxn ang="0">
                          <a:pos x="2" y="43"/>
                        </a:cxn>
                        <a:cxn ang="0">
                          <a:pos x="0" y="36"/>
                        </a:cxn>
                        <a:cxn ang="0">
                          <a:pos x="2" y="29"/>
                        </a:cxn>
                        <a:cxn ang="0">
                          <a:pos x="4" y="22"/>
                        </a:cxn>
                        <a:cxn ang="0">
                          <a:pos x="8" y="16"/>
                        </a:cxn>
                        <a:cxn ang="0">
                          <a:pos x="14" y="11"/>
                        </a:cxn>
                        <a:cxn ang="0">
                          <a:pos x="21" y="6"/>
                        </a:cxn>
                        <a:cxn ang="0">
                          <a:pos x="29" y="3"/>
                        </a:cxn>
                        <a:cxn ang="0">
                          <a:pos x="38" y="2"/>
                        </a:cxn>
                        <a:cxn ang="0">
                          <a:pos x="48" y="0"/>
                        </a:cxn>
                      </a:cxnLst>
                      <a:rect l="0" t="0" r="r" b="b"/>
                      <a:pathLst>
                        <a:path w="95" h="72">
                          <a:moveTo>
                            <a:pt x="48" y="0"/>
                          </a:moveTo>
                          <a:lnTo>
                            <a:pt x="57" y="2"/>
                          </a:lnTo>
                          <a:lnTo>
                            <a:pt x="66" y="3"/>
                          </a:lnTo>
                          <a:lnTo>
                            <a:pt x="74" y="6"/>
                          </a:lnTo>
                          <a:lnTo>
                            <a:pt x="81" y="11"/>
                          </a:lnTo>
                          <a:lnTo>
                            <a:pt x="87" y="16"/>
                          </a:lnTo>
                          <a:lnTo>
                            <a:pt x="91" y="22"/>
                          </a:lnTo>
                          <a:lnTo>
                            <a:pt x="94" y="29"/>
                          </a:lnTo>
                          <a:lnTo>
                            <a:pt x="95" y="36"/>
                          </a:lnTo>
                          <a:lnTo>
                            <a:pt x="94" y="43"/>
                          </a:lnTo>
                          <a:lnTo>
                            <a:pt x="91" y="50"/>
                          </a:lnTo>
                          <a:lnTo>
                            <a:pt x="87" y="56"/>
                          </a:lnTo>
                          <a:lnTo>
                            <a:pt x="81" y="61"/>
                          </a:lnTo>
                          <a:lnTo>
                            <a:pt x="74" y="66"/>
                          </a:lnTo>
                          <a:lnTo>
                            <a:pt x="66" y="69"/>
                          </a:lnTo>
                          <a:lnTo>
                            <a:pt x="57" y="71"/>
                          </a:lnTo>
                          <a:lnTo>
                            <a:pt x="48" y="72"/>
                          </a:lnTo>
                          <a:lnTo>
                            <a:pt x="38" y="71"/>
                          </a:lnTo>
                          <a:lnTo>
                            <a:pt x="29" y="69"/>
                          </a:lnTo>
                          <a:lnTo>
                            <a:pt x="21" y="66"/>
                          </a:lnTo>
                          <a:lnTo>
                            <a:pt x="14" y="61"/>
                          </a:lnTo>
                          <a:lnTo>
                            <a:pt x="8" y="56"/>
                          </a:lnTo>
                          <a:lnTo>
                            <a:pt x="4" y="50"/>
                          </a:lnTo>
                          <a:lnTo>
                            <a:pt x="2" y="43"/>
                          </a:lnTo>
                          <a:lnTo>
                            <a:pt x="0" y="36"/>
                          </a:lnTo>
                          <a:lnTo>
                            <a:pt x="2" y="29"/>
                          </a:lnTo>
                          <a:lnTo>
                            <a:pt x="4" y="22"/>
                          </a:lnTo>
                          <a:lnTo>
                            <a:pt x="8" y="16"/>
                          </a:lnTo>
                          <a:lnTo>
                            <a:pt x="14" y="11"/>
                          </a:lnTo>
                          <a:lnTo>
                            <a:pt x="21" y="6"/>
                          </a:lnTo>
                          <a:lnTo>
                            <a:pt x="29" y="3"/>
                          </a:lnTo>
                          <a:lnTo>
                            <a:pt x="38" y="2"/>
                          </a:lnTo>
                          <a:lnTo>
                            <a:pt x="48" y="0"/>
                          </a:lnTo>
                          <a:close/>
                        </a:path>
                      </a:pathLst>
                    </a:custGeom>
                    <a:solidFill>
                      <a:srgbClr val="E6E6E6">
                        <a:lumMod val="10000"/>
                      </a:srgbClr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pPr fontAlgn="auto">
                        <a:spcBef>
                          <a:spcPts val="0"/>
                        </a:spcBef>
                        <a:spcAft>
                          <a:spcPts val="0"/>
                        </a:spcAft>
                        <a:defRPr/>
                      </a:pPr>
                      <a:endParaRPr lang="da-DK" kern="0">
                        <a:solidFill>
                          <a:sysClr val="windowText" lastClr="000000"/>
                        </a:solidFill>
                        <a:latin typeface="+mn-lt"/>
                        <a:ea typeface="ＭＳ Ｐゴシック" pitchFamily="-97" charset="-128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173" name="Gruppe 813"/>
                  <p:cNvGrpSpPr/>
                  <p:nvPr/>
                </p:nvGrpSpPr>
                <p:grpSpPr>
                  <a:xfrm>
                    <a:off x="1203876" y="3975118"/>
                    <a:ext cx="443011" cy="1727207"/>
                    <a:chOff x="3781425" y="3433763"/>
                    <a:chExt cx="490538" cy="1912498"/>
                  </a:xfrm>
                  <a:solidFill>
                    <a:srgbClr val="FFFFFF">
                      <a:alpha val="9000"/>
                    </a:srgbClr>
                  </a:solidFill>
                </p:grpSpPr>
                <p:sp>
                  <p:nvSpPr>
                    <p:cNvPr id="174" name="Freeform 316"/>
                    <p:cNvSpPr>
                      <a:spLocks/>
                    </p:cNvSpPr>
                    <p:nvPr/>
                  </p:nvSpPr>
                  <p:spPr bwMode="auto">
                    <a:xfrm>
                      <a:off x="3824288" y="3986213"/>
                      <a:ext cx="365125" cy="65088"/>
                    </a:xfrm>
                    <a:custGeom>
                      <a:avLst/>
                      <a:gdLst/>
                      <a:ahLst/>
                      <a:cxnLst>
                        <a:cxn ang="0">
                          <a:pos x="13" y="0"/>
                        </a:cxn>
                        <a:cxn ang="0">
                          <a:pos x="26" y="6"/>
                        </a:cxn>
                        <a:cxn ang="0">
                          <a:pos x="39" y="13"/>
                        </a:cxn>
                        <a:cxn ang="0">
                          <a:pos x="52" y="16"/>
                        </a:cxn>
                        <a:cxn ang="0">
                          <a:pos x="65" y="19"/>
                        </a:cxn>
                        <a:cxn ang="0">
                          <a:pos x="78" y="22"/>
                        </a:cxn>
                        <a:cxn ang="0">
                          <a:pos x="93" y="23"/>
                        </a:cxn>
                        <a:cxn ang="0">
                          <a:pos x="106" y="24"/>
                        </a:cxn>
                        <a:cxn ang="0">
                          <a:pos x="120" y="23"/>
                        </a:cxn>
                        <a:cxn ang="0">
                          <a:pos x="134" y="22"/>
                        </a:cxn>
                        <a:cxn ang="0">
                          <a:pos x="147" y="20"/>
                        </a:cxn>
                        <a:cxn ang="0">
                          <a:pos x="161" y="18"/>
                        </a:cxn>
                        <a:cxn ang="0">
                          <a:pos x="176" y="15"/>
                        </a:cxn>
                        <a:cxn ang="0">
                          <a:pos x="189" y="13"/>
                        </a:cxn>
                        <a:cxn ang="0">
                          <a:pos x="203" y="9"/>
                        </a:cxn>
                        <a:cxn ang="0">
                          <a:pos x="216" y="6"/>
                        </a:cxn>
                        <a:cxn ang="0">
                          <a:pos x="230" y="2"/>
                        </a:cxn>
                        <a:cxn ang="0">
                          <a:pos x="230" y="15"/>
                        </a:cxn>
                        <a:cxn ang="0">
                          <a:pos x="221" y="19"/>
                        </a:cxn>
                        <a:cxn ang="0">
                          <a:pos x="212" y="23"/>
                        </a:cxn>
                        <a:cxn ang="0">
                          <a:pos x="200" y="27"/>
                        </a:cxn>
                        <a:cxn ang="0">
                          <a:pos x="189" y="29"/>
                        </a:cxn>
                        <a:cxn ang="0">
                          <a:pos x="174" y="33"/>
                        </a:cxn>
                        <a:cxn ang="0">
                          <a:pos x="161" y="36"/>
                        </a:cxn>
                        <a:cxn ang="0">
                          <a:pos x="146" y="39"/>
                        </a:cxn>
                        <a:cxn ang="0">
                          <a:pos x="132" y="41"/>
                        </a:cxn>
                        <a:cxn ang="0">
                          <a:pos x="115" y="41"/>
                        </a:cxn>
                        <a:cxn ang="0">
                          <a:pos x="99" y="41"/>
                        </a:cxn>
                        <a:cxn ang="0">
                          <a:pos x="82" y="40"/>
                        </a:cxn>
                        <a:cxn ang="0">
                          <a:pos x="65" y="37"/>
                        </a:cxn>
                        <a:cxn ang="0">
                          <a:pos x="50" y="32"/>
                        </a:cxn>
                        <a:cxn ang="0">
                          <a:pos x="33" y="27"/>
                        </a:cxn>
                        <a:cxn ang="0">
                          <a:pos x="16" y="19"/>
                        </a:cxn>
                        <a:cxn ang="0">
                          <a:pos x="0" y="9"/>
                        </a:cxn>
                        <a:cxn ang="0">
                          <a:pos x="13" y="0"/>
                        </a:cxn>
                      </a:cxnLst>
                      <a:rect l="0" t="0" r="r" b="b"/>
                      <a:pathLst>
                        <a:path w="230" h="41">
                          <a:moveTo>
                            <a:pt x="13" y="0"/>
                          </a:moveTo>
                          <a:lnTo>
                            <a:pt x="26" y="6"/>
                          </a:lnTo>
                          <a:lnTo>
                            <a:pt x="39" y="13"/>
                          </a:lnTo>
                          <a:lnTo>
                            <a:pt x="52" y="16"/>
                          </a:lnTo>
                          <a:lnTo>
                            <a:pt x="65" y="19"/>
                          </a:lnTo>
                          <a:lnTo>
                            <a:pt x="78" y="22"/>
                          </a:lnTo>
                          <a:lnTo>
                            <a:pt x="93" y="23"/>
                          </a:lnTo>
                          <a:lnTo>
                            <a:pt x="106" y="24"/>
                          </a:lnTo>
                          <a:lnTo>
                            <a:pt x="120" y="23"/>
                          </a:lnTo>
                          <a:lnTo>
                            <a:pt x="134" y="22"/>
                          </a:lnTo>
                          <a:lnTo>
                            <a:pt x="147" y="20"/>
                          </a:lnTo>
                          <a:lnTo>
                            <a:pt x="161" y="18"/>
                          </a:lnTo>
                          <a:lnTo>
                            <a:pt x="176" y="15"/>
                          </a:lnTo>
                          <a:lnTo>
                            <a:pt x="189" y="13"/>
                          </a:lnTo>
                          <a:lnTo>
                            <a:pt x="203" y="9"/>
                          </a:lnTo>
                          <a:lnTo>
                            <a:pt x="216" y="6"/>
                          </a:lnTo>
                          <a:lnTo>
                            <a:pt x="230" y="2"/>
                          </a:lnTo>
                          <a:lnTo>
                            <a:pt x="230" y="15"/>
                          </a:lnTo>
                          <a:lnTo>
                            <a:pt x="221" y="19"/>
                          </a:lnTo>
                          <a:lnTo>
                            <a:pt x="212" y="23"/>
                          </a:lnTo>
                          <a:lnTo>
                            <a:pt x="200" y="27"/>
                          </a:lnTo>
                          <a:lnTo>
                            <a:pt x="189" y="29"/>
                          </a:lnTo>
                          <a:lnTo>
                            <a:pt x="174" y="33"/>
                          </a:lnTo>
                          <a:lnTo>
                            <a:pt x="161" y="36"/>
                          </a:lnTo>
                          <a:lnTo>
                            <a:pt x="146" y="39"/>
                          </a:lnTo>
                          <a:lnTo>
                            <a:pt x="132" y="41"/>
                          </a:lnTo>
                          <a:lnTo>
                            <a:pt x="115" y="41"/>
                          </a:lnTo>
                          <a:lnTo>
                            <a:pt x="99" y="41"/>
                          </a:lnTo>
                          <a:lnTo>
                            <a:pt x="82" y="40"/>
                          </a:lnTo>
                          <a:lnTo>
                            <a:pt x="65" y="37"/>
                          </a:lnTo>
                          <a:lnTo>
                            <a:pt x="50" y="32"/>
                          </a:lnTo>
                          <a:lnTo>
                            <a:pt x="33" y="27"/>
                          </a:lnTo>
                          <a:lnTo>
                            <a:pt x="16" y="19"/>
                          </a:lnTo>
                          <a:lnTo>
                            <a:pt x="0" y="9"/>
                          </a:lnTo>
                          <a:lnTo>
                            <a:pt x="13" y="0"/>
                          </a:lnTo>
                          <a:close/>
                        </a:path>
                      </a:pathLst>
                    </a:custGeom>
                    <a:grpFill/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pPr fontAlgn="auto">
                        <a:spcBef>
                          <a:spcPts val="0"/>
                        </a:spcBef>
                        <a:spcAft>
                          <a:spcPts val="0"/>
                        </a:spcAft>
                        <a:defRPr/>
                      </a:pPr>
                      <a:endParaRPr lang="da-DK" kern="0">
                        <a:solidFill>
                          <a:sysClr val="windowText" lastClr="000000"/>
                        </a:solidFill>
                        <a:latin typeface="+mn-lt"/>
                        <a:ea typeface="ＭＳ Ｐゴシック" pitchFamily="-97" charset="-128"/>
                        <a:cs typeface="+mn-cs"/>
                      </a:endParaRPr>
                    </a:p>
                  </p:txBody>
                </p:sp>
                <p:sp>
                  <p:nvSpPr>
                    <p:cNvPr id="175" name="Freeform 336"/>
                    <p:cNvSpPr>
                      <a:spLocks/>
                    </p:cNvSpPr>
                    <p:nvPr/>
                  </p:nvSpPr>
                  <p:spPr bwMode="auto">
                    <a:xfrm>
                      <a:off x="3781425" y="5231961"/>
                      <a:ext cx="490538" cy="114300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29"/>
                        </a:cxn>
                        <a:cxn ang="0">
                          <a:pos x="3" y="37"/>
                        </a:cxn>
                        <a:cxn ang="0">
                          <a:pos x="7" y="45"/>
                        </a:cxn>
                        <a:cxn ang="0">
                          <a:pos x="11" y="53"/>
                        </a:cxn>
                        <a:cxn ang="0">
                          <a:pos x="15" y="61"/>
                        </a:cxn>
                        <a:cxn ang="0">
                          <a:pos x="22" y="62"/>
                        </a:cxn>
                        <a:cxn ang="0">
                          <a:pos x="29" y="63"/>
                        </a:cxn>
                        <a:cxn ang="0">
                          <a:pos x="37" y="65"/>
                        </a:cxn>
                        <a:cxn ang="0">
                          <a:pos x="44" y="66"/>
                        </a:cxn>
                        <a:cxn ang="0">
                          <a:pos x="51" y="67"/>
                        </a:cxn>
                        <a:cxn ang="0">
                          <a:pos x="59" y="68"/>
                        </a:cxn>
                        <a:cxn ang="0">
                          <a:pos x="65" y="71"/>
                        </a:cxn>
                        <a:cxn ang="0">
                          <a:pos x="73" y="72"/>
                        </a:cxn>
                        <a:cxn ang="0">
                          <a:pos x="91" y="72"/>
                        </a:cxn>
                        <a:cxn ang="0">
                          <a:pos x="109" y="71"/>
                        </a:cxn>
                        <a:cxn ang="0">
                          <a:pos x="127" y="71"/>
                        </a:cxn>
                        <a:cxn ang="0">
                          <a:pos x="146" y="70"/>
                        </a:cxn>
                        <a:cxn ang="0">
                          <a:pos x="164" y="70"/>
                        </a:cxn>
                        <a:cxn ang="0">
                          <a:pos x="183" y="68"/>
                        </a:cxn>
                        <a:cxn ang="0">
                          <a:pos x="201" y="68"/>
                        </a:cxn>
                        <a:cxn ang="0">
                          <a:pos x="220" y="67"/>
                        </a:cxn>
                        <a:cxn ang="0">
                          <a:pos x="231" y="65"/>
                        </a:cxn>
                        <a:cxn ang="0">
                          <a:pos x="242" y="61"/>
                        </a:cxn>
                        <a:cxn ang="0">
                          <a:pos x="253" y="58"/>
                        </a:cxn>
                        <a:cxn ang="0">
                          <a:pos x="265" y="54"/>
                        </a:cxn>
                        <a:cxn ang="0">
                          <a:pos x="275" y="52"/>
                        </a:cxn>
                        <a:cxn ang="0">
                          <a:pos x="287" y="48"/>
                        </a:cxn>
                        <a:cxn ang="0">
                          <a:pos x="297" y="45"/>
                        </a:cxn>
                        <a:cxn ang="0">
                          <a:pos x="309" y="41"/>
                        </a:cxn>
                        <a:cxn ang="0">
                          <a:pos x="309" y="26"/>
                        </a:cxn>
                        <a:cxn ang="0">
                          <a:pos x="307" y="13"/>
                        </a:cxn>
                        <a:cxn ang="0">
                          <a:pos x="303" y="5"/>
                        </a:cxn>
                        <a:cxn ang="0">
                          <a:pos x="297" y="1"/>
                        </a:cxn>
                        <a:cxn ang="0">
                          <a:pos x="290" y="0"/>
                        </a:cxn>
                        <a:cxn ang="0">
                          <a:pos x="279" y="0"/>
                        </a:cxn>
                        <a:cxn ang="0">
                          <a:pos x="268" y="4"/>
                        </a:cxn>
                        <a:cxn ang="0">
                          <a:pos x="252" y="9"/>
                        </a:cxn>
                        <a:cxn ang="0">
                          <a:pos x="242" y="9"/>
                        </a:cxn>
                        <a:cxn ang="0">
                          <a:pos x="231" y="10"/>
                        </a:cxn>
                        <a:cxn ang="0">
                          <a:pos x="221" y="10"/>
                        </a:cxn>
                        <a:cxn ang="0">
                          <a:pos x="211" y="10"/>
                        </a:cxn>
                        <a:cxn ang="0">
                          <a:pos x="200" y="10"/>
                        </a:cxn>
                        <a:cxn ang="0">
                          <a:pos x="188" y="10"/>
                        </a:cxn>
                        <a:cxn ang="0">
                          <a:pos x="178" y="11"/>
                        </a:cxn>
                        <a:cxn ang="0">
                          <a:pos x="168" y="11"/>
                        </a:cxn>
                        <a:cxn ang="0">
                          <a:pos x="140" y="10"/>
                        </a:cxn>
                        <a:cxn ang="0">
                          <a:pos x="116" y="9"/>
                        </a:cxn>
                        <a:cxn ang="0">
                          <a:pos x="96" y="6"/>
                        </a:cxn>
                        <a:cxn ang="0">
                          <a:pos x="77" y="5"/>
                        </a:cxn>
                        <a:cxn ang="0">
                          <a:pos x="60" y="6"/>
                        </a:cxn>
                        <a:cxn ang="0">
                          <a:pos x="42" y="9"/>
                        </a:cxn>
                        <a:cxn ang="0">
                          <a:pos x="22" y="16"/>
                        </a:cxn>
                        <a:cxn ang="0">
                          <a:pos x="0" y="29"/>
                        </a:cxn>
                      </a:cxnLst>
                      <a:rect l="0" t="0" r="r" b="b"/>
                      <a:pathLst>
                        <a:path w="309" h="72">
                          <a:moveTo>
                            <a:pt x="0" y="29"/>
                          </a:moveTo>
                          <a:lnTo>
                            <a:pt x="3" y="37"/>
                          </a:lnTo>
                          <a:lnTo>
                            <a:pt x="7" y="45"/>
                          </a:lnTo>
                          <a:lnTo>
                            <a:pt x="11" y="53"/>
                          </a:lnTo>
                          <a:lnTo>
                            <a:pt x="15" y="61"/>
                          </a:lnTo>
                          <a:lnTo>
                            <a:pt x="22" y="62"/>
                          </a:lnTo>
                          <a:lnTo>
                            <a:pt x="29" y="63"/>
                          </a:lnTo>
                          <a:lnTo>
                            <a:pt x="37" y="65"/>
                          </a:lnTo>
                          <a:lnTo>
                            <a:pt x="44" y="66"/>
                          </a:lnTo>
                          <a:lnTo>
                            <a:pt x="51" y="67"/>
                          </a:lnTo>
                          <a:lnTo>
                            <a:pt x="59" y="68"/>
                          </a:lnTo>
                          <a:lnTo>
                            <a:pt x="65" y="71"/>
                          </a:lnTo>
                          <a:lnTo>
                            <a:pt x="73" y="72"/>
                          </a:lnTo>
                          <a:lnTo>
                            <a:pt x="91" y="72"/>
                          </a:lnTo>
                          <a:lnTo>
                            <a:pt x="109" y="71"/>
                          </a:lnTo>
                          <a:lnTo>
                            <a:pt x="127" y="71"/>
                          </a:lnTo>
                          <a:lnTo>
                            <a:pt x="146" y="70"/>
                          </a:lnTo>
                          <a:lnTo>
                            <a:pt x="164" y="70"/>
                          </a:lnTo>
                          <a:lnTo>
                            <a:pt x="183" y="68"/>
                          </a:lnTo>
                          <a:lnTo>
                            <a:pt x="201" y="68"/>
                          </a:lnTo>
                          <a:lnTo>
                            <a:pt x="220" y="67"/>
                          </a:lnTo>
                          <a:lnTo>
                            <a:pt x="231" y="65"/>
                          </a:lnTo>
                          <a:lnTo>
                            <a:pt x="242" y="61"/>
                          </a:lnTo>
                          <a:lnTo>
                            <a:pt x="253" y="58"/>
                          </a:lnTo>
                          <a:lnTo>
                            <a:pt x="265" y="54"/>
                          </a:lnTo>
                          <a:lnTo>
                            <a:pt x="275" y="52"/>
                          </a:lnTo>
                          <a:lnTo>
                            <a:pt x="287" y="48"/>
                          </a:lnTo>
                          <a:lnTo>
                            <a:pt x="297" y="45"/>
                          </a:lnTo>
                          <a:lnTo>
                            <a:pt x="309" y="41"/>
                          </a:lnTo>
                          <a:lnTo>
                            <a:pt x="309" y="26"/>
                          </a:lnTo>
                          <a:lnTo>
                            <a:pt x="307" y="13"/>
                          </a:lnTo>
                          <a:lnTo>
                            <a:pt x="303" y="5"/>
                          </a:lnTo>
                          <a:lnTo>
                            <a:pt x="297" y="1"/>
                          </a:lnTo>
                          <a:lnTo>
                            <a:pt x="290" y="0"/>
                          </a:lnTo>
                          <a:lnTo>
                            <a:pt x="279" y="0"/>
                          </a:lnTo>
                          <a:lnTo>
                            <a:pt x="268" y="4"/>
                          </a:lnTo>
                          <a:lnTo>
                            <a:pt x="252" y="9"/>
                          </a:lnTo>
                          <a:lnTo>
                            <a:pt x="242" y="9"/>
                          </a:lnTo>
                          <a:lnTo>
                            <a:pt x="231" y="10"/>
                          </a:lnTo>
                          <a:lnTo>
                            <a:pt x="221" y="10"/>
                          </a:lnTo>
                          <a:lnTo>
                            <a:pt x="211" y="10"/>
                          </a:lnTo>
                          <a:lnTo>
                            <a:pt x="200" y="10"/>
                          </a:lnTo>
                          <a:lnTo>
                            <a:pt x="188" y="10"/>
                          </a:lnTo>
                          <a:lnTo>
                            <a:pt x="178" y="11"/>
                          </a:lnTo>
                          <a:lnTo>
                            <a:pt x="168" y="11"/>
                          </a:lnTo>
                          <a:lnTo>
                            <a:pt x="140" y="10"/>
                          </a:lnTo>
                          <a:lnTo>
                            <a:pt x="116" y="9"/>
                          </a:lnTo>
                          <a:lnTo>
                            <a:pt x="96" y="6"/>
                          </a:lnTo>
                          <a:lnTo>
                            <a:pt x="77" y="5"/>
                          </a:lnTo>
                          <a:lnTo>
                            <a:pt x="60" y="6"/>
                          </a:lnTo>
                          <a:lnTo>
                            <a:pt x="42" y="9"/>
                          </a:lnTo>
                          <a:lnTo>
                            <a:pt x="22" y="16"/>
                          </a:lnTo>
                          <a:lnTo>
                            <a:pt x="0" y="29"/>
                          </a:lnTo>
                          <a:close/>
                        </a:path>
                      </a:pathLst>
                    </a:custGeom>
                    <a:grpFill/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pPr fontAlgn="auto">
                        <a:spcBef>
                          <a:spcPts val="0"/>
                        </a:spcBef>
                        <a:spcAft>
                          <a:spcPts val="0"/>
                        </a:spcAft>
                        <a:defRPr/>
                      </a:pPr>
                      <a:endParaRPr lang="da-DK" kern="0">
                        <a:solidFill>
                          <a:sysClr val="windowText" lastClr="000000"/>
                        </a:solidFill>
                        <a:latin typeface="+mn-lt"/>
                        <a:ea typeface="ＭＳ Ｐゴシック" pitchFamily="-97" charset="-128"/>
                        <a:cs typeface="+mn-cs"/>
                      </a:endParaRPr>
                    </a:p>
                  </p:txBody>
                </p:sp>
                <p:sp>
                  <p:nvSpPr>
                    <p:cNvPr id="176" name="Freeform 353"/>
                    <p:cNvSpPr>
                      <a:spLocks/>
                    </p:cNvSpPr>
                    <p:nvPr/>
                  </p:nvSpPr>
                  <p:spPr bwMode="auto">
                    <a:xfrm>
                      <a:off x="3932238" y="4217988"/>
                      <a:ext cx="177800" cy="39688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11"/>
                        </a:cxn>
                        <a:cxn ang="0">
                          <a:pos x="5" y="17"/>
                        </a:cxn>
                        <a:cxn ang="0">
                          <a:pos x="26" y="25"/>
                        </a:cxn>
                        <a:cxn ang="0">
                          <a:pos x="80" y="20"/>
                        </a:cxn>
                        <a:cxn ang="0">
                          <a:pos x="112" y="13"/>
                        </a:cxn>
                        <a:cxn ang="0">
                          <a:pos x="110" y="4"/>
                        </a:cxn>
                        <a:cxn ang="0">
                          <a:pos x="108" y="0"/>
                        </a:cxn>
                        <a:cxn ang="0">
                          <a:pos x="103" y="2"/>
                        </a:cxn>
                        <a:cxn ang="0">
                          <a:pos x="92" y="4"/>
                        </a:cxn>
                        <a:cxn ang="0">
                          <a:pos x="61" y="6"/>
                        </a:cxn>
                        <a:cxn ang="0">
                          <a:pos x="51" y="6"/>
                        </a:cxn>
                        <a:cxn ang="0">
                          <a:pos x="43" y="4"/>
                        </a:cxn>
                        <a:cxn ang="0">
                          <a:pos x="35" y="4"/>
                        </a:cxn>
                        <a:cxn ang="0">
                          <a:pos x="29" y="3"/>
                        </a:cxn>
                        <a:cxn ang="0">
                          <a:pos x="22" y="3"/>
                        </a:cxn>
                        <a:cxn ang="0">
                          <a:pos x="14" y="4"/>
                        </a:cxn>
                        <a:cxn ang="0">
                          <a:pos x="8" y="7"/>
                        </a:cxn>
                        <a:cxn ang="0">
                          <a:pos x="0" y="11"/>
                        </a:cxn>
                      </a:cxnLst>
                      <a:rect l="0" t="0" r="r" b="b"/>
                      <a:pathLst>
                        <a:path w="112" h="25">
                          <a:moveTo>
                            <a:pt x="0" y="11"/>
                          </a:moveTo>
                          <a:lnTo>
                            <a:pt x="5" y="17"/>
                          </a:lnTo>
                          <a:lnTo>
                            <a:pt x="26" y="25"/>
                          </a:lnTo>
                          <a:lnTo>
                            <a:pt x="80" y="20"/>
                          </a:lnTo>
                          <a:lnTo>
                            <a:pt x="112" y="13"/>
                          </a:lnTo>
                          <a:lnTo>
                            <a:pt x="110" y="4"/>
                          </a:lnTo>
                          <a:lnTo>
                            <a:pt x="108" y="0"/>
                          </a:lnTo>
                          <a:lnTo>
                            <a:pt x="103" y="2"/>
                          </a:lnTo>
                          <a:lnTo>
                            <a:pt x="92" y="4"/>
                          </a:lnTo>
                          <a:lnTo>
                            <a:pt x="61" y="6"/>
                          </a:lnTo>
                          <a:lnTo>
                            <a:pt x="51" y="6"/>
                          </a:lnTo>
                          <a:lnTo>
                            <a:pt x="43" y="4"/>
                          </a:lnTo>
                          <a:lnTo>
                            <a:pt x="35" y="4"/>
                          </a:lnTo>
                          <a:lnTo>
                            <a:pt x="29" y="3"/>
                          </a:lnTo>
                          <a:lnTo>
                            <a:pt x="22" y="3"/>
                          </a:lnTo>
                          <a:lnTo>
                            <a:pt x="14" y="4"/>
                          </a:lnTo>
                          <a:lnTo>
                            <a:pt x="8" y="7"/>
                          </a:lnTo>
                          <a:lnTo>
                            <a:pt x="0" y="11"/>
                          </a:lnTo>
                          <a:close/>
                        </a:path>
                      </a:pathLst>
                    </a:custGeom>
                    <a:grpFill/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pPr fontAlgn="auto">
                        <a:spcBef>
                          <a:spcPts val="0"/>
                        </a:spcBef>
                        <a:spcAft>
                          <a:spcPts val="0"/>
                        </a:spcAft>
                        <a:defRPr/>
                      </a:pPr>
                      <a:endParaRPr lang="da-DK" kern="0">
                        <a:solidFill>
                          <a:sysClr val="windowText" lastClr="000000"/>
                        </a:solidFill>
                        <a:latin typeface="+mn-lt"/>
                        <a:ea typeface="ＭＳ Ｐゴシック" pitchFamily="-97" charset="-128"/>
                        <a:cs typeface="+mn-cs"/>
                      </a:endParaRPr>
                    </a:p>
                  </p:txBody>
                </p:sp>
                <p:sp>
                  <p:nvSpPr>
                    <p:cNvPr id="177" name="Freeform 367"/>
                    <p:cNvSpPr>
                      <a:spLocks/>
                    </p:cNvSpPr>
                    <p:nvPr/>
                  </p:nvSpPr>
                  <p:spPr bwMode="auto">
                    <a:xfrm>
                      <a:off x="3932238" y="3433763"/>
                      <a:ext cx="168275" cy="127000"/>
                    </a:xfrm>
                    <a:custGeom>
                      <a:avLst/>
                      <a:gdLst/>
                      <a:ahLst/>
                      <a:cxnLst>
                        <a:cxn ang="0">
                          <a:pos x="53" y="0"/>
                        </a:cxn>
                        <a:cxn ang="0">
                          <a:pos x="64" y="1"/>
                        </a:cxn>
                        <a:cxn ang="0">
                          <a:pos x="74" y="2"/>
                        </a:cxn>
                        <a:cxn ang="0">
                          <a:pos x="83" y="6"/>
                        </a:cxn>
                        <a:cxn ang="0">
                          <a:pos x="91" y="11"/>
                        </a:cxn>
                        <a:cxn ang="0">
                          <a:pos x="97" y="18"/>
                        </a:cxn>
                        <a:cxn ang="0">
                          <a:pos x="103" y="24"/>
                        </a:cxn>
                        <a:cxn ang="0">
                          <a:pos x="105" y="32"/>
                        </a:cxn>
                        <a:cxn ang="0">
                          <a:pos x="106" y="40"/>
                        </a:cxn>
                        <a:cxn ang="0">
                          <a:pos x="105" y="48"/>
                        </a:cxn>
                        <a:cxn ang="0">
                          <a:pos x="103" y="55"/>
                        </a:cxn>
                        <a:cxn ang="0">
                          <a:pos x="97" y="62"/>
                        </a:cxn>
                        <a:cxn ang="0">
                          <a:pos x="91" y="68"/>
                        </a:cxn>
                        <a:cxn ang="0">
                          <a:pos x="83" y="74"/>
                        </a:cxn>
                        <a:cxn ang="0">
                          <a:pos x="74" y="78"/>
                        </a:cxn>
                        <a:cxn ang="0">
                          <a:pos x="64" y="79"/>
                        </a:cxn>
                        <a:cxn ang="0">
                          <a:pos x="53" y="80"/>
                        </a:cxn>
                        <a:cxn ang="0">
                          <a:pos x="43" y="79"/>
                        </a:cxn>
                        <a:cxn ang="0">
                          <a:pos x="32" y="78"/>
                        </a:cxn>
                        <a:cxn ang="0">
                          <a:pos x="23" y="74"/>
                        </a:cxn>
                        <a:cxn ang="0">
                          <a:pos x="16" y="68"/>
                        </a:cxn>
                        <a:cxn ang="0">
                          <a:pos x="9" y="62"/>
                        </a:cxn>
                        <a:cxn ang="0">
                          <a:pos x="4" y="55"/>
                        </a:cxn>
                        <a:cxn ang="0">
                          <a:pos x="1" y="48"/>
                        </a:cxn>
                        <a:cxn ang="0">
                          <a:pos x="0" y="40"/>
                        </a:cxn>
                        <a:cxn ang="0">
                          <a:pos x="1" y="32"/>
                        </a:cxn>
                        <a:cxn ang="0">
                          <a:pos x="4" y="24"/>
                        </a:cxn>
                        <a:cxn ang="0">
                          <a:pos x="9" y="18"/>
                        </a:cxn>
                        <a:cxn ang="0">
                          <a:pos x="16" y="11"/>
                        </a:cxn>
                        <a:cxn ang="0">
                          <a:pos x="23" y="6"/>
                        </a:cxn>
                        <a:cxn ang="0">
                          <a:pos x="32" y="2"/>
                        </a:cxn>
                        <a:cxn ang="0">
                          <a:pos x="43" y="1"/>
                        </a:cxn>
                        <a:cxn ang="0">
                          <a:pos x="53" y="0"/>
                        </a:cxn>
                      </a:cxnLst>
                      <a:rect l="0" t="0" r="r" b="b"/>
                      <a:pathLst>
                        <a:path w="106" h="80">
                          <a:moveTo>
                            <a:pt x="53" y="0"/>
                          </a:moveTo>
                          <a:lnTo>
                            <a:pt x="64" y="1"/>
                          </a:lnTo>
                          <a:lnTo>
                            <a:pt x="74" y="2"/>
                          </a:lnTo>
                          <a:lnTo>
                            <a:pt x="83" y="6"/>
                          </a:lnTo>
                          <a:lnTo>
                            <a:pt x="91" y="11"/>
                          </a:lnTo>
                          <a:lnTo>
                            <a:pt x="97" y="18"/>
                          </a:lnTo>
                          <a:lnTo>
                            <a:pt x="103" y="24"/>
                          </a:lnTo>
                          <a:lnTo>
                            <a:pt x="105" y="32"/>
                          </a:lnTo>
                          <a:lnTo>
                            <a:pt x="106" y="40"/>
                          </a:lnTo>
                          <a:lnTo>
                            <a:pt x="105" y="48"/>
                          </a:lnTo>
                          <a:lnTo>
                            <a:pt x="103" y="55"/>
                          </a:lnTo>
                          <a:lnTo>
                            <a:pt x="97" y="62"/>
                          </a:lnTo>
                          <a:lnTo>
                            <a:pt x="91" y="68"/>
                          </a:lnTo>
                          <a:lnTo>
                            <a:pt x="83" y="74"/>
                          </a:lnTo>
                          <a:lnTo>
                            <a:pt x="74" y="78"/>
                          </a:lnTo>
                          <a:lnTo>
                            <a:pt x="64" y="79"/>
                          </a:lnTo>
                          <a:lnTo>
                            <a:pt x="53" y="80"/>
                          </a:lnTo>
                          <a:lnTo>
                            <a:pt x="43" y="79"/>
                          </a:lnTo>
                          <a:lnTo>
                            <a:pt x="32" y="78"/>
                          </a:lnTo>
                          <a:lnTo>
                            <a:pt x="23" y="74"/>
                          </a:lnTo>
                          <a:lnTo>
                            <a:pt x="16" y="68"/>
                          </a:lnTo>
                          <a:lnTo>
                            <a:pt x="9" y="62"/>
                          </a:lnTo>
                          <a:lnTo>
                            <a:pt x="4" y="55"/>
                          </a:lnTo>
                          <a:lnTo>
                            <a:pt x="1" y="48"/>
                          </a:lnTo>
                          <a:lnTo>
                            <a:pt x="0" y="40"/>
                          </a:lnTo>
                          <a:lnTo>
                            <a:pt x="1" y="32"/>
                          </a:lnTo>
                          <a:lnTo>
                            <a:pt x="4" y="24"/>
                          </a:lnTo>
                          <a:lnTo>
                            <a:pt x="9" y="18"/>
                          </a:lnTo>
                          <a:lnTo>
                            <a:pt x="16" y="11"/>
                          </a:lnTo>
                          <a:lnTo>
                            <a:pt x="23" y="6"/>
                          </a:lnTo>
                          <a:lnTo>
                            <a:pt x="32" y="2"/>
                          </a:lnTo>
                          <a:lnTo>
                            <a:pt x="43" y="1"/>
                          </a:lnTo>
                          <a:lnTo>
                            <a:pt x="53" y="0"/>
                          </a:lnTo>
                          <a:close/>
                        </a:path>
                      </a:pathLst>
                    </a:custGeom>
                    <a:grpFill/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pPr fontAlgn="auto">
                        <a:spcBef>
                          <a:spcPts val="0"/>
                        </a:spcBef>
                        <a:spcAft>
                          <a:spcPts val="0"/>
                        </a:spcAft>
                        <a:defRPr/>
                      </a:pPr>
                      <a:endParaRPr lang="da-DK" kern="0">
                        <a:solidFill>
                          <a:sysClr val="windowText" lastClr="000000"/>
                        </a:solidFill>
                        <a:latin typeface="+mn-lt"/>
                        <a:ea typeface="ＭＳ Ｐゴシック" pitchFamily="-97" charset="-128"/>
                        <a:cs typeface="+mn-cs"/>
                      </a:endParaRPr>
                    </a:p>
                  </p:txBody>
                </p:sp>
              </p:grpSp>
            </p:grpSp>
            <p:sp>
              <p:nvSpPr>
                <p:cNvPr id="171" name="Ellipse 581"/>
                <p:cNvSpPr/>
                <p:nvPr/>
              </p:nvSpPr>
              <p:spPr bwMode="auto">
                <a:xfrm>
                  <a:off x="2615864" y="4801625"/>
                  <a:ext cx="437473" cy="465718"/>
                </a:xfrm>
                <a:prstGeom prst="ellipse">
                  <a:avLst/>
                </a:prstGeom>
                <a:gradFill flip="none" rotWithShape="1">
                  <a:gsLst>
                    <a:gs pos="100000">
                      <a:srgbClr val="E6E6E6"/>
                    </a:gs>
                    <a:gs pos="69000">
                      <a:srgbClr val="E6E6E6">
                        <a:lumMod val="90000"/>
                      </a:srgbClr>
                    </a:gs>
                    <a:gs pos="0">
                      <a:srgbClr val="E6E6E6">
                        <a:lumMod val="75000"/>
                      </a:srgbClr>
                    </a:gs>
                  </a:gsLst>
                  <a:lin ang="0" scaled="1"/>
                  <a:tileRect/>
                </a:gradFill>
                <a:ln w="952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" lastClr="FFFFFF"/>
                    </a:solidFill>
                    <a:latin typeface="Calibri"/>
                    <a:cs typeface="+mn-cs"/>
                  </a:endParaRPr>
                </a:p>
              </p:txBody>
            </p:sp>
          </p:grpSp>
        </p:grpSp>
        <p:grpSp>
          <p:nvGrpSpPr>
            <p:cNvPr id="130" name="Gruppe 329"/>
            <p:cNvGrpSpPr>
              <a:grpSpLocks/>
            </p:cNvGrpSpPr>
            <p:nvPr/>
          </p:nvGrpSpPr>
          <p:grpSpPr bwMode="auto">
            <a:xfrm flipH="1">
              <a:off x="3249613" y="4264025"/>
              <a:ext cx="688975" cy="915988"/>
              <a:chOff x="2217739" y="4806539"/>
              <a:chExt cx="1096961" cy="1454561"/>
            </a:xfrm>
          </p:grpSpPr>
          <p:sp>
            <p:nvSpPr>
              <p:cNvPr id="150" name="Ellipse 597"/>
              <p:cNvSpPr/>
              <p:nvPr/>
            </p:nvSpPr>
            <p:spPr bwMode="auto">
              <a:xfrm>
                <a:off x="2217739" y="5953229"/>
                <a:ext cx="1096961" cy="307871"/>
              </a:xfrm>
              <a:prstGeom prst="ellipse">
                <a:avLst/>
              </a:prstGeom>
              <a:gradFill flip="none" rotWithShape="1">
                <a:gsLst>
                  <a:gs pos="24000">
                    <a:sysClr val="windowText" lastClr="000000">
                      <a:alpha val="42000"/>
                    </a:sysClr>
                  </a:gs>
                  <a:gs pos="100000">
                    <a:sysClr val="window" lastClr="FFFFFF">
                      <a:alpha val="0"/>
                    </a:sysClr>
                  </a:gs>
                </a:gsLst>
                <a:path path="shape">
                  <a:fillToRect l="50000" t="50000" r="50000" b="50000"/>
                </a:path>
                <a:tileRect/>
              </a:gradFill>
              <a:ln w="9525" cap="flat" cmpd="sng" algn="ctr">
                <a:noFill/>
                <a:prstDash val="solid"/>
              </a:ln>
              <a:effectLst/>
            </p:spPr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 dirty="0" err="1">
                  <a:solidFill>
                    <a:sysClr val="window" lastClr="FFFFFF"/>
                  </a:solidFill>
                  <a:latin typeface="Calibri"/>
                  <a:ea typeface="ＭＳ Ｐゴシック" pitchFamily="-97" charset="-128"/>
                  <a:cs typeface="+mn-cs"/>
                </a:endParaRPr>
              </a:p>
            </p:txBody>
          </p:sp>
          <p:grpSp>
            <p:nvGrpSpPr>
              <p:cNvPr id="151" name="Gruppe 850"/>
              <p:cNvGrpSpPr>
                <a:grpSpLocks/>
              </p:cNvGrpSpPr>
              <p:nvPr/>
            </p:nvGrpSpPr>
            <p:grpSpPr bwMode="auto">
              <a:xfrm>
                <a:off x="2505880" y="4806539"/>
                <a:ext cx="619253" cy="1371364"/>
                <a:chOff x="2505880" y="4806539"/>
                <a:chExt cx="619253" cy="1371364"/>
              </a:xfrm>
            </p:grpSpPr>
            <p:grpSp>
              <p:nvGrpSpPr>
                <p:cNvPr id="152" name="Gruppe 823"/>
                <p:cNvGrpSpPr>
                  <a:grpSpLocks/>
                </p:cNvGrpSpPr>
                <p:nvPr/>
              </p:nvGrpSpPr>
              <p:grpSpPr bwMode="auto">
                <a:xfrm>
                  <a:off x="2505880" y="4876801"/>
                  <a:ext cx="619253" cy="1301102"/>
                  <a:chOff x="1019825" y="3975120"/>
                  <a:chExt cx="733880" cy="1898022"/>
                </a:xfrm>
              </p:grpSpPr>
              <p:grpSp>
                <p:nvGrpSpPr>
                  <p:cNvPr id="154" name="Gruppe 605"/>
                  <p:cNvGrpSpPr>
                    <a:grpSpLocks/>
                  </p:cNvGrpSpPr>
                  <p:nvPr/>
                </p:nvGrpSpPr>
                <p:grpSpPr bwMode="auto">
                  <a:xfrm>
                    <a:off x="1019825" y="4093264"/>
                    <a:ext cx="733880" cy="1779878"/>
                    <a:chOff x="-9197" y="3501174"/>
                    <a:chExt cx="972790" cy="2359306"/>
                  </a:xfrm>
                </p:grpSpPr>
                <p:sp>
                  <p:nvSpPr>
                    <p:cNvPr id="160" name="Freeform 130"/>
                    <p:cNvSpPr>
                      <a:spLocks/>
                    </p:cNvSpPr>
                    <p:nvPr/>
                  </p:nvSpPr>
                  <p:spPr bwMode="auto">
                    <a:xfrm>
                      <a:off x="-18112" y="3529653"/>
                      <a:ext cx="970581" cy="2472185"/>
                    </a:xfrm>
                    <a:custGeom>
                      <a:avLst/>
                      <a:gdLst/>
                      <a:ahLst/>
                      <a:cxnLst>
                        <a:cxn ang="0">
                          <a:pos x="145" y="87"/>
                        </a:cxn>
                        <a:cxn ang="0">
                          <a:pos x="99" y="110"/>
                        </a:cxn>
                        <a:cxn ang="0">
                          <a:pos x="93" y="162"/>
                        </a:cxn>
                        <a:cxn ang="0">
                          <a:pos x="158" y="272"/>
                        </a:cxn>
                        <a:cxn ang="0">
                          <a:pos x="138" y="326"/>
                        </a:cxn>
                        <a:cxn ang="0">
                          <a:pos x="89" y="375"/>
                        </a:cxn>
                        <a:cxn ang="0">
                          <a:pos x="70" y="414"/>
                        </a:cxn>
                        <a:cxn ang="0">
                          <a:pos x="94" y="449"/>
                        </a:cxn>
                        <a:cxn ang="0">
                          <a:pos x="168" y="522"/>
                        </a:cxn>
                        <a:cxn ang="0">
                          <a:pos x="150" y="638"/>
                        </a:cxn>
                        <a:cxn ang="0">
                          <a:pos x="115" y="750"/>
                        </a:cxn>
                        <a:cxn ang="0">
                          <a:pos x="70" y="804"/>
                        </a:cxn>
                        <a:cxn ang="0">
                          <a:pos x="53" y="835"/>
                        </a:cxn>
                        <a:cxn ang="0">
                          <a:pos x="75" y="868"/>
                        </a:cxn>
                        <a:cxn ang="0">
                          <a:pos x="34" y="905"/>
                        </a:cxn>
                        <a:cxn ang="0">
                          <a:pos x="8" y="942"/>
                        </a:cxn>
                        <a:cxn ang="0">
                          <a:pos x="15" y="999"/>
                        </a:cxn>
                        <a:cxn ang="0">
                          <a:pos x="0" y="1121"/>
                        </a:cxn>
                        <a:cxn ang="0">
                          <a:pos x="69" y="1163"/>
                        </a:cxn>
                        <a:cxn ang="0">
                          <a:pos x="171" y="1189"/>
                        </a:cxn>
                        <a:cxn ang="0">
                          <a:pos x="285" y="1193"/>
                        </a:cxn>
                        <a:cxn ang="0">
                          <a:pos x="393" y="1175"/>
                        </a:cxn>
                        <a:cxn ang="0">
                          <a:pos x="474" y="1129"/>
                        </a:cxn>
                        <a:cxn ang="0">
                          <a:pos x="484" y="1032"/>
                        </a:cxn>
                        <a:cxn ang="0">
                          <a:pos x="489" y="965"/>
                        </a:cxn>
                        <a:cxn ang="0">
                          <a:pos x="470" y="921"/>
                        </a:cxn>
                        <a:cxn ang="0">
                          <a:pos x="441" y="870"/>
                        </a:cxn>
                        <a:cxn ang="0">
                          <a:pos x="449" y="832"/>
                        </a:cxn>
                        <a:cxn ang="0">
                          <a:pos x="425" y="805"/>
                        </a:cxn>
                        <a:cxn ang="0">
                          <a:pos x="373" y="713"/>
                        </a:cxn>
                        <a:cxn ang="0">
                          <a:pos x="349" y="609"/>
                        </a:cxn>
                        <a:cxn ang="0">
                          <a:pos x="344" y="485"/>
                        </a:cxn>
                        <a:cxn ang="0">
                          <a:pos x="417" y="446"/>
                        </a:cxn>
                        <a:cxn ang="0">
                          <a:pos x="436" y="411"/>
                        </a:cxn>
                        <a:cxn ang="0">
                          <a:pos x="414" y="374"/>
                        </a:cxn>
                        <a:cxn ang="0">
                          <a:pos x="379" y="343"/>
                        </a:cxn>
                        <a:cxn ang="0">
                          <a:pos x="393" y="306"/>
                        </a:cxn>
                        <a:cxn ang="0">
                          <a:pos x="376" y="273"/>
                        </a:cxn>
                        <a:cxn ang="0">
                          <a:pos x="409" y="192"/>
                        </a:cxn>
                        <a:cxn ang="0">
                          <a:pos x="432" y="139"/>
                        </a:cxn>
                        <a:cxn ang="0">
                          <a:pos x="416" y="110"/>
                        </a:cxn>
                        <a:cxn ang="0">
                          <a:pos x="349" y="77"/>
                        </a:cxn>
                        <a:cxn ang="0">
                          <a:pos x="322" y="42"/>
                        </a:cxn>
                        <a:cxn ang="0">
                          <a:pos x="309" y="16"/>
                        </a:cxn>
                        <a:cxn ang="0">
                          <a:pos x="281" y="2"/>
                        </a:cxn>
                        <a:cxn ang="0">
                          <a:pos x="243" y="3"/>
                        </a:cxn>
                        <a:cxn ang="0">
                          <a:pos x="215" y="27"/>
                        </a:cxn>
                      </a:cxnLst>
                      <a:rect l="0" t="0" r="r" b="b"/>
                      <a:pathLst>
                        <a:path w="493" h="1194">
                          <a:moveTo>
                            <a:pt x="208" y="62"/>
                          </a:moveTo>
                          <a:lnTo>
                            <a:pt x="167" y="83"/>
                          </a:lnTo>
                          <a:lnTo>
                            <a:pt x="145" y="87"/>
                          </a:lnTo>
                          <a:lnTo>
                            <a:pt x="125" y="93"/>
                          </a:lnTo>
                          <a:lnTo>
                            <a:pt x="110" y="100"/>
                          </a:lnTo>
                          <a:lnTo>
                            <a:pt x="99" y="110"/>
                          </a:lnTo>
                          <a:lnTo>
                            <a:pt x="92" y="124"/>
                          </a:lnTo>
                          <a:lnTo>
                            <a:pt x="90" y="141"/>
                          </a:lnTo>
                          <a:lnTo>
                            <a:pt x="93" y="162"/>
                          </a:lnTo>
                          <a:lnTo>
                            <a:pt x="104" y="187"/>
                          </a:lnTo>
                          <a:lnTo>
                            <a:pt x="158" y="242"/>
                          </a:lnTo>
                          <a:lnTo>
                            <a:pt x="158" y="272"/>
                          </a:lnTo>
                          <a:lnTo>
                            <a:pt x="140" y="282"/>
                          </a:lnTo>
                          <a:lnTo>
                            <a:pt x="135" y="302"/>
                          </a:lnTo>
                          <a:lnTo>
                            <a:pt x="138" y="326"/>
                          </a:lnTo>
                          <a:lnTo>
                            <a:pt x="147" y="346"/>
                          </a:lnTo>
                          <a:lnTo>
                            <a:pt x="104" y="360"/>
                          </a:lnTo>
                          <a:lnTo>
                            <a:pt x="89" y="375"/>
                          </a:lnTo>
                          <a:lnTo>
                            <a:pt x="77" y="389"/>
                          </a:lnTo>
                          <a:lnTo>
                            <a:pt x="71" y="402"/>
                          </a:lnTo>
                          <a:lnTo>
                            <a:pt x="70" y="414"/>
                          </a:lnTo>
                          <a:lnTo>
                            <a:pt x="74" y="426"/>
                          </a:lnTo>
                          <a:lnTo>
                            <a:pt x="82" y="437"/>
                          </a:lnTo>
                          <a:lnTo>
                            <a:pt x="94" y="449"/>
                          </a:lnTo>
                          <a:lnTo>
                            <a:pt x="113" y="459"/>
                          </a:lnTo>
                          <a:lnTo>
                            <a:pt x="173" y="480"/>
                          </a:lnTo>
                          <a:lnTo>
                            <a:pt x="168" y="522"/>
                          </a:lnTo>
                          <a:lnTo>
                            <a:pt x="162" y="562"/>
                          </a:lnTo>
                          <a:lnTo>
                            <a:pt x="156" y="601"/>
                          </a:lnTo>
                          <a:lnTo>
                            <a:pt x="150" y="638"/>
                          </a:lnTo>
                          <a:lnTo>
                            <a:pt x="140" y="676"/>
                          </a:lnTo>
                          <a:lnTo>
                            <a:pt x="129" y="713"/>
                          </a:lnTo>
                          <a:lnTo>
                            <a:pt x="115" y="750"/>
                          </a:lnTo>
                          <a:lnTo>
                            <a:pt x="98" y="789"/>
                          </a:lnTo>
                          <a:lnTo>
                            <a:pt x="83" y="796"/>
                          </a:lnTo>
                          <a:lnTo>
                            <a:pt x="70" y="804"/>
                          </a:lnTo>
                          <a:lnTo>
                            <a:pt x="61" y="814"/>
                          </a:lnTo>
                          <a:lnTo>
                            <a:pt x="55" y="823"/>
                          </a:lnTo>
                          <a:lnTo>
                            <a:pt x="53" y="835"/>
                          </a:lnTo>
                          <a:lnTo>
                            <a:pt x="55" y="845"/>
                          </a:lnTo>
                          <a:lnTo>
                            <a:pt x="62" y="857"/>
                          </a:lnTo>
                          <a:lnTo>
                            <a:pt x="75" y="868"/>
                          </a:lnTo>
                          <a:lnTo>
                            <a:pt x="78" y="889"/>
                          </a:lnTo>
                          <a:lnTo>
                            <a:pt x="53" y="896"/>
                          </a:lnTo>
                          <a:lnTo>
                            <a:pt x="34" y="905"/>
                          </a:lnTo>
                          <a:lnTo>
                            <a:pt x="21" y="916"/>
                          </a:lnTo>
                          <a:lnTo>
                            <a:pt x="13" y="928"/>
                          </a:lnTo>
                          <a:lnTo>
                            <a:pt x="8" y="942"/>
                          </a:lnTo>
                          <a:lnTo>
                            <a:pt x="8" y="959"/>
                          </a:lnTo>
                          <a:lnTo>
                            <a:pt x="10" y="978"/>
                          </a:lnTo>
                          <a:lnTo>
                            <a:pt x="15" y="999"/>
                          </a:lnTo>
                          <a:lnTo>
                            <a:pt x="19" y="1032"/>
                          </a:lnTo>
                          <a:lnTo>
                            <a:pt x="0" y="1057"/>
                          </a:lnTo>
                          <a:lnTo>
                            <a:pt x="0" y="1121"/>
                          </a:lnTo>
                          <a:lnTo>
                            <a:pt x="18" y="1137"/>
                          </a:lnTo>
                          <a:lnTo>
                            <a:pt x="41" y="1151"/>
                          </a:lnTo>
                          <a:lnTo>
                            <a:pt x="69" y="1163"/>
                          </a:lnTo>
                          <a:lnTo>
                            <a:pt x="101" y="1174"/>
                          </a:lnTo>
                          <a:lnTo>
                            <a:pt x="135" y="1182"/>
                          </a:lnTo>
                          <a:lnTo>
                            <a:pt x="171" y="1189"/>
                          </a:lnTo>
                          <a:lnTo>
                            <a:pt x="208" y="1192"/>
                          </a:lnTo>
                          <a:lnTo>
                            <a:pt x="246" y="1194"/>
                          </a:lnTo>
                          <a:lnTo>
                            <a:pt x="285" y="1193"/>
                          </a:lnTo>
                          <a:lnTo>
                            <a:pt x="322" y="1190"/>
                          </a:lnTo>
                          <a:lnTo>
                            <a:pt x="359" y="1184"/>
                          </a:lnTo>
                          <a:lnTo>
                            <a:pt x="393" y="1175"/>
                          </a:lnTo>
                          <a:lnTo>
                            <a:pt x="424" y="1162"/>
                          </a:lnTo>
                          <a:lnTo>
                            <a:pt x="451" y="1147"/>
                          </a:lnTo>
                          <a:lnTo>
                            <a:pt x="474" y="1129"/>
                          </a:lnTo>
                          <a:lnTo>
                            <a:pt x="493" y="1107"/>
                          </a:lnTo>
                          <a:lnTo>
                            <a:pt x="493" y="1069"/>
                          </a:lnTo>
                          <a:lnTo>
                            <a:pt x="484" y="1032"/>
                          </a:lnTo>
                          <a:lnTo>
                            <a:pt x="487" y="1005"/>
                          </a:lnTo>
                          <a:lnTo>
                            <a:pt x="489" y="984"/>
                          </a:lnTo>
                          <a:lnTo>
                            <a:pt x="489" y="965"/>
                          </a:lnTo>
                          <a:lnTo>
                            <a:pt x="486" y="950"/>
                          </a:lnTo>
                          <a:lnTo>
                            <a:pt x="480" y="936"/>
                          </a:lnTo>
                          <a:lnTo>
                            <a:pt x="470" y="921"/>
                          </a:lnTo>
                          <a:lnTo>
                            <a:pt x="454" y="906"/>
                          </a:lnTo>
                          <a:lnTo>
                            <a:pt x="433" y="888"/>
                          </a:lnTo>
                          <a:lnTo>
                            <a:pt x="441" y="870"/>
                          </a:lnTo>
                          <a:lnTo>
                            <a:pt x="446" y="855"/>
                          </a:lnTo>
                          <a:lnTo>
                            <a:pt x="449" y="842"/>
                          </a:lnTo>
                          <a:lnTo>
                            <a:pt x="449" y="832"/>
                          </a:lnTo>
                          <a:lnTo>
                            <a:pt x="444" y="823"/>
                          </a:lnTo>
                          <a:lnTo>
                            <a:pt x="438" y="814"/>
                          </a:lnTo>
                          <a:lnTo>
                            <a:pt x="425" y="805"/>
                          </a:lnTo>
                          <a:lnTo>
                            <a:pt x="409" y="793"/>
                          </a:lnTo>
                          <a:lnTo>
                            <a:pt x="389" y="751"/>
                          </a:lnTo>
                          <a:lnTo>
                            <a:pt x="373" y="713"/>
                          </a:lnTo>
                          <a:lnTo>
                            <a:pt x="362" y="677"/>
                          </a:lnTo>
                          <a:lnTo>
                            <a:pt x="355" y="644"/>
                          </a:lnTo>
                          <a:lnTo>
                            <a:pt x="349" y="609"/>
                          </a:lnTo>
                          <a:lnTo>
                            <a:pt x="345" y="572"/>
                          </a:lnTo>
                          <a:lnTo>
                            <a:pt x="344" y="531"/>
                          </a:lnTo>
                          <a:lnTo>
                            <a:pt x="344" y="485"/>
                          </a:lnTo>
                          <a:lnTo>
                            <a:pt x="379" y="471"/>
                          </a:lnTo>
                          <a:lnTo>
                            <a:pt x="404" y="455"/>
                          </a:lnTo>
                          <a:lnTo>
                            <a:pt x="417" y="446"/>
                          </a:lnTo>
                          <a:lnTo>
                            <a:pt x="426" y="435"/>
                          </a:lnTo>
                          <a:lnTo>
                            <a:pt x="433" y="423"/>
                          </a:lnTo>
                          <a:lnTo>
                            <a:pt x="436" y="411"/>
                          </a:lnTo>
                          <a:lnTo>
                            <a:pt x="434" y="398"/>
                          </a:lnTo>
                          <a:lnTo>
                            <a:pt x="427" y="386"/>
                          </a:lnTo>
                          <a:lnTo>
                            <a:pt x="414" y="374"/>
                          </a:lnTo>
                          <a:lnTo>
                            <a:pt x="394" y="364"/>
                          </a:lnTo>
                          <a:lnTo>
                            <a:pt x="368" y="356"/>
                          </a:lnTo>
                          <a:lnTo>
                            <a:pt x="379" y="343"/>
                          </a:lnTo>
                          <a:lnTo>
                            <a:pt x="386" y="330"/>
                          </a:lnTo>
                          <a:lnTo>
                            <a:pt x="390" y="318"/>
                          </a:lnTo>
                          <a:lnTo>
                            <a:pt x="393" y="306"/>
                          </a:lnTo>
                          <a:lnTo>
                            <a:pt x="390" y="295"/>
                          </a:lnTo>
                          <a:lnTo>
                            <a:pt x="386" y="283"/>
                          </a:lnTo>
                          <a:lnTo>
                            <a:pt x="376" y="273"/>
                          </a:lnTo>
                          <a:lnTo>
                            <a:pt x="364" y="261"/>
                          </a:lnTo>
                          <a:lnTo>
                            <a:pt x="389" y="227"/>
                          </a:lnTo>
                          <a:lnTo>
                            <a:pt x="409" y="192"/>
                          </a:lnTo>
                          <a:lnTo>
                            <a:pt x="420" y="170"/>
                          </a:lnTo>
                          <a:lnTo>
                            <a:pt x="428" y="153"/>
                          </a:lnTo>
                          <a:lnTo>
                            <a:pt x="432" y="139"/>
                          </a:lnTo>
                          <a:lnTo>
                            <a:pt x="432" y="128"/>
                          </a:lnTo>
                          <a:lnTo>
                            <a:pt x="426" y="118"/>
                          </a:lnTo>
                          <a:lnTo>
                            <a:pt x="416" y="110"/>
                          </a:lnTo>
                          <a:lnTo>
                            <a:pt x="400" y="102"/>
                          </a:lnTo>
                          <a:lnTo>
                            <a:pt x="378" y="92"/>
                          </a:lnTo>
                          <a:lnTo>
                            <a:pt x="349" y="77"/>
                          </a:lnTo>
                          <a:lnTo>
                            <a:pt x="320" y="68"/>
                          </a:lnTo>
                          <a:lnTo>
                            <a:pt x="322" y="54"/>
                          </a:lnTo>
                          <a:lnTo>
                            <a:pt x="322" y="42"/>
                          </a:lnTo>
                          <a:lnTo>
                            <a:pt x="320" y="32"/>
                          </a:lnTo>
                          <a:lnTo>
                            <a:pt x="315" y="23"/>
                          </a:lnTo>
                          <a:lnTo>
                            <a:pt x="309" y="16"/>
                          </a:lnTo>
                          <a:lnTo>
                            <a:pt x="300" y="10"/>
                          </a:lnTo>
                          <a:lnTo>
                            <a:pt x="291" y="5"/>
                          </a:lnTo>
                          <a:lnTo>
                            <a:pt x="281" y="2"/>
                          </a:lnTo>
                          <a:lnTo>
                            <a:pt x="268" y="0"/>
                          </a:lnTo>
                          <a:lnTo>
                            <a:pt x="256" y="1"/>
                          </a:lnTo>
                          <a:lnTo>
                            <a:pt x="243" y="3"/>
                          </a:lnTo>
                          <a:lnTo>
                            <a:pt x="233" y="8"/>
                          </a:lnTo>
                          <a:lnTo>
                            <a:pt x="222" y="16"/>
                          </a:lnTo>
                          <a:lnTo>
                            <a:pt x="215" y="27"/>
                          </a:lnTo>
                          <a:lnTo>
                            <a:pt x="211" y="42"/>
                          </a:lnTo>
                          <a:lnTo>
                            <a:pt x="208" y="62"/>
                          </a:lnTo>
                          <a:close/>
                        </a:path>
                      </a:pathLst>
                    </a:custGeom>
                    <a:gradFill flip="none" rotWithShape="1">
                      <a:gsLst>
                        <a:gs pos="100000">
                          <a:srgbClr val="E6E6E6"/>
                        </a:gs>
                        <a:gs pos="69000">
                          <a:srgbClr val="E6E6E6">
                            <a:lumMod val="90000"/>
                          </a:srgbClr>
                        </a:gs>
                        <a:gs pos="0">
                          <a:srgbClr val="E6E6E6">
                            <a:lumMod val="75000"/>
                          </a:srgbClr>
                        </a:gs>
                      </a:gsLst>
                      <a:lin ang="0" scaled="1"/>
                      <a:tileRect/>
                    </a:gradFill>
                    <a:ln w="9525" cap="flat" cmpd="sng" algn="ctr">
                      <a:noFill/>
                      <a:prstDash val="solid"/>
                    </a:ln>
                    <a:effectLst>
                      <a:outerShdw blurRad="40000" dist="23000" dir="5400000" rotWithShape="0">
                        <a:srgbClr val="000000">
                          <a:alpha val="35000"/>
                        </a:srgbClr>
                      </a:outerShdw>
                    </a:effectLst>
                  </p:spPr>
                  <p:txBody>
                    <a:bodyPr anchor="ctr"/>
                    <a:lstStyle/>
                    <a:p>
                      <a:pPr algn="ctr" fontAlgn="auto">
                        <a:spcBef>
                          <a:spcPts val="0"/>
                        </a:spcBef>
                        <a:spcAft>
                          <a:spcPts val="0"/>
                        </a:spcAft>
                        <a:defRPr/>
                      </a:pPr>
                      <a:endParaRPr lang="da-DK" kern="0">
                        <a:solidFill>
                          <a:sysClr val="window" lastClr="FFFFFF"/>
                        </a:solidFill>
                        <a:latin typeface="Calibri"/>
                        <a:cs typeface="+mn-cs"/>
                      </a:endParaRPr>
                    </a:p>
                  </p:txBody>
                </p:sp>
                <p:sp>
                  <p:nvSpPr>
                    <p:cNvPr id="161" name="Freeform 131"/>
                    <p:cNvSpPr>
                      <a:spLocks/>
                    </p:cNvSpPr>
                    <p:nvPr/>
                  </p:nvSpPr>
                  <p:spPr bwMode="auto">
                    <a:xfrm>
                      <a:off x="326282" y="3679483"/>
                      <a:ext cx="344413" cy="112384"/>
                    </a:xfrm>
                    <a:custGeom>
                      <a:avLst/>
                      <a:gdLst/>
                      <a:ahLst/>
                      <a:cxnLst>
                        <a:cxn ang="0">
                          <a:pos x="13" y="8"/>
                        </a:cxn>
                        <a:cxn ang="0">
                          <a:pos x="0" y="22"/>
                        </a:cxn>
                        <a:cxn ang="0">
                          <a:pos x="8" y="43"/>
                        </a:cxn>
                        <a:cxn ang="0">
                          <a:pos x="28" y="49"/>
                        </a:cxn>
                        <a:cxn ang="0">
                          <a:pos x="53" y="54"/>
                        </a:cxn>
                        <a:cxn ang="0">
                          <a:pos x="81" y="58"/>
                        </a:cxn>
                        <a:cxn ang="0">
                          <a:pos x="108" y="56"/>
                        </a:cxn>
                        <a:cxn ang="0">
                          <a:pos x="135" y="53"/>
                        </a:cxn>
                        <a:cxn ang="0">
                          <a:pos x="159" y="46"/>
                        </a:cxn>
                        <a:cxn ang="0">
                          <a:pos x="176" y="33"/>
                        </a:cxn>
                        <a:cxn ang="0">
                          <a:pos x="185" y="16"/>
                        </a:cxn>
                        <a:cxn ang="0">
                          <a:pos x="160" y="6"/>
                        </a:cxn>
                        <a:cxn ang="0">
                          <a:pos x="144" y="0"/>
                        </a:cxn>
                        <a:cxn ang="0">
                          <a:pos x="139" y="15"/>
                        </a:cxn>
                        <a:cxn ang="0">
                          <a:pos x="127" y="24"/>
                        </a:cxn>
                        <a:cxn ang="0">
                          <a:pos x="109" y="29"/>
                        </a:cxn>
                        <a:cxn ang="0">
                          <a:pos x="89" y="29"/>
                        </a:cxn>
                        <a:cxn ang="0">
                          <a:pos x="68" y="25"/>
                        </a:cxn>
                        <a:cxn ang="0">
                          <a:pos x="51" y="20"/>
                        </a:cxn>
                        <a:cxn ang="0">
                          <a:pos x="38" y="11"/>
                        </a:cxn>
                        <a:cxn ang="0">
                          <a:pos x="33" y="1"/>
                        </a:cxn>
                        <a:cxn ang="0">
                          <a:pos x="13" y="8"/>
                        </a:cxn>
                      </a:cxnLst>
                      <a:rect l="0" t="0" r="r" b="b"/>
                      <a:pathLst>
                        <a:path w="185" h="58">
                          <a:moveTo>
                            <a:pt x="13" y="8"/>
                          </a:moveTo>
                          <a:lnTo>
                            <a:pt x="0" y="22"/>
                          </a:lnTo>
                          <a:lnTo>
                            <a:pt x="8" y="43"/>
                          </a:lnTo>
                          <a:lnTo>
                            <a:pt x="28" y="49"/>
                          </a:lnTo>
                          <a:lnTo>
                            <a:pt x="53" y="54"/>
                          </a:lnTo>
                          <a:lnTo>
                            <a:pt x="81" y="58"/>
                          </a:lnTo>
                          <a:lnTo>
                            <a:pt x="108" y="56"/>
                          </a:lnTo>
                          <a:lnTo>
                            <a:pt x="135" y="53"/>
                          </a:lnTo>
                          <a:lnTo>
                            <a:pt x="159" y="46"/>
                          </a:lnTo>
                          <a:lnTo>
                            <a:pt x="176" y="33"/>
                          </a:lnTo>
                          <a:lnTo>
                            <a:pt x="185" y="16"/>
                          </a:lnTo>
                          <a:lnTo>
                            <a:pt x="160" y="6"/>
                          </a:lnTo>
                          <a:lnTo>
                            <a:pt x="144" y="0"/>
                          </a:lnTo>
                          <a:lnTo>
                            <a:pt x="139" y="15"/>
                          </a:lnTo>
                          <a:lnTo>
                            <a:pt x="127" y="24"/>
                          </a:lnTo>
                          <a:lnTo>
                            <a:pt x="109" y="29"/>
                          </a:lnTo>
                          <a:lnTo>
                            <a:pt x="89" y="29"/>
                          </a:lnTo>
                          <a:lnTo>
                            <a:pt x="68" y="25"/>
                          </a:lnTo>
                          <a:lnTo>
                            <a:pt x="51" y="20"/>
                          </a:lnTo>
                          <a:lnTo>
                            <a:pt x="38" y="11"/>
                          </a:lnTo>
                          <a:lnTo>
                            <a:pt x="33" y="1"/>
                          </a:lnTo>
                          <a:lnTo>
                            <a:pt x="13" y="8"/>
                          </a:lnTo>
                          <a:close/>
                        </a:path>
                      </a:pathLst>
                    </a:custGeom>
                    <a:solidFill>
                      <a:srgbClr val="E6E6E6">
                        <a:lumMod val="10000"/>
                      </a:srgbClr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pPr fontAlgn="auto">
                        <a:spcBef>
                          <a:spcPts val="0"/>
                        </a:spcBef>
                        <a:spcAft>
                          <a:spcPts val="0"/>
                        </a:spcAft>
                        <a:defRPr/>
                      </a:pPr>
                      <a:endParaRPr lang="da-DK" kern="0">
                        <a:solidFill>
                          <a:sysClr val="windowText" lastClr="000000"/>
                        </a:solidFill>
                        <a:latin typeface="+mn-lt"/>
                        <a:ea typeface="ＭＳ Ｐゴシック" pitchFamily="-97" charset="-128"/>
                        <a:cs typeface="+mn-cs"/>
                      </a:endParaRPr>
                    </a:p>
                  </p:txBody>
                </p:sp>
                <p:sp>
                  <p:nvSpPr>
                    <p:cNvPr id="162" name="Freeform 132"/>
                    <p:cNvSpPr>
                      <a:spLocks/>
                    </p:cNvSpPr>
                    <p:nvPr/>
                  </p:nvSpPr>
                  <p:spPr bwMode="auto">
                    <a:xfrm>
                      <a:off x="169745" y="3754398"/>
                      <a:ext cx="657487" cy="187299"/>
                    </a:xfrm>
                    <a:custGeom>
                      <a:avLst/>
                      <a:gdLst/>
                      <a:ahLst/>
                      <a:cxnLst>
                        <a:cxn ang="0">
                          <a:pos x="32" y="10"/>
                        </a:cxn>
                        <a:cxn ang="0">
                          <a:pos x="1" y="26"/>
                        </a:cxn>
                        <a:cxn ang="0">
                          <a:pos x="0" y="43"/>
                        </a:cxn>
                        <a:cxn ang="0">
                          <a:pos x="3" y="60"/>
                        </a:cxn>
                        <a:cxn ang="0">
                          <a:pos x="14" y="71"/>
                        </a:cxn>
                        <a:cxn ang="0">
                          <a:pos x="27" y="81"/>
                        </a:cxn>
                        <a:cxn ang="0">
                          <a:pos x="46" y="90"/>
                        </a:cxn>
                        <a:cxn ang="0">
                          <a:pos x="67" y="95"/>
                        </a:cxn>
                        <a:cxn ang="0">
                          <a:pos x="91" y="100"/>
                        </a:cxn>
                        <a:cxn ang="0">
                          <a:pos x="117" y="102"/>
                        </a:cxn>
                        <a:cxn ang="0">
                          <a:pos x="144" y="102"/>
                        </a:cxn>
                        <a:cxn ang="0">
                          <a:pos x="171" y="102"/>
                        </a:cxn>
                        <a:cxn ang="0">
                          <a:pos x="199" y="100"/>
                        </a:cxn>
                        <a:cxn ang="0">
                          <a:pos x="225" y="98"/>
                        </a:cxn>
                        <a:cxn ang="0">
                          <a:pos x="251" y="94"/>
                        </a:cxn>
                        <a:cxn ang="0">
                          <a:pos x="273" y="90"/>
                        </a:cxn>
                        <a:cxn ang="0">
                          <a:pos x="292" y="85"/>
                        </a:cxn>
                        <a:cxn ang="0">
                          <a:pos x="308" y="79"/>
                        </a:cxn>
                        <a:cxn ang="0">
                          <a:pos x="319" y="71"/>
                        </a:cxn>
                        <a:cxn ang="0">
                          <a:pos x="326" y="61"/>
                        </a:cxn>
                        <a:cxn ang="0">
                          <a:pos x="329" y="50"/>
                        </a:cxn>
                        <a:cxn ang="0">
                          <a:pos x="329" y="39"/>
                        </a:cxn>
                        <a:cxn ang="0">
                          <a:pos x="325" y="28"/>
                        </a:cxn>
                        <a:cxn ang="0">
                          <a:pos x="316" y="18"/>
                        </a:cxn>
                        <a:cxn ang="0">
                          <a:pos x="303" y="8"/>
                        </a:cxn>
                        <a:cxn ang="0">
                          <a:pos x="285" y="0"/>
                        </a:cxn>
                        <a:cxn ang="0">
                          <a:pos x="269" y="18"/>
                        </a:cxn>
                        <a:cxn ang="0">
                          <a:pos x="252" y="31"/>
                        </a:cxn>
                        <a:cxn ang="0">
                          <a:pos x="234" y="39"/>
                        </a:cxn>
                        <a:cxn ang="0">
                          <a:pos x="215" y="43"/>
                        </a:cxn>
                        <a:cxn ang="0">
                          <a:pos x="194" y="45"/>
                        </a:cxn>
                        <a:cxn ang="0">
                          <a:pos x="173" y="43"/>
                        </a:cxn>
                        <a:cxn ang="0">
                          <a:pos x="148" y="41"/>
                        </a:cxn>
                        <a:cxn ang="0">
                          <a:pos x="122" y="40"/>
                        </a:cxn>
                        <a:cxn ang="0">
                          <a:pos x="67" y="30"/>
                        </a:cxn>
                        <a:cxn ang="0">
                          <a:pos x="49" y="3"/>
                        </a:cxn>
                        <a:cxn ang="0">
                          <a:pos x="32" y="10"/>
                        </a:cxn>
                      </a:cxnLst>
                      <a:rect l="0" t="0" r="r" b="b"/>
                      <a:pathLst>
                        <a:path w="329" h="102">
                          <a:moveTo>
                            <a:pt x="32" y="10"/>
                          </a:moveTo>
                          <a:lnTo>
                            <a:pt x="1" y="26"/>
                          </a:lnTo>
                          <a:lnTo>
                            <a:pt x="0" y="43"/>
                          </a:lnTo>
                          <a:lnTo>
                            <a:pt x="3" y="60"/>
                          </a:lnTo>
                          <a:lnTo>
                            <a:pt x="14" y="71"/>
                          </a:lnTo>
                          <a:lnTo>
                            <a:pt x="27" y="81"/>
                          </a:lnTo>
                          <a:lnTo>
                            <a:pt x="46" y="90"/>
                          </a:lnTo>
                          <a:lnTo>
                            <a:pt x="67" y="95"/>
                          </a:lnTo>
                          <a:lnTo>
                            <a:pt x="91" y="100"/>
                          </a:lnTo>
                          <a:lnTo>
                            <a:pt x="117" y="102"/>
                          </a:lnTo>
                          <a:lnTo>
                            <a:pt x="144" y="102"/>
                          </a:lnTo>
                          <a:lnTo>
                            <a:pt x="171" y="102"/>
                          </a:lnTo>
                          <a:lnTo>
                            <a:pt x="199" y="100"/>
                          </a:lnTo>
                          <a:lnTo>
                            <a:pt x="225" y="98"/>
                          </a:lnTo>
                          <a:lnTo>
                            <a:pt x="251" y="94"/>
                          </a:lnTo>
                          <a:lnTo>
                            <a:pt x="273" y="90"/>
                          </a:lnTo>
                          <a:lnTo>
                            <a:pt x="292" y="85"/>
                          </a:lnTo>
                          <a:lnTo>
                            <a:pt x="308" y="79"/>
                          </a:lnTo>
                          <a:lnTo>
                            <a:pt x="319" y="71"/>
                          </a:lnTo>
                          <a:lnTo>
                            <a:pt x="326" y="61"/>
                          </a:lnTo>
                          <a:lnTo>
                            <a:pt x="329" y="50"/>
                          </a:lnTo>
                          <a:lnTo>
                            <a:pt x="329" y="39"/>
                          </a:lnTo>
                          <a:lnTo>
                            <a:pt x="325" y="28"/>
                          </a:lnTo>
                          <a:lnTo>
                            <a:pt x="316" y="18"/>
                          </a:lnTo>
                          <a:lnTo>
                            <a:pt x="303" y="8"/>
                          </a:lnTo>
                          <a:lnTo>
                            <a:pt x="285" y="0"/>
                          </a:lnTo>
                          <a:lnTo>
                            <a:pt x="269" y="18"/>
                          </a:lnTo>
                          <a:lnTo>
                            <a:pt x="252" y="31"/>
                          </a:lnTo>
                          <a:lnTo>
                            <a:pt x="234" y="39"/>
                          </a:lnTo>
                          <a:lnTo>
                            <a:pt x="215" y="43"/>
                          </a:lnTo>
                          <a:lnTo>
                            <a:pt x="194" y="45"/>
                          </a:lnTo>
                          <a:lnTo>
                            <a:pt x="173" y="43"/>
                          </a:lnTo>
                          <a:lnTo>
                            <a:pt x="148" y="41"/>
                          </a:lnTo>
                          <a:lnTo>
                            <a:pt x="122" y="40"/>
                          </a:lnTo>
                          <a:lnTo>
                            <a:pt x="67" y="30"/>
                          </a:lnTo>
                          <a:lnTo>
                            <a:pt x="49" y="3"/>
                          </a:lnTo>
                          <a:lnTo>
                            <a:pt x="32" y="10"/>
                          </a:lnTo>
                          <a:close/>
                        </a:path>
                      </a:pathLst>
                    </a:custGeom>
                    <a:solidFill>
                      <a:srgbClr val="E6E6E6">
                        <a:lumMod val="10000"/>
                      </a:srgbClr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pPr fontAlgn="auto">
                        <a:spcBef>
                          <a:spcPts val="0"/>
                        </a:spcBef>
                        <a:spcAft>
                          <a:spcPts val="0"/>
                        </a:spcAft>
                        <a:defRPr/>
                      </a:pPr>
                      <a:endParaRPr lang="da-DK" kern="0">
                        <a:solidFill>
                          <a:sysClr val="windowText" lastClr="000000"/>
                        </a:solidFill>
                        <a:latin typeface="+mn-lt"/>
                        <a:ea typeface="ＭＳ Ｐゴシック" pitchFamily="-97" charset="-128"/>
                        <a:cs typeface="+mn-cs"/>
                      </a:endParaRPr>
                    </a:p>
                  </p:txBody>
                </p:sp>
                <p:sp>
                  <p:nvSpPr>
                    <p:cNvPr id="163" name="Freeform 133"/>
                    <p:cNvSpPr>
                      <a:spLocks/>
                    </p:cNvSpPr>
                    <p:nvPr/>
                  </p:nvSpPr>
                  <p:spPr bwMode="auto">
                    <a:xfrm>
                      <a:off x="294982" y="4166440"/>
                      <a:ext cx="375713" cy="37446"/>
                    </a:xfrm>
                    <a:custGeom>
                      <a:avLst/>
                      <a:gdLst/>
                      <a:ahLst/>
                      <a:cxnLst>
                        <a:cxn ang="0">
                          <a:pos x="12" y="0"/>
                        </a:cxn>
                        <a:cxn ang="0">
                          <a:pos x="24" y="6"/>
                        </a:cxn>
                        <a:cxn ang="0">
                          <a:pos x="35" y="12"/>
                        </a:cxn>
                        <a:cxn ang="0">
                          <a:pos x="47" y="15"/>
                        </a:cxn>
                        <a:cxn ang="0">
                          <a:pos x="58" y="17"/>
                        </a:cxn>
                        <a:cxn ang="0">
                          <a:pos x="70" y="20"/>
                        </a:cxn>
                        <a:cxn ang="0">
                          <a:pos x="82" y="21"/>
                        </a:cxn>
                        <a:cxn ang="0">
                          <a:pos x="94" y="22"/>
                        </a:cxn>
                        <a:cxn ang="0">
                          <a:pos x="106" y="21"/>
                        </a:cxn>
                        <a:cxn ang="0">
                          <a:pos x="119" y="20"/>
                        </a:cxn>
                        <a:cxn ang="0">
                          <a:pos x="131" y="19"/>
                        </a:cxn>
                        <a:cxn ang="0">
                          <a:pos x="143" y="16"/>
                        </a:cxn>
                        <a:cxn ang="0">
                          <a:pos x="156" y="14"/>
                        </a:cxn>
                        <a:cxn ang="0">
                          <a:pos x="167" y="12"/>
                        </a:cxn>
                        <a:cxn ang="0">
                          <a:pos x="180" y="8"/>
                        </a:cxn>
                        <a:cxn ang="0">
                          <a:pos x="192" y="6"/>
                        </a:cxn>
                        <a:cxn ang="0">
                          <a:pos x="204" y="2"/>
                        </a:cxn>
                        <a:cxn ang="0">
                          <a:pos x="204" y="14"/>
                        </a:cxn>
                        <a:cxn ang="0">
                          <a:pos x="196" y="17"/>
                        </a:cxn>
                        <a:cxn ang="0">
                          <a:pos x="188" y="21"/>
                        </a:cxn>
                        <a:cxn ang="0">
                          <a:pos x="178" y="24"/>
                        </a:cxn>
                        <a:cxn ang="0">
                          <a:pos x="167" y="27"/>
                        </a:cxn>
                        <a:cxn ang="0">
                          <a:pos x="155" y="30"/>
                        </a:cxn>
                        <a:cxn ang="0">
                          <a:pos x="143" y="32"/>
                        </a:cxn>
                        <a:cxn ang="0">
                          <a:pos x="129" y="35"/>
                        </a:cxn>
                        <a:cxn ang="0">
                          <a:pos x="117" y="37"/>
                        </a:cxn>
                        <a:cxn ang="0">
                          <a:pos x="102" y="37"/>
                        </a:cxn>
                        <a:cxn ang="0">
                          <a:pos x="88" y="37"/>
                        </a:cxn>
                        <a:cxn ang="0">
                          <a:pos x="73" y="36"/>
                        </a:cxn>
                        <a:cxn ang="0">
                          <a:pos x="58" y="34"/>
                        </a:cxn>
                        <a:cxn ang="0">
                          <a:pos x="44" y="29"/>
                        </a:cxn>
                        <a:cxn ang="0">
                          <a:pos x="29" y="24"/>
                        </a:cxn>
                        <a:cxn ang="0">
                          <a:pos x="14" y="17"/>
                        </a:cxn>
                        <a:cxn ang="0">
                          <a:pos x="0" y="8"/>
                        </a:cxn>
                        <a:cxn ang="0">
                          <a:pos x="12" y="0"/>
                        </a:cxn>
                      </a:cxnLst>
                      <a:rect l="0" t="0" r="r" b="b"/>
                      <a:pathLst>
                        <a:path w="204" h="37">
                          <a:moveTo>
                            <a:pt x="12" y="0"/>
                          </a:moveTo>
                          <a:lnTo>
                            <a:pt x="24" y="6"/>
                          </a:lnTo>
                          <a:lnTo>
                            <a:pt x="35" y="12"/>
                          </a:lnTo>
                          <a:lnTo>
                            <a:pt x="47" y="15"/>
                          </a:lnTo>
                          <a:lnTo>
                            <a:pt x="58" y="17"/>
                          </a:lnTo>
                          <a:lnTo>
                            <a:pt x="70" y="20"/>
                          </a:lnTo>
                          <a:lnTo>
                            <a:pt x="82" y="21"/>
                          </a:lnTo>
                          <a:lnTo>
                            <a:pt x="94" y="22"/>
                          </a:lnTo>
                          <a:lnTo>
                            <a:pt x="106" y="21"/>
                          </a:lnTo>
                          <a:lnTo>
                            <a:pt x="119" y="20"/>
                          </a:lnTo>
                          <a:lnTo>
                            <a:pt x="131" y="19"/>
                          </a:lnTo>
                          <a:lnTo>
                            <a:pt x="143" y="16"/>
                          </a:lnTo>
                          <a:lnTo>
                            <a:pt x="156" y="14"/>
                          </a:lnTo>
                          <a:lnTo>
                            <a:pt x="167" y="12"/>
                          </a:lnTo>
                          <a:lnTo>
                            <a:pt x="180" y="8"/>
                          </a:lnTo>
                          <a:lnTo>
                            <a:pt x="192" y="6"/>
                          </a:lnTo>
                          <a:lnTo>
                            <a:pt x="204" y="2"/>
                          </a:lnTo>
                          <a:lnTo>
                            <a:pt x="204" y="14"/>
                          </a:lnTo>
                          <a:lnTo>
                            <a:pt x="196" y="17"/>
                          </a:lnTo>
                          <a:lnTo>
                            <a:pt x="188" y="21"/>
                          </a:lnTo>
                          <a:lnTo>
                            <a:pt x="178" y="24"/>
                          </a:lnTo>
                          <a:lnTo>
                            <a:pt x="167" y="27"/>
                          </a:lnTo>
                          <a:lnTo>
                            <a:pt x="155" y="30"/>
                          </a:lnTo>
                          <a:lnTo>
                            <a:pt x="143" y="32"/>
                          </a:lnTo>
                          <a:lnTo>
                            <a:pt x="129" y="35"/>
                          </a:lnTo>
                          <a:lnTo>
                            <a:pt x="117" y="37"/>
                          </a:lnTo>
                          <a:lnTo>
                            <a:pt x="102" y="37"/>
                          </a:lnTo>
                          <a:lnTo>
                            <a:pt x="88" y="37"/>
                          </a:lnTo>
                          <a:lnTo>
                            <a:pt x="73" y="36"/>
                          </a:lnTo>
                          <a:lnTo>
                            <a:pt x="58" y="34"/>
                          </a:lnTo>
                          <a:lnTo>
                            <a:pt x="44" y="29"/>
                          </a:lnTo>
                          <a:lnTo>
                            <a:pt x="29" y="24"/>
                          </a:lnTo>
                          <a:lnTo>
                            <a:pt x="14" y="17"/>
                          </a:lnTo>
                          <a:lnTo>
                            <a:pt x="0" y="8"/>
                          </a:lnTo>
                          <a:lnTo>
                            <a:pt x="12" y="0"/>
                          </a:lnTo>
                          <a:close/>
                        </a:path>
                      </a:pathLst>
                    </a:custGeom>
                    <a:solidFill>
                      <a:srgbClr val="E6E6E6">
                        <a:lumMod val="90000"/>
                      </a:srgbClr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pPr fontAlgn="auto">
                        <a:spcBef>
                          <a:spcPts val="0"/>
                        </a:spcBef>
                        <a:spcAft>
                          <a:spcPts val="0"/>
                        </a:spcAft>
                        <a:defRPr/>
                      </a:pPr>
                      <a:endParaRPr lang="da-DK" kern="0">
                        <a:solidFill>
                          <a:sysClr val="windowText" lastClr="000000"/>
                        </a:solidFill>
                        <a:latin typeface="+mn-lt"/>
                        <a:ea typeface="ＭＳ Ｐゴシック" pitchFamily="-97" charset="-128"/>
                        <a:cs typeface="+mn-cs"/>
                      </a:endParaRPr>
                    </a:p>
                  </p:txBody>
                </p:sp>
                <p:sp>
                  <p:nvSpPr>
                    <p:cNvPr id="164" name="Freeform 135"/>
                    <p:cNvSpPr>
                      <a:spLocks/>
                    </p:cNvSpPr>
                    <p:nvPr/>
                  </p:nvSpPr>
                  <p:spPr bwMode="auto">
                    <a:xfrm>
                      <a:off x="138426" y="4241355"/>
                      <a:ext cx="688806" cy="187275"/>
                    </a:xfrm>
                    <a:custGeom>
                      <a:avLst/>
                      <a:gdLst/>
                      <a:ahLst/>
                      <a:cxnLst>
                        <a:cxn ang="0">
                          <a:pos x="40" y="0"/>
                        </a:cxn>
                        <a:cxn ang="0">
                          <a:pos x="19" y="9"/>
                        </a:cxn>
                        <a:cxn ang="0">
                          <a:pos x="6" y="20"/>
                        </a:cxn>
                        <a:cxn ang="0">
                          <a:pos x="0" y="30"/>
                        </a:cxn>
                        <a:cxn ang="0">
                          <a:pos x="0" y="42"/>
                        </a:cxn>
                        <a:cxn ang="0">
                          <a:pos x="7" y="53"/>
                        </a:cxn>
                        <a:cxn ang="0">
                          <a:pos x="17" y="65"/>
                        </a:cxn>
                        <a:cxn ang="0">
                          <a:pos x="32" y="75"/>
                        </a:cxn>
                        <a:cxn ang="0">
                          <a:pos x="50" y="85"/>
                        </a:cxn>
                        <a:cxn ang="0">
                          <a:pos x="66" y="89"/>
                        </a:cxn>
                        <a:cxn ang="0">
                          <a:pos x="82" y="92"/>
                        </a:cxn>
                        <a:cxn ang="0">
                          <a:pos x="97" y="95"/>
                        </a:cxn>
                        <a:cxn ang="0">
                          <a:pos x="113" y="96"/>
                        </a:cxn>
                        <a:cxn ang="0">
                          <a:pos x="128" y="98"/>
                        </a:cxn>
                        <a:cxn ang="0">
                          <a:pos x="144" y="99"/>
                        </a:cxn>
                        <a:cxn ang="0">
                          <a:pos x="159" y="99"/>
                        </a:cxn>
                        <a:cxn ang="0">
                          <a:pos x="174" y="100"/>
                        </a:cxn>
                        <a:cxn ang="0">
                          <a:pos x="189" y="100"/>
                        </a:cxn>
                        <a:cxn ang="0">
                          <a:pos x="205" y="100"/>
                        </a:cxn>
                        <a:cxn ang="0">
                          <a:pos x="220" y="99"/>
                        </a:cxn>
                        <a:cxn ang="0">
                          <a:pos x="236" y="99"/>
                        </a:cxn>
                        <a:cxn ang="0">
                          <a:pos x="251" y="98"/>
                        </a:cxn>
                        <a:cxn ang="0">
                          <a:pos x="267" y="97"/>
                        </a:cxn>
                        <a:cxn ang="0">
                          <a:pos x="284" y="95"/>
                        </a:cxn>
                        <a:cxn ang="0">
                          <a:pos x="300" y="94"/>
                        </a:cxn>
                        <a:cxn ang="0">
                          <a:pos x="323" y="81"/>
                        </a:cxn>
                        <a:cxn ang="0">
                          <a:pos x="339" y="68"/>
                        </a:cxn>
                        <a:cxn ang="0">
                          <a:pos x="349" y="56"/>
                        </a:cxn>
                        <a:cxn ang="0">
                          <a:pos x="351" y="43"/>
                        </a:cxn>
                        <a:cxn ang="0">
                          <a:pos x="348" y="31"/>
                        </a:cxn>
                        <a:cxn ang="0">
                          <a:pos x="338" y="21"/>
                        </a:cxn>
                        <a:cxn ang="0">
                          <a:pos x="320" y="12"/>
                        </a:cxn>
                        <a:cxn ang="0">
                          <a:pos x="296" y="5"/>
                        </a:cxn>
                        <a:cxn ang="0">
                          <a:pos x="298" y="15"/>
                        </a:cxn>
                        <a:cxn ang="0">
                          <a:pos x="294" y="23"/>
                        </a:cxn>
                        <a:cxn ang="0">
                          <a:pos x="284" y="30"/>
                        </a:cxn>
                        <a:cxn ang="0">
                          <a:pos x="272" y="37"/>
                        </a:cxn>
                        <a:cxn ang="0">
                          <a:pos x="258" y="38"/>
                        </a:cxn>
                        <a:cxn ang="0">
                          <a:pos x="245" y="39"/>
                        </a:cxn>
                        <a:cxn ang="0">
                          <a:pos x="234" y="41"/>
                        </a:cxn>
                        <a:cxn ang="0">
                          <a:pos x="222" y="42"/>
                        </a:cxn>
                        <a:cxn ang="0">
                          <a:pos x="211" y="43"/>
                        </a:cxn>
                        <a:cxn ang="0">
                          <a:pos x="199" y="43"/>
                        </a:cxn>
                        <a:cxn ang="0">
                          <a:pos x="188" y="44"/>
                        </a:cxn>
                        <a:cxn ang="0">
                          <a:pos x="178" y="44"/>
                        </a:cxn>
                        <a:cxn ang="0">
                          <a:pos x="166" y="44"/>
                        </a:cxn>
                        <a:cxn ang="0">
                          <a:pos x="155" y="44"/>
                        </a:cxn>
                        <a:cxn ang="0">
                          <a:pos x="143" y="44"/>
                        </a:cxn>
                        <a:cxn ang="0">
                          <a:pos x="133" y="43"/>
                        </a:cxn>
                        <a:cxn ang="0">
                          <a:pos x="120" y="42"/>
                        </a:cxn>
                        <a:cxn ang="0">
                          <a:pos x="108" y="41"/>
                        </a:cxn>
                        <a:cxn ang="0">
                          <a:pos x="96" y="39"/>
                        </a:cxn>
                        <a:cxn ang="0">
                          <a:pos x="82" y="37"/>
                        </a:cxn>
                        <a:cxn ang="0">
                          <a:pos x="73" y="32"/>
                        </a:cxn>
                        <a:cxn ang="0">
                          <a:pos x="65" y="28"/>
                        </a:cxn>
                        <a:cxn ang="0">
                          <a:pos x="58" y="23"/>
                        </a:cxn>
                        <a:cxn ang="0">
                          <a:pos x="52" y="19"/>
                        </a:cxn>
                        <a:cxn ang="0">
                          <a:pos x="47" y="14"/>
                        </a:cxn>
                        <a:cxn ang="0">
                          <a:pos x="44" y="11"/>
                        </a:cxn>
                        <a:cxn ang="0">
                          <a:pos x="42" y="5"/>
                        </a:cxn>
                        <a:cxn ang="0">
                          <a:pos x="40" y="0"/>
                        </a:cxn>
                      </a:cxnLst>
                      <a:rect l="0" t="0" r="r" b="b"/>
                      <a:pathLst>
                        <a:path w="351" h="100">
                          <a:moveTo>
                            <a:pt x="40" y="0"/>
                          </a:moveTo>
                          <a:lnTo>
                            <a:pt x="19" y="9"/>
                          </a:lnTo>
                          <a:lnTo>
                            <a:pt x="6" y="20"/>
                          </a:lnTo>
                          <a:lnTo>
                            <a:pt x="0" y="30"/>
                          </a:lnTo>
                          <a:lnTo>
                            <a:pt x="0" y="42"/>
                          </a:lnTo>
                          <a:lnTo>
                            <a:pt x="7" y="53"/>
                          </a:lnTo>
                          <a:lnTo>
                            <a:pt x="17" y="65"/>
                          </a:lnTo>
                          <a:lnTo>
                            <a:pt x="32" y="75"/>
                          </a:lnTo>
                          <a:lnTo>
                            <a:pt x="50" y="85"/>
                          </a:lnTo>
                          <a:lnTo>
                            <a:pt x="66" y="89"/>
                          </a:lnTo>
                          <a:lnTo>
                            <a:pt x="82" y="92"/>
                          </a:lnTo>
                          <a:lnTo>
                            <a:pt x="97" y="95"/>
                          </a:lnTo>
                          <a:lnTo>
                            <a:pt x="113" y="96"/>
                          </a:lnTo>
                          <a:lnTo>
                            <a:pt x="128" y="98"/>
                          </a:lnTo>
                          <a:lnTo>
                            <a:pt x="144" y="99"/>
                          </a:lnTo>
                          <a:lnTo>
                            <a:pt x="159" y="99"/>
                          </a:lnTo>
                          <a:lnTo>
                            <a:pt x="174" y="100"/>
                          </a:lnTo>
                          <a:lnTo>
                            <a:pt x="189" y="100"/>
                          </a:lnTo>
                          <a:lnTo>
                            <a:pt x="205" y="100"/>
                          </a:lnTo>
                          <a:lnTo>
                            <a:pt x="220" y="99"/>
                          </a:lnTo>
                          <a:lnTo>
                            <a:pt x="236" y="99"/>
                          </a:lnTo>
                          <a:lnTo>
                            <a:pt x="251" y="98"/>
                          </a:lnTo>
                          <a:lnTo>
                            <a:pt x="267" y="97"/>
                          </a:lnTo>
                          <a:lnTo>
                            <a:pt x="284" y="95"/>
                          </a:lnTo>
                          <a:lnTo>
                            <a:pt x="300" y="94"/>
                          </a:lnTo>
                          <a:lnTo>
                            <a:pt x="323" y="81"/>
                          </a:lnTo>
                          <a:lnTo>
                            <a:pt x="339" y="68"/>
                          </a:lnTo>
                          <a:lnTo>
                            <a:pt x="349" y="56"/>
                          </a:lnTo>
                          <a:lnTo>
                            <a:pt x="351" y="43"/>
                          </a:lnTo>
                          <a:lnTo>
                            <a:pt x="348" y="31"/>
                          </a:lnTo>
                          <a:lnTo>
                            <a:pt x="338" y="21"/>
                          </a:lnTo>
                          <a:lnTo>
                            <a:pt x="320" y="12"/>
                          </a:lnTo>
                          <a:lnTo>
                            <a:pt x="296" y="5"/>
                          </a:lnTo>
                          <a:lnTo>
                            <a:pt x="298" y="15"/>
                          </a:lnTo>
                          <a:lnTo>
                            <a:pt x="294" y="23"/>
                          </a:lnTo>
                          <a:lnTo>
                            <a:pt x="284" y="30"/>
                          </a:lnTo>
                          <a:lnTo>
                            <a:pt x="272" y="37"/>
                          </a:lnTo>
                          <a:lnTo>
                            <a:pt x="258" y="38"/>
                          </a:lnTo>
                          <a:lnTo>
                            <a:pt x="245" y="39"/>
                          </a:lnTo>
                          <a:lnTo>
                            <a:pt x="234" y="41"/>
                          </a:lnTo>
                          <a:lnTo>
                            <a:pt x="222" y="42"/>
                          </a:lnTo>
                          <a:lnTo>
                            <a:pt x="211" y="43"/>
                          </a:lnTo>
                          <a:lnTo>
                            <a:pt x="199" y="43"/>
                          </a:lnTo>
                          <a:lnTo>
                            <a:pt x="188" y="44"/>
                          </a:lnTo>
                          <a:lnTo>
                            <a:pt x="178" y="44"/>
                          </a:lnTo>
                          <a:lnTo>
                            <a:pt x="166" y="44"/>
                          </a:lnTo>
                          <a:lnTo>
                            <a:pt x="155" y="44"/>
                          </a:lnTo>
                          <a:lnTo>
                            <a:pt x="143" y="44"/>
                          </a:lnTo>
                          <a:lnTo>
                            <a:pt x="133" y="43"/>
                          </a:lnTo>
                          <a:lnTo>
                            <a:pt x="120" y="42"/>
                          </a:lnTo>
                          <a:lnTo>
                            <a:pt x="108" y="41"/>
                          </a:lnTo>
                          <a:lnTo>
                            <a:pt x="96" y="39"/>
                          </a:lnTo>
                          <a:lnTo>
                            <a:pt x="82" y="37"/>
                          </a:lnTo>
                          <a:lnTo>
                            <a:pt x="73" y="32"/>
                          </a:lnTo>
                          <a:lnTo>
                            <a:pt x="65" y="28"/>
                          </a:lnTo>
                          <a:lnTo>
                            <a:pt x="58" y="23"/>
                          </a:lnTo>
                          <a:lnTo>
                            <a:pt x="52" y="19"/>
                          </a:lnTo>
                          <a:lnTo>
                            <a:pt x="47" y="14"/>
                          </a:lnTo>
                          <a:lnTo>
                            <a:pt x="44" y="11"/>
                          </a:lnTo>
                          <a:lnTo>
                            <a:pt x="42" y="5"/>
                          </a:lnTo>
                          <a:lnTo>
                            <a:pt x="40" y="0"/>
                          </a:lnTo>
                          <a:close/>
                        </a:path>
                      </a:pathLst>
                    </a:custGeom>
                    <a:solidFill>
                      <a:srgbClr val="E6E6E6">
                        <a:lumMod val="90000"/>
                      </a:srgbClr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pPr fontAlgn="auto">
                        <a:spcBef>
                          <a:spcPts val="0"/>
                        </a:spcBef>
                        <a:spcAft>
                          <a:spcPts val="0"/>
                        </a:spcAft>
                        <a:defRPr/>
                      </a:pPr>
                      <a:endParaRPr lang="da-DK" kern="0">
                        <a:solidFill>
                          <a:sysClr val="windowText" lastClr="000000"/>
                        </a:solidFill>
                        <a:latin typeface="+mn-lt"/>
                        <a:ea typeface="ＭＳ Ｐゴシック" pitchFamily="-97" charset="-128"/>
                        <a:cs typeface="+mn-cs"/>
                      </a:endParaRPr>
                    </a:p>
                  </p:txBody>
                </p:sp>
                <p:sp>
                  <p:nvSpPr>
                    <p:cNvPr id="165" name="Freeform 147"/>
                    <p:cNvSpPr>
                      <a:spLocks/>
                    </p:cNvSpPr>
                    <p:nvPr/>
                  </p:nvSpPr>
                  <p:spPr bwMode="auto">
                    <a:xfrm>
                      <a:off x="107126" y="5102862"/>
                      <a:ext cx="751425" cy="299659"/>
                    </a:xfrm>
                    <a:custGeom>
                      <a:avLst/>
                      <a:gdLst/>
                      <a:ahLst/>
                      <a:cxnLst>
                        <a:cxn ang="0">
                          <a:pos x="24" y="4"/>
                        </a:cxn>
                        <a:cxn ang="0">
                          <a:pos x="68" y="40"/>
                        </a:cxn>
                        <a:cxn ang="0">
                          <a:pos x="89" y="44"/>
                        </a:cxn>
                        <a:cxn ang="0">
                          <a:pos x="108" y="48"/>
                        </a:cxn>
                        <a:cxn ang="0">
                          <a:pos x="127" y="53"/>
                        </a:cxn>
                        <a:cxn ang="0">
                          <a:pos x="144" y="55"/>
                        </a:cxn>
                        <a:cxn ang="0">
                          <a:pos x="160" y="57"/>
                        </a:cxn>
                        <a:cxn ang="0">
                          <a:pos x="176" y="59"/>
                        </a:cxn>
                        <a:cxn ang="0">
                          <a:pos x="192" y="59"/>
                        </a:cxn>
                        <a:cxn ang="0">
                          <a:pos x="207" y="59"/>
                        </a:cxn>
                        <a:cxn ang="0">
                          <a:pos x="222" y="58"/>
                        </a:cxn>
                        <a:cxn ang="0">
                          <a:pos x="237" y="57"/>
                        </a:cxn>
                        <a:cxn ang="0">
                          <a:pos x="253" y="54"/>
                        </a:cxn>
                        <a:cxn ang="0">
                          <a:pos x="270" y="50"/>
                        </a:cxn>
                        <a:cxn ang="0">
                          <a:pos x="286" y="46"/>
                        </a:cxn>
                        <a:cxn ang="0">
                          <a:pos x="304" y="39"/>
                        </a:cxn>
                        <a:cxn ang="0">
                          <a:pos x="323" y="32"/>
                        </a:cxn>
                        <a:cxn ang="0">
                          <a:pos x="342" y="23"/>
                        </a:cxn>
                        <a:cxn ang="0">
                          <a:pos x="348" y="10"/>
                        </a:cxn>
                        <a:cxn ang="0">
                          <a:pos x="352" y="3"/>
                        </a:cxn>
                        <a:cxn ang="0">
                          <a:pos x="356" y="0"/>
                        </a:cxn>
                        <a:cxn ang="0">
                          <a:pos x="359" y="1"/>
                        </a:cxn>
                        <a:cxn ang="0">
                          <a:pos x="363" y="4"/>
                        </a:cxn>
                        <a:cxn ang="0">
                          <a:pos x="367" y="11"/>
                        </a:cxn>
                        <a:cxn ang="0">
                          <a:pos x="374" y="20"/>
                        </a:cxn>
                        <a:cxn ang="0">
                          <a:pos x="382" y="32"/>
                        </a:cxn>
                        <a:cxn ang="0">
                          <a:pos x="366" y="55"/>
                        </a:cxn>
                        <a:cxn ang="0">
                          <a:pos x="349" y="65"/>
                        </a:cxn>
                        <a:cxn ang="0">
                          <a:pos x="329" y="73"/>
                        </a:cxn>
                        <a:cxn ang="0">
                          <a:pos x="310" y="80"/>
                        </a:cxn>
                        <a:cxn ang="0">
                          <a:pos x="288" y="86"/>
                        </a:cxn>
                        <a:cxn ang="0">
                          <a:pos x="266" y="91"/>
                        </a:cxn>
                        <a:cxn ang="0">
                          <a:pos x="243" y="94"/>
                        </a:cxn>
                        <a:cxn ang="0">
                          <a:pos x="219" y="96"/>
                        </a:cxn>
                        <a:cxn ang="0">
                          <a:pos x="196" y="96"/>
                        </a:cxn>
                        <a:cxn ang="0">
                          <a:pos x="172" y="96"/>
                        </a:cxn>
                        <a:cxn ang="0">
                          <a:pos x="147" y="95"/>
                        </a:cxn>
                        <a:cxn ang="0">
                          <a:pos x="124" y="92"/>
                        </a:cxn>
                        <a:cxn ang="0">
                          <a:pos x="101" y="88"/>
                        </a:cxn>
                        <a:cxn ang="0">
                          <a:pos x="78" y="84"/>
                        </a:cxn>
                        <a:cxn ang="0">
                          <a:pos x="58" y="79"/>
                        </a:cxn>
                        <a:cxn ang="0">
                          <a:pos x="37" y="72"/>
                        </a:cxn>
                        <a:cxn ang="0">
                          <a:pos x="18" y="65"/>
                        </a:cxn>
                        <a:cxn ang="0">
                          <a:pos x="12" y="56"/>
                        </a:cxn>
                        <a:cxn ang="0">
                          <a:pos x="6" y="47"/>
                        </a:cxn>
                        <a:cxn ang="0">
                          <a:pos x="2" y="38"/>
                        </a:cxn>
                        <a:cxn ang="0">
                          <a:pos x="0" y="28"/>
                        </a:cxn>
                        <a:cxn ang="0">
                          <a:pos x="0" y="20"/>
                        </a:cxn>
                        <a:cxn ang="0">
                          <a:pos x="5" y="13"/>
                        </a:cxn>
                        <a:cxn ang="0">
                          <a:pos x="12" y="8"/>
                        </a:cxn>
                        <a:cxn ang="0">
                          <a:pos x="24" y="4"/>
                        </a:cxn>
                      </a:cxnLst>
                      <a:rect l="0" t="0" r="r" b="b"/>
                      <a:pathLst>
                        <a:path w="382" h="96">
                          <a:moveTo>
                            <a:pt x="24" y="4"/>
                          </a:moveTo>
                          <a:lnTo>
                            <a:pt x="68" y="40"/>
                          </a:lnTo>
                          <a:lnTo>
                            <a:pt x="89" y="44"/>
                          </a:lnTo>
                          <a:lnTo>
                            <a:pt x="108" y="48"/>
                          </a:lnTo>
                          <a:lnTo>
                            <a:pt x="127" y="53"/>
                          </a:lnTo>
                          <a:lnTo>
                            <a:pt x="144" y="55"/>
                          </a:lnTo>
                          <a:lnTo>
                            <a:pt x="160" y="57"/>
                          </a:lnTo>
                          <a:lnTo>
                            <a:pt x="176" y="59"/>
                          </a:lnTo>
                          <a:lnTo>
                            <a:pt x="192" y="59"/>
                          </a:lnTo>
                          <a:lnTo>
                            <a:pt x="207" y="59"/>
                          </a:lnTo>
                          <a:lnTo>
                            <a:pt x="222" y="58"/>
                          </a:lnTo>
                          <a:lnTo>
                            <a:pt x="237" y="57"/>
                          </a:lnTo>
                          <a:lnTo>
                            <a:pt x="253" y="54"/>
                          </a:lnTo>
                          <a:lnTo>
                            <a:pt x="270" y="50"/>
                          </a:lnTo>
                          <a:lnTo>
                            <a:pt x="286" y="46"/>
                          </a:lnTo>
                          <a:lnTo>
                            <a:pt x="304" y="39"/>
                          </a:lnTo>
                          <a:lnTo>
                            <a:pt x="323" y="32"/>
                          </a:lnTo>
                          <a:lnTo>
                            <a:pt x="342" y="23"/>
                          </a:lnTo>
                          <a:lnTo>
                            <a:pt x="348" y="10"/>
                          </a:lnTo>
                          <a:lnTo>
                            <a:pt x="352" y="3"/>
                          </a:lnTo>
                          <a:lnTo>
                            <a:pt x="356" y="0"/>
                          </a:lnTo>
                          <a:lnTo>
                            <a:pt x="359" y="1"/>
                          </a:lnTo>
                          <a:lnTo>
                            <a:pt x="363" y="4"/>
                          </a:lnTo>
                          <a:lnTo>
                            <a:pt x="367" y="11"/>
                          </a:lnTo>
                          <a:lnTo>
                            <a:pt x="374" y="20"/>
                          </a:lnTo>
                          <a:lnTo>
                            <a:pt x="382" y="32"/>
                          </a:lnTo>
                          <a:lnTo>
                            <a:pt x="366" y="55"/>
                          </a:lnTo>
                          <a:lnTo>
                            <a:pt x="349" y="65"/>
                          </a:lnTo>
                          <a:lnTo>
                            <a:pt x="329" y="73"/>
                          </a:lnTo>
                          <a:lnTo>
                            <a:pt x="310" y="80"/>
                          </a:lnTo>
                          <a:lnTo>
                            <a:pt x="288" y="86"/>
                          </a:lnTo>
                          <a:lnTo>
                            <a:pt x="266" y="91"/>
                          </a:lnTo>
                          <a:lnTo>
                            <a:pt x="243" y="94"/>
                          </a:lnTo>
                          <a:lnTo>
                            <a:pt x="219" y="96"/>
                          </a:lnTo>
                          <a:lnTo>
                            <a:pt x="196" y="96"/>
                          </a:lnTo>
                          <a:lnTo>
                            <a:pt x="172" y="96"/>
                          </a:lnTo>
                          <a:lnTo>
                            <a:pt x="147" y="95"/>
                          </a:lnTo>
                          <a:lnTo>
                            <a:pt x="124" y="92"/>
                          </a:lnTo>
                          <a:lnTo>
                            <a:pt x="101" y="88"/>
                          </a:lnTo>
                          <a:lnTo>
                            <a:pt x="78" y="84"/>
                          </a:lnTo>
                          <a:lnTo>
                            <a:pt x="58" y="79"/>
                          </a:lnTo>
                          <a:lnTo>
                            <a:pt x="37" y="72"/>
                          </a:lnTo>
                          <a:lnTo>
                            <a:pt x="18" y="65"/>
                          </a:lnTo>
                          <a:lnTo>
                            <a:pt x="12" y="56"/>
                          </a:lnTo>
                          <a:lnTo>
                            <a:pt x="6" y="47"/>
                          </a:lnTo>
                          <a:lnTo>
                            <a:pt x="2" y="38"/>
                          </a:lnTo>
                          <a:lnTo>
                            <a:pt x="0" y="28"/>
                          </a:lnTo>
                          <a:lnTo>
                            <a:pt x="0" y="20"/>
                          </a:lnTo>
                          <a:lnTo>
                            <a:pt x="5" y="13"/>
                          </a:lnTo>
                          <a:lnTo>
                            <a:pt x="12" y="8"/>
                          </a:lnTo>
                          <a:lnTo>
                            <a:pt x="24" y="4"/>
                          </a:lnTo>
                          <a:close/>
                        </a:path>
                      </a:pathLst>
                    </a:custGeom>
                    <a:solidFill>
                      <a:srgbClr val="E6E6E6">
                        <a:lumMod val="90000"/>
                      </a:srgbClr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pPr fontAlgn="auto">
                        <a:spcBef>
                          <a:spcPts val="0"/>
                        </a:spcBef>
                        <a:spcAft>
                          <a:spcPts val="0"/>
                        </a:spcAft>
                        <a:defRPr/>
                      </a:pPr>
                      <a:endParaRPr lang="da-DK" kern="0">
                        <a:solidFill>
                          <a:sysClr val="windowText" lastClr="000000"/>
                        </a:solidFill>
                        <a:latin typeface="+mn-lt"/>
                        <a:ea typeface="ＭＳ Ｐゴシック" pitchFamily="-97" charset="-128"/>
                        <a:cs typeface="+mn-cs"/>
                      </a:endParaRPr>
                    </a:p>
                  </p:txBody>
                </p:sp>
                <p:sp>
                  <p:nvSpPr>
                    <p:cNvPr id="166" name="Freeform 148"/>
                    <p:cNvSpPr>
                      <a:spLocks/>
                    </p:cNvSpPr>
                    <p:nvPr/>
                  </p:nvSpPr>
                  <p:spPr bwMode="auto">
                    <a:xfrm>
                      <a:off x="-18112" y="5365076"/>
                      <a:ext cx="970581" cy="374574"/>
                    </a:xfrm>
                    <a:custGeom>
                      <a:avLst/>
                      <a:gdLst/>
                      <a:ahLst/>
                      <a:cxnLst>
                        <a:cxn ang="0">
                          <a:pos x="7" y="102"/>
                        </a:cxn>
                        <a:cxn ang="0">
                          <a:pos x="18" y="116"/>
                        </a:cxn>
                        <a:cxn ang="0">
                          <a:pos x="34" y="130"/>
                        </a:cxn>
                        <a:cxn ang="0">
                          <a:pos x="55" y="143"/>
                        </a:cxn>
                        <a:cxn ang="0">
                          <a:pos x="80" y="155"/>
                        </a:cxn>
                        <a:cxn ang="0">
                          <a:pos x="109" y="165"/>
                        </a:cxn>
                        <a:cxn ang="0">
                          <a:pos x="141" y="173"/>
                        </a:cxn>
                        <a:cxn ang="0">
                          <a:pos x="176" y="179"/>
                        </a:cxn>
                        <a:cxn ang="0">
                          <a:pos x="211" y="182"/>
                        </a:cxn>
                        <a:cxn ang="0">
                          <a:pos x="248" y="184"/>
                        </a:cxn>
                        <a:cxn ang="0">
                          <a:pos x="285" y="183"/>
                        </a:cxn>
                        <a:cxn ang="0">
                          <a:pos x="323" y="180"/>
                        </a:cxn>
                        <a:cxn ang="0">
                          <a:pos x="359" y="173"/>
                        </a:cxn>
                        <a:cxn ang="0">
                          <a:pos x="393" y="164"/>
                        </a:cxn>
                        <a:cxn ang="0">
                          <a:pos x="427" y="151"/>
                        </a:cxn>
                        <a:cxn ang="0">
                          <a:pos x="455" y="135"/>
                        </a:cxn>
                        <a:cxn ang="0">
                          <a:pos x="482" y="115"/>
                        </a:cxn>
                        <a:cxn ang="0">
                          <a:pos x="483" y="93"/>
                        </a:cxn>
                        <a:cxn ang="0">
                          <a:pos x="483" y="77"/>
                        </a:cxn>
                        <a:cxn ang="0">
                          <a:pos x="482" y="65"/>
                        </a:cxn>
                        <a:cxn ang="0">
                          <a:pos x="478" y="54"/>
                        </a:cxn>
                        <a:cxn ang="0">
                          <a:pos x="473" y="44"/>
                        </a:cxn>
                        <a:cxn ang="0">
                          <a:pos x="463" y="34"/>
                        </a:cxn>
                        <a:cxn ang="0">
                          <a:pos x="451" y="22"/>
                        </a:cxn>
                        <a:cxn ang="0">
                          <a:pos x="435" y="7"/>
                        </a:cxn>
                        <a:cxn ang="0">
                          <a:pos x="416" y="23"/>
                        </a:cxn>
                        <a:cxn ang="0">
                          <a:pos x="396" y="37"/>
                        </a:cxn>
                        <a:cxn ang="0">
                          <a:pos x="375" y="50"/>
                        </a:cxn>
                        <a:cxn ang="0">
                          <a:pos x="353" y="59"/>
                        </a:cxn>
                        <a:cxn ang="0">
                          <a:pos x="330" y="67"/>
                        </a:cxn>
                        <a:cxn ang="0">
                          <a:pos x="307" y="73"/>
                        </a:cxn>
                        <a:cxn ang="0">
                          <a:pos x="284" y="76"/>
                        </a:cxn>
                        <a:cxn ang="0">
                          <a:pos x="260" y="78"/>
                        </a:cxn>
                        <a:cxn ang="0">
                          <a:pos x="235" y="78"/>
                        </a:cxn>
                        <a:cxn ang="0">
                          <a:pos x="211" y="76"/>
                        </a:cxn>
                        <a:cxn ang="0">
                          <a:pos x="187" y="73"/>
                        </a:cxn>
                        <a:cxn ang="0">
                          <a:pos x="163" y="68"/>
                        </a:cxn>
                        <a:cxn ang="0">
                          <a:pos x="140" y="61"/>
                        </a:cxn>
                        <a:cxn ang="0">
                          <a:pos x="116" y="53"/>
                        </a:cxn>
                        <a:cxn ang="0">
                          <a:pos x="94" y="44"/>
                        </a:cxn>
                        <a:cxn ang="0">
                          <a:pos x="72" y="32"/>
                        </a:cxn>
                        <a:cxn ang="0">
                          <a:pos x="66" y="0"/>
                        </a:cxn>
                        <a:cxn ang="0">
                          <a:pos x="56" y="5"/>
                        </a:cxn>
                        <a:cxn ang="0">
                          <a:pos x="42" y="12"/>
                        </a:cxn>
                        <a:cxn ang="0">
                          <a:pos x="29" y="20"/>
                        </a:cxn>
                        <a:cxn ang="0">
                          <a:pos x="17" y="30"/>
                        </a:cxn>
                        <a:cxn ang="0">
                          <a:pos x="7" y="43"/>
                        </a:cxn>
                        <a:cxn ang="0">
                          <a:pos x="2" y="59"/>
                        </a:cxn>
                        <a:cxn ang="0">
                          <a:pos x="0" y="78"/>
                        </a:cxn>
                        <a:cxn ang="0">
                          <a:pos x="7" y="102"/>
                        </a:cxn>
                      </a:cxnLst>
                      <a:rect l="0" t="0" r="r" b="b"/>
                      <a:pathLst>
                        <a:path w="483" h="184">
                          <a:moveTo>
                            <a:pt x="7" y="102"/>
                          </a:moveTo>
                          <a:lnTo>
                            <a:pt x="18" y="116"/>
                          </a:lnTo>
                          <a:lnTo>
                            <a:pt x="34" y="130"/>
                          </a:lnTo>
                          <a:lnTo>
                            <a:pt x="55" y="143"/>
                          </a:lnTo>
                          <a:lnTo>
                            <a:pt x="80" y="155"/>
                          </a:lnTo>
                          <a:lnTo>
                            <a:pt x="109" y="165"/>
                          </a:lnTo>
                          <a:lnTo>
                            <a:pt x="141" y="173"/>
                          </a:lnTo>
                          <a:lnTo>
                            <a:pt x="176" y="179"/>
                          </a:lnTo>
                          <a:lnTo>
                            <a:pt x="211" y="182"/>
                          </a:lnTo>
                          <a:lnTo>
                            <a:pt x="248" y="184"/>
                          </a:lnTo>
                          <a:lnTo>
                            <a:pt x="285" y="183"/>
                          </a:lnTo>
                          <a:lnTo>
                            <a:pt x="323" y="180"/>
                          </a:lnTo>
                          <a:lnTo>
                            <a:pt x="359" y="173"/>
                          </a:lnTo>
                          <a:lnTo>
                            <a:pt x="393" y="164"/>
                          </a:lnTo>
                          <a:lnTo>
                            <a:pt x="427" y="151"/>
                          </a:lnTo>
                          <a:lnTo>
                            <a:pt x="455" y="135"/>
                          </a:lnTo>
                          <a:lnTo>
                            <a:pt x="482" y="115"/>
                          </a:lnTo>
                          <a:lnTo>
                            <a:pt x="483" y="93"/>
                          </a:lnTo>
                          <a:lnTo>
                            <a:pt x="483" y="77"/>
                          </a:lnTo>
                          <a:lnTo>
                            <a:pt x="482" y="65"/>
                          </a:lnTo>
                          <a:lnTo>
                            <a:pt x="478" y="54"/>
                          </a:lnTo>
                          <a:lnTo>
                            <a:pt x="473" y="44"/>
                          </a:lnTo>
                          <a:lnTo>
                            <a:pt x="463" y="34"/>
                          </a:lnTo>
                          <a:lnTo>
                            <a:pt x="451" y="22"/>
                          </a:lnTo>
                          <a:lnTo>
                            <a:pt x="435" y="7"/>
                          </a:lnTo>
                          <a:lnTo>
                            <a:pt x="416" y="23"/>
                          </a:lnTo>
                          <a:lnTo>
                            <a:pt x="396" y="37"/>
                          </a:lnTo>
                          <a:lnTo>
                            <a:pt x="375" y="50"/>
                          </a:lnTo>
                          <a:lnTo>
                            <a:pt x="353" y="59"/>
                          </a:lnTo>
                          <a:lnTo>
                            <a:pt x="330" y="67"/>
                          </a:lnTo>
                          <a:lnTo>
                            <a:pt x="307" y="73"/>
                          </a:lnTo>
                          <a:lnTo>
                            <a:pt x="284" y="76"/>
                          </a:lnTo>
                          <a:lnTo>
                            <a:pt x="260" y="78"/>
                          </a:lnTo>
                          <a:lnTo>
                            <a:pt x="235" y="78"/>
                          </a:lnTo>
                          <a:lnTo>
                            <a:pt x="211" y="76"/>
                          </a:lnTo>
                          <a:lnTo>
                            <a:pt x="187" y="73"/>
                          </a:lnTo>
                          <a:lnTo>
                            <a:pt x="163" y="68"/>
                          </a:lnTo>
                          <a:lnTo>
                            <a:pt x="140" y="61"/>
                          </a:lnTo>
                          <a:lnTo>
                            <a:pt x="116" y="53"/>
                          </a:lnTo>
                          <a:lnTo>
                            <a:pt x="94" y="44"/>
                          </a:lnTo>
                          <a:lnTo>
                            <a:pt x="72" y="32"/>
                          </a:lnTo>
                          <a:lnTo>
                            <a:pt x="66" y="0"/>
                          </a:lnTo>
                          <a:lnTo>
                            <a:pt x="56" y="5"/>
                          </a:lnTo>
                          <a:lnTo>
                            <a:pt x="42" y="12"/>
                          </a:lnTo>
                          <a:lnTo>
                            <a:pt x="29" y="20"/>
                          </a:lnTo>
                          <a:lnTo>
                            <a:pt x="17" y="30"/>
                          </a:lnTo>
                          <a:lnTo>
                            <a:pt x="7" y="43"/>
                          </a:lnTo>
                          <a:lnTo>
                            <a:pt x="2" y="59"/>
                          </a:lnTo>
                          <a:lnTo>
                            <a:pt x="0" y="78"/>
                          </a:lnTo>
                          <a:lnTo>
                            <a:pt x="7" y="102"/>
                          </a:lnTo>
                          <a:close/>
                        </a:path>
                      </a:pathLst>
                    </a:custGeom>
                    <a:solidFill>
                      <a:srgbClr val="E6E6E6">
                        <a:lumMod val="90000"/>
                      </a:srgbClr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pPr fontAlgn="auto">
                        <a:spcBef>
                          <a:spcPts val="0"/>
                        </a:spcBef>
                        <a:spcAft>
                          <a:spcPts val="0"/>
                        </a:spcAft>
                        <a:defRPr/>
                      </a:pPr>
                      <a:endParaRPr lang="da-DK" kern="0">
                        <a:solidFill>
                          <a:sysClr val="windowText" lastClr="000000"/>
                        </a:solidFill>
                        <a:latin typeface="+mn-lt"/>
                        <a:ea typeface="ＭＳ Ｐゴシック" pitchFamily="-97" charset="-128"/>
                        <a:cs typeface="+mn-cs"/>
                      </a:endParaRPr>
                    </a:p>
                  </p:txBody>
                </p:sp>
                <p:sp>
                  <p:nvSpPr>
                    <p:cNvPr id="167" name="Freeform 184"/>
                    <p:cNvSpPr>
                      <a:spLocks/>
                    </p:cNvSpPr>
                    <p:nvPr/>
                  </p:nvSpPr>
                  <p:spPr bwMode="auto">
                    <a:xfrm>
                      <a:off x="420220" y="3529653"/>
                      <a:ext cx="156537" cy="149829"/>
                    </a:xfrm>
                    <a:custGeom>
                      <a:avLst/>
                      <a:gdLst/>
                      <a:ahLst/>
                      <a:cxnLst>
                        <a:cxn ang="0">
                          <a:pos x="48" y="0"/>
                        </a:cxn>
                        <a:cxn ang="0">
                          <a:pos x="57" y="2"/>
                        </a:cxn>
                        <a:cxn ang="0">
                          <a:pos x="66" y="3"/>
                        </a:cxn>
                        <a:cxn ang="0">
                          <a:pos x="74" y="6"/>
                        </a:cxn>
                        <a:cxn ang="0">
                          <a:pos x="81" y="11"/>
                        </a:cxn>
                        <a:cxn ang="0">
                          <a:pos x="87" y="16"/>
                        </a:cxn>
                        <a:cxn ang="0">
                          <a:pos x="91" y="22"/>
                        </a:cxn>
                        <a:cxn ang="0">
                          <a:pos x="94" y="29"/>
                        </a:cxn>
                        <a:cxn ang="0">
                          <a:pos x="95" y="36"/>
                        </a:cxn>
                        <a:cxn ang="0">
                          <a:pos x="94" y="43"/>
                        </a:cxn>
                        <a:cxn ang="0">
                          <a:pos x="91" y="50"/>
                        </a:cxn>
                        <a:cxn ang="0">
                          <a:pos x="87" y="56"/>
                        </a:cxn>
                        <a:cxn ang="0">
                          <a:pos x="81" y="61"/>
                        </a:cxn>
                        <a:cxn ang="0">
                          <a:pos x="74" y="66"/>
                        </a:cxn>
                        <a:cxn ang="0">
                          <a:pos x="66" y="69"/>
                        </a:cxn>
                        <a:cxn ang="0">
                          <a:pos x="57" y="71"/>
                        </a:cxn>
                        <a:cxn ang="0">
                          <a:pos x="48" y="72"/>
                        </a:cxn>
                        <a:cxn ang="0">
                          <a:pos x="38" y="71"/>
                        </a:cxn>
                        <a:cxn ang="0">
                          <a:pos x="29" y="69"/>
                        </a:cxn>
                        <a:cxn ang="0">
                          <a:pos x="21" y="66"/>
                        </a:cxn>
                        <a:cxn ang="0">
                          <a:pos x="14" y="61"/>
                        </a:cxn>
                        <a:cxn ang="0">
                          <a:pos x="8" y="56"/>
                        </a:cxn>
                        <a:cxn ang="0">
                          <a:pos x="4" y="50"/>
                        </a:cxn>
                        <a:cxn ang="0">
                          <a:pos x="2" y="43"/>
                        </a:cxn>
                        <a:cxn ang="0">
                          <a:pos x="0" y="36"/>
                        </a:cxn>
                        <a:cxn ang="0">
                          <a:pos x="2" y="29"/>
                        </a:cxn>
                        <a:cxn ang="0">
                          <a:pos x="4" y="22"/>
                        </a:cxn>
                        <a:cxn ang="0">
                          <a:pos x="8" y="16"/>
                        </a:cxn>
                        <a:cxn ang="0">
                          <a:pos x="14" y="11"/>
                        </a:cxn>
                        <a:cxn ang="0">
                          <a:pos x="21" y="6"/>
                        </a:cxn>
                        <a:cxn ang="0">
                          <a:pos x="29" y="3"/>
                        </a:cxn>
                        <a:cxn ang="0">
                          <a:pos x="38" y="2"/>
                        </a:cxn>
                        <a:cxn ang="0">
                          <a:pos x="48" y="0"/>
                        </a:cxn>
                      </a:cxnLst>
                      <a:rect l="0" t="0" r="r" b="b"/>
                      <a:pathLst>
                        <a:path w="95" h="72">
                          <a:moveTo>
                            <a:pt x="48" y="0"/>
                          </a:moveTo>
                          <a:lnTo>
                            <a:pt x="57" y="2"/>
                          </a:lnTo>
                          <a:lnTo>
                            <a:pt x="66" y="3"/>
                          </a:lnTo>
                          <a:lnTo>
                            <a:pt x="74" y="6"/>
                          </a:lnTo>
                          <a:lnTo>
                            <a:pt x="81" y="11"/>
                          </a:lnTo>
                          <a:lnTo>
                            <a:pt x="87" y="16"/>
                          </a:lnTo>
                          <a:lnTo>
                            <a:pt x="91" y="22"/>
                          </a:lnTo>
                          <a:lnTo>
                            <a:pt x="94" y="29"/>
                          </a:lnTo>
                          <a:lnTo>
                            <a:pt x="95" y="36"/>
                          </a:lnTo>
                          <a:lnTo>
                            <a:pt x="94" y="43"/>
                          </a:lnTo>
                          <a:lnTo>
                            <a:pt x="91" y="50"/>
                          </a:lnTo>
                          <a:lnTo>
                            <a:pt x="87" y="56"/>
                          </a:lnTo>
                          <a:lnTo>
                            <a:pt x="81" y="61"/>
                          </a:lnTo>
                          <a:lnTo>
                            <a:pt x="74" y="66"/>
                          </a:lnTo>
                          <a:lnTo>
                            <a:pt x="66" y="69"/>
                          </a:lnTo>
                          <a:lnTo>
                            <a:pt x="57" y="71"/>
                          </a:lnTo>
                          <a:lnTo>
                            <a:pt x="48" y="72"/>
                          </a:lnTo>
                          <a:lnTo>
                            <a:pt x="38" y="71"/>
                          </a:lnTo>
                          <a:lnTo>
                            <a:pt x="29" y="69"/>
                          </a:lnTo>
                          <a:lnTo>
                            <a:pt x="21" y="66"/>
                          </a:lnTo>
                          <a:lnTo>
                            <a:pt x="14" y="61"/>
                          </a:lnTo>
                          <a:lnTo>
                            <a:pt x="8" y="56"/>
                          </a:lnTo>
                          <a:lnTo>
                            <a:pt x="4" y="50"/>
                          </a:lnTo>
                          <a:lnTo>
                            <a:pt x="2" y="43"/>
                          </a:lnTo>
                          <a:lnTo>
                            <a:pt x="0" y="36"/>
                          </a:lnTo>
                          <a:lnTo>
                            <a:pt x="2" y="29"/>
                          </a:lnTo>
                          <a:lnTo>
                            <a:pt x="4" y="22"/>
                          </a:lnTo>
                          <a:lnTo>
                            <a:pt x="8" y="16"/>
                          </a:lnTo>
                          <a:lnTo>
                            <a:pt x="14" y="11"/>
                          </a:lnTo>
                          <a:lnTo>
                            <a:pt x="21" y="6"/>
                          </a:lnTo>
                          <a:lnTo>
                            <a:pt x="29" y="3"/>
                          </a:lnTo>
                          <a:lnTo>
                            <a:pt x="38" y="2"/>
                          </a:lnTo>
                          <a:lnTo>
                            <a:pt x="48" y="0"/>
                          </a:lnTo>
                          <a:close/>
                        </a:path>
                      </a:pathLst>
                    </a:custGeom>
                    <a:solidFill>
                      <a:srgbClr val="E6E6E6">
                        <a:lumMod val="10000"/>
                      </a:srgbClr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pPr fontAlgn="auto">
                        <a:spcBef>
                          <a:spcPts val="0"/>
                        </a:spcBef>
                        <a:spcAft>
                          <a:spcPts val="0"/>
                        </a:spcAft>
                        <a:defRPr/>
                      </a:pPr>
                      <a:endParaRPr lang="da-DK" kern="0">
                        <a:solidFill>
                          <a:sysClr val="windowText" lastClr="000000"/>
                        </a:solidFill>
                        <a:latin typeface="+mn-lt"/>
                        <a:ea typeface="ＭＳ Ｐゴシック" pitchFamily="-97" charset="-128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155" name="Gruppe 813"/>
                  <p:cNvGrpSpPr/>
                  <p:nvPr/>
                </p:nvGrpSpPr>
                <p:grpSpPr>
                  <a:xfrm>
                    <a:off x="1203876" y="3975120"/>
                    <a:ext cx="443011" cy="1727207"/>
                    <a:chOff x="3781425" y="3433763"/>
                    <a:chExt cx="490538" cy="1912498"/>
                  </a:xfrm>
                  <a:solidFill>
                    <a:srgbClr val="FFFFFF">
                      <a:alpha val="9000"/>
                    </a:srgbClr>
                  </a:solidFill>
                </p:grpSpPr>
                <p:sp>
                  <p:nvSpPr>
                    <p:cNvPr id="156" name="Freeform 316"/>
                    <p:cNvSpPr>
                      <a:spLocks/>
                    </p:cNvSpPr>
                    <p:nvPr/>
                  </p:nvSpPr>
                  <p:spPr bwMode="auto">
                    <a:xfrm>
                      <a:off x="3824288" y="3986213"/>
                      <a:ext cx="365125" cy="65088"/>
                    </a:xfrm>
                    <a:custGeom>
                      <a:avLst/>
                      <a:gdLst/>
                      <a:ahLst/>
                      <a:cxnLst>
                        <a:cxn ang="0">
                          <a:pos x="13" y="0"/>
                        </a:cxn>
                        <a:cxn ang="0">
                          <a:pos x="26" y="6"/>
                        </a:cxn>
                        <a:cxn ang="0">
                          <a:pos x="39" y="13"/>
                        </a:cxn>
                        <a:cxn ang="0">
                          <a:pos x="52" y="16"/>
                        </a:cxn>
                        <a:cxn ang="0">
                          <a:pos x="65" y="19"/>
                        </a:cxn>
                        <a:cxn ang="0">
                          <a:pos x="78" y="22"/>
                        </a:cxn>
                        <a:cxn ang="0">
                          <a:pos x="93" y="23"/>
                        </a:cxn>
                        <a:cxn ang="0">
                          <a:pos x="106" y="24"/>
                        </a:cxn>
                        <a:cxn ang="0">
                          <a:pos x="120" y="23"/>
                        </a:cxn>
                        <a:cxn ang="0">
                          <a:pos x="134" y="22"/>
                        </a:cxn>
                        <a:cxn ang="0">
                          <a:pos x="147" y="20"/>
                        </a:cxn>
                        <a:cxn ang="0">
                          <a:pos x="161" y="18"/>
                        </a:cxn>
                        <a:cxn ang="0">
                          <a:pos x="176" y="15"/>
                        </a:cxn>
                        <a:cxn ang="0">
                          <a:pos x="189" y="13"/>
                        </a:cxn>
                        <a:cxn ang="0">
                          <a:pos x="203" y="9"/>
                        </a:cxn>
                        <a:cxn ang="0">
                          <a:pos x="216" y="6"/>
                        </a:cxn>
                        <a:cxn ang="0">
                          <a:pos x="230" y="2"/>
                        </a:cxn>
                        <a:cxn ang="0">
                          <a:pos x="230" y="15"/>
                        </a:cxn>
                        <a:cxn ang="0">
                          <a:pos x="221" y="19"/>
                        </a:cxn>
                        <a:cxn ang="0">
                          <a:pos x="212" y="23"/>
                        </a:cxn>
                        <a:cxn ang="0">
                          <a:pos x="200" y="27"/>
                        </a:cxn>
                        <a:cxn ang="0">
                          <a:pos x="189" y="29"/>
                        </a:cxn>
                        <a:cxn ang="0">
                          <a:pos x="174" y="33"/>
                        </a:cxn>
                        <a:cxn ang="0">
                          <a:pos x="161" y="36"/>
                        </a:cxn>
                        <a:cxn ang="0">
                          <a:pos x="146" y="39"/>
                        </a:cxn>
                        <a:cxn ang="0">
                          <a:pos x="132" y="41"/>
                        </a:cxn>
                        <a:cxn ang="0">
                          <a:pos x="115" y="41"/>
                        </a:cxn>
                        <a:cxn ang="0">
                          <a:pos x="99" y="41"/>
                        </a:cxn>
                        <a:cxn ang="0">
                          <a:pos x="82" y="40"/>
                        </a:cxn>
                        <a:cxn ang="0">
                          <a:pos x="65" y="37"/>
                        </a:cxn>
                        <a:cxn ang="0">
                          <a:pos x="50" y="32"/>
                        </a:cxn>
                        <a:cxn ang="0">
                          <a:pos x="33" y="27"/>
                        </a:cxn>
                        <a:cxn ang="0">
                          <a:pos x="16" y="19"/>
                        </a:cxn>
                        <a:cxn ang="0">
                          <a:pos x="0" y="9"/>
                        </a:cxn>
                        <a:cxn ang="0">
                          <a:pos x="13" y="0"/>
                        </a:cxn>
                      </a:cxnLst>
                      <a:rect l="0" t="0" r="r" b="b"/>
                      <a:pathLst>
                        <a:path w="230" h="41">
                          <a:moveTo>
                            <a:pt x="13" y="0"/>
                          </a:moveTo>
                          <a:lnTo>
                            <a:pt x="26" y="6"/>
                          </a:lnTo>
                          <a:lnTo>
                            <a:pt x="39" y="13"/>
                          </a:lnTo>
                          <a:lnTo>
                            <a:pt x="52" y="16"/>
                          </a:lnTo>
                          <a:lnTo>
                            <a:pt x="65" y="19"/>
                          </a:lnTo>
                          <a:lnTo>
                            <a:pt x="78" y="22"/>
                          </a:lnTo>
                          <a:lnTo>
                            <a:pt x="93" y="23"/>
                          </a:lnTo>
                          <a:lnTo>
                            <a:pt x="106" y="24"/>
                          </a:lnTo>
                          <a:lnTo>
                            <a:pt x="120" y="23"/>
                          </a:lnTo>
                          <a:lnTo>
                            <a:pt x="134" y="22"/>
                          </a:lnTo>
                          <a:lnTo>
                            <a:pt x="147" y="20"/>
                          </a:lnTo>
                          <a:lnTo>
                            <a:pt x="161" y="18"/>
                          </a:lnTo>
                          <a:lnTo>
                            <a:pt x="176" y="15"/>
                          </a:lnTo>
                          <a:lnTo>
                            <a:pt x="189" y="13"/>
                          </a:lnTo>
                          <a:lnTo>
                            <a:pt x="203" y="9"/>
                          </a:lnTo>
                          <a:lnTo>
                            <a:pt x="216" y="6"/>
                          </a:lnTo>
                          <a:lnTo>
                            <a:pt x="230" y="2"/>
                          </a:lnTo>
                          <a:lnTo>
                            <a:pt x="230" y="15"/>
                          </a:lnTo>
                          <a:lnTo>
                            <a:pt x="221" y="19"/>
                          </a:lnTo>
                          <a:lnTo>
                            <a:pt x="212" y="23"/>
                          </a:lnTo>
                          <a:lnTo>
                            <a:pt x="200" y="27"/>
                          </a:lnTo>
                          <a:lnTo>
                            <a:pt x="189" y="29"/>
                          </a:lnTo>
                          <a:lnTo>
                            <a:pt x="174" y="33"/>
                          </a:lnTo>
                          <a:lnTo>
                            <a:pt x="161" y="36"/>
                          </a:lnTo>
                          <a:lnTo>
                            <a:pt x="146" y="39"/>
                          </a:lnTo>
                          <a:lnTo>
                            <a:pt x="132" y="41"/>
                          </a:lnTo>
                          <a:lnTo>
                            <a:pt x="115" y="41"/>
                          </a:lnTo>
                          <a:lnTo>
                            <a:pt x="99" y="41"/>
                          </a:lnTo>
                          <a:lnTo>
                            <a:pt x="82" y="40"/>
                          </a:lnTo>
                          <a:lnTo>
                            <a:pt x="65" y="37"/>
                          </a:lnTo>
                          <a:lnTo>
                            <a:pt x="50" y="32"/>
                          </a:lnTo>
                          <a:lnTo>
                            <a:pt x="33" y="27"/>
                          </a:lnTo>
                          <a:lnTo>
                            <a:pt x="16" y="19"/>
                          </a:lnTo>
                          <a:lnTo>
                            <a:pt x="0" y="9"/>
                          </a:lnTo>
                          <a:lnTo>
                            <a:pt x="13" y="0"/>
                          </a:lnTo>
                          <a:close/>
                        </a:path>
                      </a:pathLst>
                    </a:custGeom>
                    <a:grpFill/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pPr fontAlgn="auto">
                        <a:spcBef>
                          <a:spcPts val="0"/>
                        </a:spcBef>
                        <a:spcAft>
                          <a:spcPts val="0"/>
                        </a:spcAft>
                        <a:defRPr/>
                      </a:pPr>
                      <a:endParaRPr lang="da-DK" kern="0">
                        <a:solidFill>
                          <a:sysClr val="windowText" lastClr="000000"/>
                        </a:solidFill>
                        <a:latin typeface="+mn-lt"/>
                        <a:ea typeface="ＭＳ Ｐゴシック" pitchFamily="-97" charset="-128"/>
                        <a:cs typeface="+mn-cs"/>
                      </a:endParaRPr>
                    </a:p>
                  </p:txBody>
                </p:sp>
                <p:sp>
                  <p:nvSpPr>
                    <p:cNvPr id="157" name="Freeform 336"/>
                    <p:cNvSpPr>
                      <a:spLocks/>
                    </p:cNvSpPr>
                    <p:nvPr/>
                  </p:nvSpPr>
                  <p:spPr bwMode="auto">
                    <a:xfrm>
                      <a:off x="3781425" y="5231961"/>
                      <a:ext cx="490538" cy="114300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29"/>
                        </a:cxn>
                        <a:cxn ang="0">
                          <a:pos x="3" y="37"/>
                        </a:cxn>
                        <a:cxn ang="0">
                          <a:pos x="7" y="45"/>
                        </a:cxn>
                        <a:cxn ang="0">
                          <a:pos x="11" y="53"/>
                        </a:cxn>
                        <a:cxn ang="0">
                          <a:pos x="15" y="61"/>
                        </a:cxn>
                        <a:cxn ang="0">
                          <a:pos x="22" y="62"/>
                        </a:cxn>
                        <a:cxn ang="0">
                          <a:pos x="29" y="63"/>
                        </a:cxn>
                        <a:cxn ang="0">
                          <a:pos x="37" y="65"/>
                        </a:cxn>
                        <a:cxn ang="0">
                          <a:pos x="44" y="66"/>
                        </a:cxn>
                        <a:cxn ang="0">
                          <a:pos x="51" y="67"/>
                        </a:cxn>
                        <a:cxn ang="0">
                          <a:pos x="59" y="68"/>
                        </a:cxn>
                        <a:cxn ang="0">
                          <a:pos x="65" y="71"/>
                        </a:cxn>
                        <a:cxn ang="0">
                          <a:pos x="73" y="72"/>
                        </a:cxn>
                        <a:cxn ang="0">
                          <a:pos x="91" y="72"/>
                        </a:cxn>
                        <a:cxn ang="0">
                          <a:pos x="109" y="71"/>
                        </a:cxn>
                        <a:cxn ang="0">
                          <a:pos x="127" y="71"/>
                        </a:cxn>
                        <a:cxn ang="0">
                          <a:pos x="146" y="70"/>
                        </a:cxn>
                        <a:cxn ang="0">
                          <a:pos x="164" y="70"/>
                        </a:cxn>
                        <a:cxn ang="0">
                          <a:pos x="183" y="68"/>
                        </a:cxn>
                        <a:cxn ang="0">
                          <a:pos x="201" y="68"/>
                        </a:cxn>
                        <a:cxn ang="0">
                          <a:pos x="220" y="67"/>
                        </a:cxn>
                        <a:cxn ang="0">
                          <a:pos x="231" y="65"/>
                        </a:cxn>
                        <a:cxn ang="0">
                          <a:pos x="242" y="61"/>
                        </a:cxn>
                        <a:cxn ang="0">
                          <a:pos x="253" y="58"/>
                        </a:cxn>
                        <a:cxn ang="0">
                          <a:pos x="265" y="54"/>
                        </a:cxn>
                        <a:cxn ang="0">
                          <a:pos x="275" y="52"/>
                        </a:cxn>
                        <a:cxn ang="0">
                          <a:pos x="287" y="48"/>
                        </a:cxn>
                        <a:cxn ang="0">
                          <a:pos x="297" y="45"/>
                        </a:cxn>
                        <a:cxn ang="0">
                          <a:pos x="309" y="41"/>
                        </a:cxn>
                        <a:cxn ang="0">
                          <a:pos x="309" y="26"/>
                        </a:cxn>
                        <a:cxn ang="0">
                          <a:pos x="307" y="13"/>
                        </a:cxn>
                        <a:cxn ang="0">
                          <a:pos x="303" y="5"/>
                        </a:cxn>
                        <a:cxn ang="0">
                          <a:pos x="297" y="1"/>
                        </a:cxn>
                        <a:cxn ang="0">
                          <a:pos x="290" y="0"/>
                        </a:cxn>
                        <a:cxn ang="0">
                          <a:pos x="279" y="0"/>
                        </a:cxn>
                        <a:cxn ang="0">
                          <a:pos x="268" y="4"/>
                        </a:cxn>
                        <a:cxn ang="0">
                          <a:pos x="252" y="9"/>
                        </a:cxn>
                        <a:cxn ang="0">
                          <a:pos x="242" y="9"/>
                        </a:cxn>
                        <a:cxn ang="0">
                          <a:pos x="231" y="10"/>
                        </a:cxn>
                        <a:cxn ang="0">
                          <a:pos x="221" y="10"/>
                        </a:cxn>
                        <a:cxn ang="0">
                          <a:pos x="211" y="10"/>
                        </a:cxn>
                        <a:cxn ang="0">
                          <a:pos x="200" y="10"/>
                        </a:cxn>
                        <a:cxn ang="0">
                          <a:pos x="188" y="10"/>
                        </a:cxn>
                        <a:cxn ang="0">
                          <a:pos x="178" y="11"/>
                        </a:cxn>
                        <a:cxn ang="0">
                          <a:pos x="168" y="11"/>
                        </a:cxn>
                        <a:cxn ang="0">
                          <a:pos x="140" y="10"/>
                        </a:cxn>
                        <a:cxn ang="0">
                          <a:pos x="116" y="9"/>
                        </a:cxn>
                        <a:cxn ang="0">
                          <a:pos x="96" y="6"/>
                        </a:cxn>
                        <a:cxn ang="0">
                          <a:pos x="77" y="5"/>
                        </a:cxn>
                        <a:cxn ang="0">
                          <a:pos x="60" y="6"/>
                        </a:cxn>
                        <a:cxn ang="0">
                          <a:pos x="42" y="9"/>
                        </a:cxn>
                        <a:cxn ang="0">
                          <a:pos x="22" y="16"/>
                        </a:cxn>
                        <a:cxn ang="0">
                          <a:pos x="0" y="29"/>
                        </a:cxn>
                      </a:cxnLst>
                      <a:rect l="0" t="0" r="r" b="b"/>
                      <a:pathLst>
                        <a:path w="309" h="72">
                          <a:moveTo>
                            <a:pt x="0" y="29"/>
                          </a:moveTo>
                          <a:lnTo>
                            <a:pt x="3" y="37"/>
                          </a:lnTo>
                          <a:lnTo>
                            <a:pt x="7" y="45"/>
                          </a:lnTo>
                          <a:lnTo>
                            <a:pt x="11" y="53"/>
                          </a:lnTo>
                          <a:lnTo>
                            <a:pt x="15" y="61"/>
                          </a:lnTo>
                          <a:lnTo>
                            <a:pt x="22" y="62"/>
                          </a:lnTo>
                          <a:lnTo>
                            <a:pt x="29" y="63"/>
                          </a:lnTo>
                          <a:lnTo>
                            <a:pt x="37" y="65"/>
                          </a:lnTo>
                          <a:lnTo>
                            <a:pt x="44" y="66"/>
                          </a:lnTo>
                          <a:lnTo>
                            <a:pt x="51" y="67"/>
                          </a:lnTo>
                          <a:lnTo>
                            <a:pt x="59" y="68"/>
                          </a:lnTo>
                          <a:lnTo>
                            <a:pt x="65" y="71"/>
                          </a:lnTo>
                          <a:lnTo>
                            <a:pt x="73" y="72"/>
                          </a:lnTo>
                          <a:lnTo>
                            <a:pt x="91" y="72"/>
                          </a:lnTo>
                          <a:lnTo>
                            <a:pt x="109" y="71"/>
                          </a:lnTo>
                          <a:lnTo>
                            <a:pt x="127" y="71"/>
                          </a:lnTo>
                          <a:lnTo>
                            <a:pt x="146" y="70"/>
                          </a:lnTo>
                          <a:lnTo>
                            <a:pt x="164" y="70"/>
                          </a:lnTo>
                          <a:lnTo>
                            <a:pt x="183" y="68"/>
                          </a:lnTo>
                          <a:lnTo>
                            <a:pt x="201" y="68"/>
                          </a:lnTo>
                          <a:lnTo>
                            <a:pt x="220" y="67"/>
                          </a:lnTo>
                          <a:lnTo>
                            <a:pt x="231" y="65"/>
                          </a:lnTo>
                          <a:lnTo>
                            <a:pt x="242" y="61"/>
                          </a:lnTo>
                          <a:lnTo>
                            <a:pt x="253" y="58"/>
                          </a:lnTo>
                          <a:lnTo>
                            <a:pt x="265" y="54"/>
                          </a:lnTo>
                          <a:lnTo>
                            <a:pt x="275" y="52"/>
                          </a:lnTo>
                          <a:lnTo>
                            <a:pt x="287" y="48"/>
                          </a:lnTo>
                          <a:lnTo>
                            <a:pt x="297" y="45"/>
                          </a:lnTo>
                          <a:lnTo>
                            <a:pt x="309" y="41"/>
                          </a:lnTo>
                          <a:lnTo>
                            <a:pt x="309" y="26"/>
                          </a:lnTo>
                          <a:lnTo>
                            <a:pt x="307" y="13"/>
                          </a:lnTo>
                          <a:lnTo>
                            <a:pt x="303" y="5"/>
                          </a:lnTo>
                          <a:lnTo>
                            <a:pt x="297" y="1"/>
                          </a:lnTo>
                          <a:lnTo>
                            <a:pt x="290" y="0"/>
                          </a:lnTo>
                          <a:lnTo>
                            <a:pt x="279" y="0"/>
                          </a:lnTo>
                          <a:lnTo>
                            <a:pt x="268" y="4"/>
                          </a:lnTo>
                          <a:lnTo>
                            <a:pt x="252" y="9"/>
                          </a:lnTo>
                          <a:lnTo>
                            <a:pt x="242" y="9"/>
                          </a:lnTo>
                          <a:lnTo>
                            <a:pt x="231" y="10"/>
                          </a:lnTo>
                          <a:lnTo>
                            <a:pt x="221" y="10"/>
                          </a:lnTo>
                          <a:lnTo>
                            <a:pt x="211" y="10"/>
                          </a:lnTo>
                          <a:lnTo>
                            <a:pt x="200" y="10"/>
                          </a:lnTo>
                          <a:lnTo>
                            <a:pt x="188" y="10"/>
                          </a:lnTo>
                          <a:lnTo>
                            <a:pt x="178" y="11"/>
                          </a:lnTo>
                          <a:lnTo>
                            <a:pt x="168" y="11"/>
                          </a:lnTo>
                          <a:lnTo>
                            <a:pt x="140" y="10"/>
                          </a:lnTo>
                          <a:lnTo>
                            <a:pt x="116" y="9"/>
                          </a:lnTo>
                          <a:lnTo>
                            <a:pt x="96" y="6"/>
                          </a:lnTo>
                          <a:lnTo>
                            <a:pt x="77" y="5"/>
                          </a:lnTo>
                          <a:lnTo>
                            <a:pt x="60" y="6"/>
                          </a:lnTo>
                          <a:lnTo>
                            <a:pt x="42" y="9"/>
                          </a:lnTo>
                          <a:lnTo>
                            <a:pt x="22" y="16"/>
                          </a:lnTo>
                          <a:lnTo>
                            <a:pt x="0" y="29"/>
                          </a:lnTo>
                          <a:close/>
                        </a:path>
                      </a:pathLst>
                    </a:custGeom>
                    <a:grpFill/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pPr fontAlgn="auto">
                        <a:spcBef>
                          <a:spcPts val="0"/>
                        </a:spcBef>
                        <a:spcAft>
                          <a:spcPts val="0"/>
                        </a:spcAft>
                        <a:defRPr/>
                      </a:pPr>
                      <a:endParaRPr lang="da-DK" kern="0">
                        <a:solidFill>
                          <a:sysClr val="windowText" lastClr="000000"/>
                        </a:solidFill>
                        <a:latin typeface="+mn-lt"/>
                        <a:ea typeface="ＭＳ Ｐゴシック" pitchFamily="-97" charset="-128"/>
                        <a:cs typeface="+mn-cs"/>
                      </a:endParaRPr>
                    </a:p>
                  </p:txBody>
                </p:sp>
                <p:sp>
                  <p:nvSpPr>
                    <p:cNvPr id="158" name="Freeform 353"/>
                    <p:cNvSpPr>
                      <a:spLocks/>
                    </p:cNvSpPr>
                    <p:nvPr/>
                  </p:nvSpPr>
                  <p:spPr bwMode="auto">
                    <a:xfrm>
                      <a:off x="3932238" y="4217988"/>
                      <a:ext cx="177800" cy="39688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11"/>
                        </a:cxn>
                        <a:cxn ang="0">
                          <a:pos x="5" y="17"/>
                        </a:cxn>
                        <a:cxn ang="0">
                          <a:pos x="26" y="25"/>
                        </a:cxn>
                        <a:cxn ang="0">
                          <a:pos x="80" y="20"/>
                        </a:cxn>
                        <a:cxn ang="0">
                          <a:pos x="112" y="13"/>
                        </a:cxn>
                        <a:cxn ang="0">
                          <a:pos x="110" y="4"/>
                        </a:cxn>
                        <a:cxn ang="0">
                          <a:pos x="108" y="0"/>
                        </a:cxn>
                        <a:cxn ang="0">
                          <a:pos x="103" y="2"/>
                        </a:cxn>
                        <a:cxn ang="0">
                          <a:pos x="92" y="4"/>
                        </a:cxn>
                        <a:cxn ang="0">
                          <a:pos x="61" y="6"/>
                        </a:cxn>
                        <a:cxn ang="0">
                          <a:pos x="51" y="6"/>
                        </a:cxn>
                        <a:cxn ang="0">
                          <a:pos x="43" y="4"/>
                        </a:cxn>
                        <a:cxn ang="0">
                          <a:pos x="35" y="4"/>
                        </a:cxn>
                        <a:cxn ang="0">
                          <a:pos x="29" y="3"/>
                        </a:cxn>
                        <a:cxn ang="0">
                          <a:pos x="22" y="3"/>
                        </a:cxn>
                        <a:cxn ang="0">
                          <a:pos x="14" y="4"/>
                        </a:cxn>
                        <a:cxn ang="0">
                          <a:pos x="8" y="7"/>
                        </a:cxn>
                        <a:cxn ang="0">
                          <a:pos x="0" y="11"/>
                        </a:cxn>
                      </a:cxnLst>
                      <a:rect l="0" t="0" r="r" b="b"/>
                      <a:pathLst>
                        <a:path w="112" h="25">
                          <a:moveTo>
                            <a:pt x="0" y="11"/>
                          </a:moveTo>
                          <a:lnTo>
                            <a:pt x="5" y="17"/>
                          </a:lnTo>
                          <a:lnTo>
                            <a:pt x="26" y="25"/>
                          </a:lnTo>
                          <a:lnTo>
                            <a:pt x="80" y="20"/>
                          </a:lnTo>
                          <a:lnTo>
                            <a:pt x="112" y="13"/>
                          </a:lnTo>
                          <a:lnTo>
                            <a:pt x="110" y="4"/>
                          </a:lnTo>
                          <a:lnTo>
                            <a:pt x="108" y="0"/>
                          </a:lnTo>
                          <a:lnTo>
                            <a:pt x="103" y="2"/>
                          </a:lnTo>
                          <a:lnTo>
                            <a:pt x="92" y="4"/>
                          </a:lnTo>
                          <a:lnTo>
                            <a:pt x="61" y="6"/>
                          </a:lnTo>
                          <a:lnTo>
                            <a:pt x="51" y="6"/>
                          </a:lnTo>
                          <a:lnTo>
                            <a:pt x="43" y="4"/>
                          </a:lnTo>
                          <a:lnTo>
                            <a:pt x="35" y="4"/>
                          </a:lnTo>
                          <a:lnTo>
                            <a:pt x="29" y="3"/>
                          </a:lnTo>
                          <a:lnTo>
                            <a:pt x="22" y="3"/>
                          </a:lnTo>
                          <a:lnTo>
                            <a:pt x="14" y="4"/>
                          </a:lnTo>
                          <a:lnTo>
                            <a:pt x="8" y="7"/>
                          </a:lnTo>
                          <a:lnTo>
                            <a:pt x="0" y="11"/>
                          </a:lnTo>
                          <a:close/>
                        </a:path>
                      </a:pathLst>
                    </a:custGeom>
                    <a:grpFill/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pPr fontAlgn="auto">
                        <a:spcBef>
                          <a:spcPts val="0"/>
                        </a:spcBef>
                        <a:spcAft>
                          <a:spcPts val="0"/>
                        </a:spcAft>
                        <a:defRPr/>
                      </a:pPr>
                      <a:endParaRPr lang="da-DK" kern="0">
                        <a:solidFill>
                          <a:sysClr val="windowText" lastClr="000000"/>
                        </a:solidFill>
                        <a:latin typeface="+mn-lt"/>
                        <a:ea typeface="ＭＳ Ｐゴシック" pitchFamily="-97" charset="-128"/>
                        <a:cs typeface="+mn-cs"/>
                      </a:endParaRPr>
                    </a:p>
                  </p:txBody>
                </p:sp>
                <p:sp>
                  <p:nvSpPr>
                    <p:cNvPr id="159" name="Freeform 367"/>
                    <p:cNvSpPr>
                      <a:spLocks/>
                    </p:cNvSpPr>
                    <p:nvPr/>
                  </p:nvSpPr>
                  <p:spPr bwMode="auto">
                    <a:xfrm>
                      <a:off x="3932238" y="3433763"/>
                      <a:ext cx="168275" cy="127000"/>
                    </a:xfrm>
                    <a:custGeom>
                      <a:avLst/>
                      <a:gdLst/>
                      <a:ahLst/>
                      <a:cxnLst>
                        <a:cxn ang="0">
                          <a:pos x="53" y="0"/>
                        </a:cxn>
                        <a:cxn ang="0">
                          <a:pos x="64" y="1"/>
                        </a:cxn>
                        <a:cxn ang="0">
                          <a:pos x="74" y="2"/>
                        </a:cxn>
                        <a:cxn ang="0">
                          <a:pos x="83" y="6"/>
                        </a:cxn>
                        <a:cxn ang="0">
                          <a:pos x="91" y="11"/>
                        </a:cxn>
                        <a:cxn ang="0">
                          <a:pos x="97" y="18"/>
                        </a:cxn>
                        <a:cxn ang="0">
                          <a:pos x="103" y="24"/>
                        </a:cxn>
                        <a:cxn ang="0">
                          <a:pos x="105" y="32"/>
                        </a:cxn>
                        <a:cxn ang="0">
                          <a:pos x="106" y="40"/>
                        </a:cxn>
                        <a:cxn ang="0">
                          <a:pos x="105" y="48"/>
                        </a:cxn>
                        <a:cxn ang="0">
                          <a:pos x="103" y="55"/>
                        </a:cxn>
                        <a:cxn ang="0">
                          <a:pos x="97" y="62"/>
                        </a:cxn>
                        <a:cxn ang="0">
                          <a:pos x="91" y="68"/>
                        </a:cxn>
                        <a:cxn ang="0">
                          <a:pos x="83" y="74"/>
                        </a:cxn>
                        <a:cxn ang="0">
                          <a:pos x="74" y="78"/>
                        </a:cxn>
                        <a:cxn ang="0">
                          <a:pos x="64" y="79"/>
                        </a:cxn>
                        <a:cxn ang="0">
                          <a:pos x="53" y="80"/>
                        </a:cxn>
                        <a:cxn ang="0">
                          <a:pos x="43" y="79"/>
                        </a:cxn>
                        <a:cxn ang="0">
                          <a:pos x="32" y="78"/>
                        </a:cxn>
                        <a:cxn ang="0">
                          <a:pos x="23" y="74"/>
                        </a:cxn>
                        <a:cxn ang="0">
                          <a:pos x="16" y="68"/>
                        </a:cxn>
                        <a:cxn ang="0">
                          <a:pos x="9" y="62"/>
                        </a:cxn>
                        <a:cxn ang="0">
                          <a:pos x="4" y="55"/>
                        </a:cxn>
                        <a:cxn ang="0">
                          <a:pos x="1" y="48"/>
                        </a:cxn>
                        <a:cxn ang="0">
                          <a:pos x="0" y="40"/>
                        </a:cxn>
                        <a:cxn ang="0">
                          <a:pos x="1" y="32"/>
                        </a:cxn>
                        <a:cxn ang="0">
                          <a:pos x="4" y="24"/>
                        </a:cxn>
                        <a:cxn ang="0">
                          <a:pos x="9" y="18"/>
                        </a:cxn>
                        <a:cxn ang="0">
                          <a:pos x="16" y="11"/>
                        </a:cxn>
                        <a:cxn ang="0">
                          <a:pos x="23" y="6"/>
                        </a:cxn>
                        <a:cxn ang="0">
                          <a:pos x="32" y="2"/>
                        </a:cxn>
                        <a:cxn ang="0">
                          <a:pos x="43" y="1"/>
                        </a:cxn>
                        <a:cxn ang="0">
                          <a:pos x="53" y="0"/>
                        </a:cxn>
                      </a:cxnLst>
                      <a:rect l="0" t="0" r="r" b="b"/>
                      <a:pathLst>
                        <a:path w="106" h="80">
                          <a:moveTo>
                            <a:pt x="53" y="0"/>
                          </a:moveTo>
                          <a:lnTo>
                            <a:pt x="64" y="1"/>
                          </a:lnTo>
                          <a:lnTo>
                            <a:pt x="74" y="2"/>
                          </a:lnTo>
                          <a:lnTo>
                            <a:pt x="83" y="6"/>
                          </a:lnTo>
                          <a:lnTo>
                            <a:pt x="91" y="11"/>
                          </a:lnTo>
                          <a:lnTo>
                            <a:pt x="97" y="18"/>
                          </a:lnTo>
                          <a:lnTo>
                            <a:pt x="103" y="24"/>
                          </a:lnTo>
                          <a:lnTo>
                            <a:pt x="105" y="32"/>
                          </a:lnTo>
                          <a:lnTo>
                            <a:pt x="106" y="40"/>
                          </a:lnTo>
                          <a:lnTo>
                            <a:pt x="105" y="48"/>
                          </a:lnTo>
                          <a:lnTo>
                            <a:pt x="103" y="55"/>
                          </a:lnTo>
                          <a:lnTo>
                            <a:pt x="97" y="62"/>
                          </a:lnTo>
                          <a:lnTo>
                            <a:pt x="91" y="68"/>
                          </a:lnTo>
                          <a:lnTo>
                            <a:pt x="83" y="74"/>
                          </a:lnTo>
                          <a:lnTo>
                            <a:pt x="74" y="78"/>
                          </a:lnTo>
                          <a:lnTo>
                            <a:pt x="64" y="79"/>
                          </a:lnTo>
                          <a:lnTo>
                            <a:pt x="53" y="80"/>
                          </a:lnTo>
                          <a:lnTo>
                            <a:pt x="43" y="79"/>
                          </a:lnTo>
                          <a:lnTo>
                            <a:pt x="32" y="78"/>
                          </a:lnTo>
                          <a:lnTo>
                            <a:pt x="23" y="74"/>
                          </a:lnTo>
                          <a:lnTo>
                            <a:pt x="16" y="68"/>
                          </a:lnTo>
                          <a:lnTo>
                            <a:pt x="9" y="62"/>
                          </a:lnTo>
                          <a:lnTo>
                            <a:pt x="4" y="55"/>
                          </a:lnTo>
                          <a:lnTo>
                            <a:pt x="1" y="48"/>
                          </a:lnTo>
                          <a:lnTo>
                            <a:pt x="0" y="40"/>
                          </a:lnTo>
                          <a:lnTo>
                            <a:pt x="1" y="32"/>
                          </a:lnTo>
                          <a:lnTo>
                            <a:pt x="4" y="24"/>
                          </a:lnTo>
                          <a:lnTo>
                            <a:pt x="9" y="18"/>
                          </a:lnTo>
                          <a:lnTo>
                            <a:pt x="16" y="11"/>
                          </a:lnTo>
                          <a:lnTo>
                            <a:pt x="23" y="6"/>
                          </a:lnTo>
                          <a:lnTo>
                            <a:pt x="32" y="2"/>
                          </a:lnTo>
                          <a:lnTo>
                            <a:pt x="43" y="1"/>
                          </a:lnTo>
                          <a:lnTo>
                            <a:pt x="53" y="0"/>
                          </a:lnTo>
                          <a:close/>
                        </a:path>
                      </a:pathLst>
                    </a:custGeom>
                    <a:grpFill/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pPr fontAlgn="auto">
                        <a:spcBef>
                          <a:spcPts val="0"/>
                        </a:spcBef>
                        <a:spcAft>
                          <a:spcPts val="0"/>
                        </a:spcAft>
                        <a:defRPr/>
                      </a:pPr>
                      <a:endParaRPr lang="da-DK" kern="0">
                        <a:solidFill>
                          <a:sysClr val="windowText" lastClr="000000"/>
                        </a:solidFill>
                        <a:latin typeface="+mn-lt"/>
                        <a:ea typeface="ＭＳ Ｐゴシック" pitchFamily="-97" charset="-128"/>
                        <a:cs typeface="+mn-cs"/>
                      </a:endParaRPr>
                    </a:p>
                  </p:txBody>
                </p:sp>
              </p:grpSp>
            </p:grpSp>
            <p:sp>
              <p:nvSpPr>
                <p:cNvPr id="153" name="Ellipse 600"/>
                <p:cNvSpPr/>
                <p:nvPr/>
              </p:nvSpPr>
              <p:spPr bwMode="auto">
                <a:xfrm>
                  <a:off x="2599853" y="4798180"/>
                  <a:ext cx="458413" cy="464906"/>
                </a:xfrm>
                <a:prstGeom prst="ellipse">
                  <a:avLst/>
                </a:prstGeom>
                <a:gradFill flip="none" rotWithShape="1">
                  <a:gsLst>
                    <a:gs pos="100000">
                      <a:srgbClr val="E6E6E6"/>
                    </a:gs>
                    <a:gs pos="69000">
                      <a:srgbClr val="E6E6E6">
                        <a:lumMod val="90000"/>
                      </a:srgbClr>
                    </a:gs>
                    <a:gs pos="0">
                      <a:srgbClr val="E6E6E6">
                        <a:lumMod val="75000"/>
                      </a:srgbClr>
                    </a:gs>
                  </a:gsLst>
                  <a:lin ang="0" scaled="1"/>
                  <a:tileRect/>
                </a:gradFill>
                <a:ln w="952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" lastClr="FFFFFF"/>
                    </a:solidFill>
                    <a:latin typeface="Calibri"/>
                    <a:cs typeface="+mn-cs"/>
                  </a:endParaRPr>
                </a:p>
              </p:txBody>
            </p:sp>
          </p:grpSp>
        </p:grpSp>
        <p:grpSp>
          <p:nvGrpSpPr>
            <p:cNvPr id="131" name="Gruppe 348"/>
            <p:cNvGrpSpPr>
              <a:grpSpLocks/>
            </p:cNvGrpSpPr>
            <p:nvPr/>
          </p:nvGrpSpPr>
          <p:grpSpPr bwMode="auto">
            <a:xfrm flipH="1">
              <a:off x="2824163" y="3797300"/>
              <a:ext cx="690562" cy="914400"/>
              <a:chOff x="2217739" y="4806539"/>
              <a:chExt cx="1096961" cy="1454561"/>
            </a:xfrm>
          </p:grpSpPr>
          <p:sp>
            <p:nvSpPr>
              <p:cNvPr id="132" name="Ellipse 616"/>
              <p:cNvSpPr/>
              <p:nvPr/>
            </p:nvSpPr>
            <p:spPr bwMode="auto">
              <a:xfrm>
                <a:off x="2217739" y="5953229"/>
                <a:ext cx="1096961" cy="307871"/>
              </a:xfrm>
              <a:prstGeom prst="ellipse">
                <a:avLst/>
              </a:prstGeom>
              <a:gradFill flip="none" rotWithShape="1">
                <a:gsLst>
                  <a:gs pos="24000">
                    <a:sysClr val="windowText" lastClr="000000">
                      <a:alpha val="42000"/>
                    </a:sysClr>
                  </a:gs>
                  <a:gs pos="100000">
                    <a:sysClr val="window" lastClr="FFFFFF">
                      <a:alpha val="0"/>
                    </a:sysClr>
                  </a:gs>
                </a:gsLst>
                <a:path path="shape">
                  <a:fillToRect l="50000" t="50000" r="50000" b="50000"/>
                </a:path>
                <a:tileRect/>
              </a:gradFill>
              <a:ln w="9525" cap="flat" cmpd="sng" algn="ctr">
                <a:noFill/>
                <a:prstDash val="solid"/>
              </a:ln>
              <a:effectLst/>
            </p:spPr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 dirty="0" err="1">
                  <a:solidFill>
                    <a:sysClr val="window" lastClr="FFFFFF"/>
                  </a:solidFill>
                  <a:latin typeface="Calibri"/>
                  <a:ea typeface="ＭＳ Ｐゴシック" pitchFamily="-97" charset="-128"/>
                  <a:cs typeface="+mn-cs"/>
                </a:endParaRPr>
              </a:p>
            </p:txBody>
          </p:sp>
          <p:grpSp>
            <p:nvGrpSpPr>
              <p:cNvPr id="133" name="Gruppe 850"/>
              <p:cNvGrpSpPr>
                <a:grpSpLocks/>
              </p:cNvGrpSpPr>
              <p:nvPr/>
            </p:nvGrpSpPr>
            <p:grpSpPr bwMode="auto">
              <a:xfrm>
                <a:off x="2507739" y="4806539"/>
                <a:ext cx="615306" cy="1371225"/>
                <a:chOff x="2507739" y="4806539"/>
                <a:chExt cx="615306" cy="1371225"/>
              </a:xfrm>
            </p:grpSpPr>
            <p:grpSp>
              <p:nvGrpSpPr>
                <p:cNvPr id="134" name="Gruppe 823"/>
                <p:cNvGrpSpPr>
                  <a:grpSpLocks/>
                </p:cNvGrpSpPr>
                <p:nvPr/>
              </p:nvGrpSpPr>
              <p:grpSpPr bwMode="auto">
                <a:xfrm>
                  <a:off x="2507739" y="4876803"/>
                  <a:ext cx="615306" cy="1300961"/>
                  <a:chOff x="1022030" y="3975120"/>
                  <a:chExt cx="729203" cy="1897815"/>
                </a:xfrm>
              </p:grpSpPr>
              <p:grpSp>
                <p:nvGrpSpPr>
                  <p:cNvPr id="136" name="Gruppe 605"/>
                  <p:cNvGrpSpPr>
                    <a:grpSpLocks/>
                  </p:cNvGrpSpPr>
                  <p:nvPr/>
                </p:nvGrpSpPr>
                <p:grpSpPr bwMode="auto">
                  <a:xfrm>
                    <a:off x="1022030" y="4089964"/>
                    <a:ext cx="729203" cy="1782971"/>
                    <a:chOff x="-6274" y="3496799"/>
                    <a:chExt cx="966590" cy="2363405"/>
                  </a:xfrm>
                </p:grpSpPr>
                <p:sp>
                  <p:nvSpPr>
                    <p:cNvPr id="142" name="Freeform 130"/>
                    <p:cNvSpPr>
                      <a:spLocks/>
                    </p:cNvSpPr>
                    <p:nvPr/>
                  </p:nvSpPr>
                  <p:spPr bwMode="auto">
                    <a:xfrm>
                      <a:off x="110176" y="3502472"/>
                      <a:ext cx="843410" cy="2363925"/>
                    </a:xfrm>
                    <a:custGeom>
                      <a:avLst/>
                      <a:gdLst/>
                      <a:ahLst/>
                      <a:cxnLst>
                        <a:cxn ang="0">
                          <a:pos x="145" y="87"/>
                        </a:cxn>
                        <a:cxn ang="0">
                          <a:pos x="99" y="110"/>
                        </a:cxn>
                        <a:cxn ang="0">
                          <a:pos x="93" y="162"/>
                        </a:cxn>
                        <a:cxn ang="0">
                          <a:pos x="158" y="272"/>
                        </a:cxn>
                        <a:cxn ang="0">
                          <a:pos x="138" y="326"/>
                        </a:cxn>
                        <a:cxn ang="0">
                          <a:pos x="89" y="375"/>
                        </a:cxn>
                        <a:cxn ang="0">
                          <a:pos x="70" y="414"/>
                        </a:cxn>
                        <a:cxn ang="0">
                          <a:pos x="94" y="449"/>
                        </a:cxn>
                        <a:cxn ang="0">
                          <a:pos x="168" y="522"/>
                        </a:cxn>
                        <a:cxn ang="0">
                          <a:pos x="150" y="638"/>
                        </a:cxn>
                        <a:cxn ang="0">
                          <a:pos x="115" y="750"/>
                        </a:cxn>
                        <a:cxn ang="0">
                          <a:pos x="70" y="804"/>
                        </a:cxn>
                        <a:cxn ang="0">
                          <a:pos x="53" y="835"/>
                        </a:cxn>
                        <a:cxn ang="0">
                          <a:pos x="75" y="868"/>
                        </a:cxn>
                        <a:cxn ang="0">
                          <a:pos x="34" y="905"/>
                        </a:cxn>
                        <a:cxn ang="0">
                          <a:pos x="8" y="942"/>
                        </a:cxn>
                        <a:cxn ang="0">
                          <a:pos x="15" y="999"/>
                        </a:cxn>
                        <a:cxn ang="0">
                          <a:pos x="0" y="1121"/>
                        </a:cxn>
                        <a:cxn ang="0">
                          <a:pos x="69" y="1163"/>
                        </a:cxn>
                        <a:cxn ang="0">
                          <a:pos x="171" y="1189"/>
                        </a:cxn>
                        <a:cxn ang="0">
                          <a:pos x="285" y="1193"/>
                        </a:cxn>
                        <a:cxn ang="0">
                          <a:pos x="393" y="1175"/>
                        </a:cxn>
                        <a:cxn ang="0">
                          <a:pos x="474" y="1129"/>
                        </a:cxn>
                        <a:cxn ang="0">
                          <a:pos x="484" y="1032"/>
                        </a:cxn>
                        <a:cxn ang="0">
                          <a:pos x="489" y="965"/>
                        </a:cxn>
                        <a:cxn ang="0">
                          <a:pos x="470" y="921"/>
                        </a:cxn>
                        <a:cxn ang="0">
                          <a:pos x="441" y="870"/>
                        </a:cxn>
                        <a:cxn ang="0">
                          <a:pos x="449" y="832"/>
                        </a:cxn>
                        <a:cxn ang="0">
                          <a:pos x="425" y="805"/>
                        </a:cxn>
                        <a:cxn ang="0">
                          <a:pos x="373" y="713"/>
                        </a:cxn>
                        <a:cxn ang="0">
                          <a:pos x="349" y="609"/>
                        </a:cxn>
                        <a:cxn ang="0">
                          <a:pos x="344" y="485"/>
                        </a:cxn>
                        <a:cxn ang="0">
                          <a:pos x="417" y="446"/>
                        </a:cxn>
                        <a:cxn ang="0">
                          <a:pos x="436" y="411"/>
                        </a:cxn>
                        <a:cxn ang="0">
                          <a:pos x="414" y="374"/>
                        </a:cxn>
                        <a:cxn ang="0">
                          <a:pos x="379" y="343"/>
                        </a:cxn>
                        <a:cxn ang="0">
                          <a:pos x="393" y="306"/>
                        </a:cxn>
                        <a:cxn ang="0">
                          <a:pos x="376" y="273"/>
                        </a:cxn>
                        <a:cxn ang="0">
                          <a:pos x="409" y="192"/>
                        </a:cxn>
                        <a:cxn ang="0">
                          <a:pos x="432" y="139"/>
                        </a:cxn>
                        <a:cxn ang="0">
                          <a:pos x="416" y="110"/>
                        </a:cxn>
                        <a:cxn ang="0">
                          <a:pos x="349" y="77"/>
                        </a:cxn>
                        <a:cxn ang="0">
                          <a:pos x="322" y="42"/>
                        </a:cxn>
                        <a:cxn ang="0">
                          <a:pos x="309" y="16"/>
                        </a:cxn>
                        <a:cxn ang="0">
                          <a:pos x="281" y="2"/>
                        </a:cxn>
                        <a:cxn ang="0">
                          <a:pos x="243" y="3"/>
                        </a:cxn>
                        <a:cxn ang="0">
                          <a:pos x="215" y="27"/>
                        </a:cxn>
                      </a:cxnLst>
                      <a:rect l="0" t="0" r="r" b="b"/>
                      <a:pathLst>
                        <a:path w="493" h="1194">
                          <a:moveTo>
                            <a:pt x="208" y="62"/>
                          </a:moveTo>
                          <a:lnTo>
                            <a:pt x="167" y="83"/>
                          </a:lnTo>
                          <a:lnTo>
                            <a:pt x="145" y="87"/>
                          </a:lnTo>
                          <a:lnTo>
                            <a:pt x="125" y="93"/>
                          </a:lnTo>
                          <a:lnTo>
                            <a:pt x="110" y="100"/>
                          </a:lnTo>
                          <a:lnTo>
                            <a:pt x="99" y="110"/>
                          </a:lnTo>
                          <a:lnTo>
                            <a:pt x="92" y="124"/>
                          </a:lnTo>
                          <a:lnTo>
                            <a:pt x="90" y="141"/>
                          </a:lnTo>
                          <a:lnTo>
                            <a:pt x="93" y="162"/>
                          </a:lnTo>
                          <a:lnTo>
                            <a:pt x="104" y="187"/>
                          </a:lnTo>
                          <a:lnTo>
                            <a:pt x="158" y="242"/>
                          </a:lnTo>
                          <a:lnTo>
                            <a:pt x="158" y="272"/>
                          </a:lnTo>
                          <a:lnTo>
                            <a:pt x="140" y="282"/>
                          </a:lnTo>
                          <a:lnTo>
                            <a:pt x="135" y="302"/>
                          </a:lnTo>
                          <a:lnTo>
                            <a:pt x="138" y="326"/>
                          </a:lnTo>
                          <a:lnTo>
                            <a:pt x="147" y="346"/>
                          </a:lnTo>
                          <a:lnTo>
                            <a:pt x="104" y="360"/>
                          </a:lnTo>
                          <a:lnTo>
                            <a:pt x="89" y="375"/>
                          </a:lnTo>
                          <a:lnTo>
                            <a:pt x="77" y="389"/>
                          </a:lnTo>
                          <a:lnTo>
                            <a:pt x="71" y="402"/>
                          </a:lnTo>
                          <a:lnTo>
                            <a:pt x="70" y="414"/>
                          </a:lnTo>
                          <a:lnTo>
                            <a:pt x="74" y="426"/>
                          </a:lnTo>
                          <a:lnTo>
                            <a:pt x="82" y="437"/>
                          </a:lnTo>
                          <a:lnTo>
                            <a:pt x="94" y="449"/>
                          </a:lnTo>
                          <a:lnTo>
                            <a:pt x="113" y="459"/>
                          </a:lnTo>
                          <a:lnTo>
                            <a:pt x="173" y="480"/>
                          </a:lnTo>
                          <a:lnTo>
                            <a:pt x="168" y="522"/>
                          </a:lnTo>
                          <a:lnTo>
                            <a:pt x="162" y="562"/>
                          </a:lnTo>
                          <a:lnTo>
                            <a:pt x="156" y="601"/>
                          </a:lnTo>
                          <a:lnTo>
                            <a:pt x="150" y="638"/>
                          </a:lnTo>
                          <a:lnTo>
                            <a:pt x="140" y="676"/>
                          </a:lnTo>
                          <a:lnTo>
                            <a:pt x="129" y="713"/>
                          </a:lnTo>
                          <a:lnTo>
                            <a:pt x="115" y="750"/>
                          </a:lnTo>
                          <a:lnTo>
                            <a:pt x="98" y="789"/>
                          </a:lnTo>
                          <a:lnTo>
                            <a:pt x="83" y="796"/>
                          </a:lnTo>
                          <a:lnTo>
                            <a:pt x="70" y="804"/>
                          </a:lnTo>
                          <a:lnTo>
                            <a:pt x="61" y="814"/>
                          </a:lnTo>
                          <a:lnTo>
                            <a:pt x="55" y="823"/>
                          </a:lnTo>
                          <a:lnTo>
                            <a:pt x="53" y="835"/>
                          </a:lnTo>
                          <a:lnTo>
                            <a:pt x="55" y="845"/>
                          </a:lnTo>
                          <a:lnTo>
                            <a:pt x="62" y="857"/>
                          </a:lnTo>
                          <a:lnTo>
                            <a:pt x="75" y="868"/>
                          </a:lnTo>
                          <a:lnTo>
                            <a:pt x="78" y="889"/>
                          </a:lnTo>
                          <a:lnTo>
                            <a:pt x="53" y="896"/>
                          </a:lnTo>
                          <a:lnTo>
                            <a:pt x="34" y="905"/>
                          </a:lnTo>
                          <a:lnTo>
                            <a:pt x="21" y="916"/>
                          </a:lnTo>
                          <a:lnTo>
                            <a:pt x="13" y="928"/>
                          </a:lnTo>
                          <a:lnTo>
                            <a:pt x="8" y="942"/>
                          </a:lnTo>
                          <a:lnTo>
                            <a:pt x="8" y="959"/>
                          </a:lnTo>
                          <a:lnTo>
                            <a:pt x="10" y="978"/>
                          </a:lnTo>
                          <a:lnTo>
                            <a:pt x="15" y="999"/>
                          </a:lnTo>
                          <a:lnTo>
                            <a:pt x="19" y="1032"/>
                          </a:lnTo>
                          <a:lnTo>
                            <a:pt x="0" y="1057"/>
                          </a:lnTo>
                          <a:lnTo>
                            <a:pt x="0" y="1121"/>
                          </a:lnTo>
                          <a:lnTo>
                            <a:pt x="18" y="1137"/>
                          </a:lnTo>
                          <a:lnTo>
                            <a:pt x="41" y="1151"/>
                          </a:lnTo>
                          <a:lnTo>
                            <a:pt x="69" y="1163"/>
                          </a:lnTo>
                          <a:lnTo>
                            <a:pt x="101" y="1174"/>
                          </a:lnTo>
                          <a:lnTo>
                            <a:pt x="135" y="1182"/>
                          </a:lnTo>
                          <a:lnTo>
                            <a:pt x="171" y="1189"/>
                          </a:lnTo>
                          <a:lnTo>
                            <a:pt x="208" y="1192"/>
                          </a:lnTo>
                          <a:lnTo>
                            <a:pt x="246" y="1194"/>
                          </a:lnTo>
                          <a:lnTo>
                            <a:pt x="285" y="1193"/>
                          </a:lnTo>
                          <a:lnTo>
                            <a:pt x="322" y="1190"/>
                          </a:lnTo>
                          <a:lnTo>
                            <a:pt x="359" y="1184"/>
                          </a:lnTo>
                          <a:lnTo>
                            <a:pt x="393" y="1175"/>
                          </a:lnTo>
                          <a:lnTo>
                            <a:pt x="424" y="1162"/>
                          </a:lnTo>
                          <a:lnTo>
                            <a:pt x="451" y="1147"/>
                          </a:lnTo>
                          <a:lnTo>
                            <a:pt x="474" y="1129"/>
                          </a:lnTo>
                          <a:lnTo>
                            <a:pt x="493" y="1107"/>
                          </a:lnTo>
                          <a:lnTo>
                            <a:pt x="493" y="1069"/>
                          </a:lnTo>
                          <a:lnTo>
                            <a:pt x="484" y="1032"/>
                          </a:lnTo>
                          <a:lnTo>
                            <a:pt x="487" y="1005"/>
                          </a:lnTo>
                          <a:lnTo>
                            <a:pt x="489" y="984"/>
                          </a:lnTo>
                          <a:lnTo>
                            <a:pt x="489" y="965"/>
                          </a:lnTo>
                          <a:lnTo>
                            <a:pt x="486" y="950"/>
                          </a:lnTo>
                          <a:lnTo>
                            <a:pt x="480" y="936"/>
                          </a:lnTo>
                          <a:lnTo>
                            <a:pt x="470" y="921"/>
                          </a:lnTo>
                          <a:lnTo>
                            <a:pt x="454" y="906"/>
                          </a:lnTo>
                          <a:lnTo>
                            <a:pt x="433" y="888"/>
                          </a:lnTo>
                          <a:lnTo>
                            <a:pt x="441" y="870"/>
                          </a:lnTo>
                          <a:lnTo>
                            <a:pt x="446" y="855"/>
                          </a:lnTo>
                          <a:lnTo>
                            <a:pt x="449" y="842"/>
                          </a:lnTo>
                          <a:lnTo>
                            <a:pt x="449" y="832"/>
                          </a:lnTo>
                          <a:lnTo>
                            <a:pt x="444" y="823"/>
                          </a:lnTo>
                          <a:lnTo>
                            <a:pt x="438" y="814"/>
                          </a:lnTo>
                          <a:lnTo>
                            <a:pt x="425" y="805"/>
                          </a:lnTo>
                          <a:lnTo>
                            <a:pt x="409" y="793"/>
                          </a:lnTo>
                          <a:lnTo>
                            <a:pt x="389" y="751"/>
                          </a:lnTo>
                          <a:lnTo>
                            <a:pt x="373" y="713"/>
                          </a:lnTo>
                          <a:lnTo>
                            <a:pt x="362" y="677"/>
                          </a:lnTo>
                          <a:lnTo>
                            <a:pt x="355" y="644"/>
                          </a:lnTo>
                          <a:lnTo>
                            <a:pt x="349" y="609"/>
                          </a:lnTo>
                          <a:lnTo>
                            <a:pt x="345" y="572"/>
                          </a:lnTo>
                          <a:lnTo>
                            <a:pt x="344" y="531"/>
                          </a:lnTo>
                          <a:lnTo>
                            <a:pt x="344" y="485"/>
                          </a:lnTo>
                          <a:lnTo>
                            <a:pt x="379" y="471"/>
                          </a:lnTo>
                          <a:lnTo>
                            <a:pt x="404" y="455"/>
                          </a:lnTo>
                          <a:lnTo>
                            <a:pt x="417" y="446"/>
                          </a:lnTo>
                          <a:lnTo>
                            <a:pt x="426" y="435"/>
                          </a:lnTo>
                          <a:lnTo>
                            <a:pt x="433" y="423"/>
                          </a:lnTo>
                          <a:lnTo>
                            <a:pt x="436" y="411"/>
                          </a:lnTo>
                          <a:lnTo>
                            <a:pt x="434" y="398"/>
                          </a:lnTo>
                          <a:lnTo>
                            <a:pt x="427" y="386"/>
                          </a:lnTo>
                          <a:lnTo>
                            <a:pt x="414" y="374"/>
                          </a:lnTo>
                          <a:lnTo>
                            <a:pt x="394" y="364"/>
                          </a:lnTo>
                          <a:lnTo>
                            <a:pt x="368" y="356"/>
                          </a:lnTo>
                          <a:lnTo>
                            <a:pt x="379" y="343"/>
                          </a:lnTo>
                          <a:lnTo>
                            <a:pt x="386" y="330"/>
                          </a:lnTo>
                          <a:lnTo>
                            <a:pt x="390" y="318"/>
                          </a:lnTo>
                          <a:lnTo>
                            <a:pt x="393" y="306"/>
                          </a:lnTo>
                          <a:lnTo>
                            <a:pt x="390" y="295"/>
                          </a:lnTo>
                          <a:lnTo>
                            <a:pt x="386" y="283"/>
                          </a:lnTo>
                          <a:lnTo>
                            <a:pt x="376" y="273"/>
                          </a:lnTo>
                          <a:lnTo>
                            <a:pt x="364" y="261"/>
                          </a:lnTo>
                          <a:lnTo>
                            <a:pt x="389" y="227"/>
                          </a:lnTo>
                          <a:lnTo>
                            <a:pt x="409" y="192"/>
                          </a:lnTo>
                          <a:lnTo>
                            <a:pt x="420" y="170"/>
                          </a:lnTo>
                          <a:lnTo>
                            <a:pt x="428" y="153"/>
                          </a:lnTo>
                          <a:lnTo>
                            <a:pt x="432" y="139"/>
                          </a:lnTo>
                          <a:lnTo>
                            <a:pt x="432" y="128"/>
                          </a:lnTo>
                          <a:lnTo>
                            <a:pt x="426" y="118"/>
                          </a:lnTo>
                          <a:lnTo>
                            <a:pt x="416" y="110"/>
                          </a:lnTo>
                          <a:lnTo>
                            <a:pt x="400" y="102"/>
                          </a:lnTo>
                          <a:lnTo>
                            <a:pt x="378" y="92"/>
                          </a:lnTo>
                          <a:lnTo>
                            <a:pt x="349" y="77"/>
                          </a:lnTo>
                          <a:lnTo>
                            <a:pt x="320" y="68"/>
                          </a:lnTo>
                          <a:lnTo>
                            <a:pt x="322" y="54"/>
                          </a:lnTo>
                          <a:lnTo>
                            <a:pt x="322" y="42"/>
                          </a:lnTo>
                          <a:lnTo>
                            <a:pt x="320" y="32"/>
                          </a:lnTo>
                          <a:lnTo>
                            <a:pt x="315" y="23"/>
                          </a:lnTo>
                          <a:lnTo>
                            <a:pt x="309" y="16"/>
                          </a:lnTo>
                          <a:lnTo>
                            <a:pt x="300" y="10"/>
                          </a:lnTo>
                          <a:lnTo>
                            <a:pt x="291" y="5"/>
                          </a:lnTo>
                          <a:lnTo>
                            <a:pt x="281" y="2"/>
                          </a:lnTo>
                          <a:lnTo>
                            <a:pt x="268" y="0"/>
                          </a:lnTo>
                          <a:lnTo>
                            <a:pt x="256" y="1"/>
                          </a:lnTo>
                          <a:lnTo>
                            <a:pt x="243" y="3"/>
                          </a:lnTo>
                          <a:lnTo>
                            <a:pt x="233" y="8"/>
                          </a:lnTo>
                          <a:lnTo>
                            <a:pt x="222" y="16"/>
                          </a:lnTo>
                          <a:lnTo>
                            <a:pt x="215" y="27"/>
                          </a:lnTo>
                          <a:lnTo>
                            <a:pt x="211" y="42"/>
                          </a:lnTo>
                          <a:lnTo>
                            <a:pt x="208" y="62"/>
                          </a:lnTo>
                          <a:close/>
                        </a:path>
                      </a:pathLst>
                    </a:custGeom>
                    <a:gradFill flip="none" rotWithShape="1">
                      <a:gsLst>
                        <a:gs pos="100000">
                          <a:srgbClr val="E6E6E6"/>
                        </a:gs>
                        <a:gs pos="69000">
                          <a:srgbClr val="E6E6E6">
                            <a:lumMod val="90000"/>
                          </a:srgbClr>
                        </a:gs>
                        <a:gs pos="0">
                          <a:srgbClr val="E6E6E6">
                            <a:lumMod val="75000"/>
                          </a:srgbClr>
                        </a:gs>
                      </a:gsLst>
                      <a:lin ang="0" scaled="1"/>
                      <a:tileRect/>
                    </a:gradFill>
                    <a:ln w="9525" cap="flat" cmpd="sng" algn="ctr">
                      <a:noFill/>
                      <a:prstDash val="solid"/>
                    </a:ln>
                    <a:effectLst>
                      <a:outerShdw blurRad="40000" dist="23000" dir="5400000" rotWithShape="0">
                        <a:srgbClr val="000000">
                          <a:alpha val="35000"/>
                        </a:srgbClr>
                      </a:outerShdw>
                    </a:effectLst>
                  </p:spPr>
                  <p:txBody>
                    <a:bodyPr anchor="ctr"/>
                    <a:lstStyle/>
                    <a:p>
                      <a:pPr algn="ctr" fontAlgn="auto">
                        <a:spcBef>
                          <a:spcPts val="0"/>
                        </a:spcBef>
                        <a:spcAft>
                          <a:spcPts val="0"/>
                        </a:spcAft>
                        <a:defRPr/>
                      </a:pPr>
                      <a:endParaRPr lang="da-DK" kern="0">
                        <a:solidFill>
                          <a:sysClr val="window" lastClr="FFFFFF"/>
                        </a:solidFill>
                        <a:latin typeface="Calibri"/>
                        <a:cs typeface="+mn-cs"/>
                      </a:endParaRPr>
                    </a:p>
                  </p:txBody>
                </p:sp>
                <p:sp>
                  <p:nvSpPr>
                    <p:cNvPr id="143" name="Freeform 131"/>
                    <p:cNvSpPr>
                      <a:spLocks/>
                    </p:cNvSpPr>
                    <p:nvPr/>
                  </p:nvSpPr>
                  <p:spPr bwMode="auto">
                    <a:xfrm>
                      <a:off x="328831" y="3652563"/>
                      <a:ext cx="374853" cy="112557"/>
                    </a:xfrm>
                    <a:custGeom>
                      <a:avLst/>
                      <a:gdLst/>
                      <a:ahLst/>
                      <a:cxnLst>
                        <a:cxn ang="0">
                          <a:pos x="13" y="8"/>
                        </a:cxn>
                        <a:cxn ang="0">
                          <a:pos x="0" y="22"/>
                        </a:cxn>
                        <a:cxn ang="0">
                          <a:pos x="8" y="43"/>
                        </a:cxn>
                        <a:cxn ang="0">
                          <a:pos x="28" y="49"/>
                        </a:cxn>
                        <a:cxn ang="0">
                          <a:pos x="53" y="54"/>
                        </a:cxn>
                        <a:cxn ang="0">
                          <a:pos x="81" y="58"/>
                        </a:cxn>
                        <a:cxn ang="0">
                          <a:pos x="108" y="56"/>
                        </a:cxn>
                        <a:cxn ang="0">
                          <a:pos x="135" y="53"/>
                        </a:cxn>
                        <a:cxn ang="0">
                          <a:pos x="159" y="46"/>
                        </a:cxn>
                        <a:cxn ang="0">
                          <a:pos x="176" y="33"/>
                        </a:cxn>
                        <a:cxn ang="0">
                          <a:pos x="185" y="16"/>
                        </a:cxn>
                        <a:cxn ang="0">
                          <a:pos x="160" y="6"/>
                        </a:cxn>
                        <a:cxn ang="0">
                          <a:pos x="144" y="0"/>
                        </a:cxn>
                        <a:cxn ang="0">
                          <a:pos x="139" y="15"/>
                        </a:cxn>
                        <a:cxn ang="0">
                          <a:pos x="127" y="24"/>
                        </a:cxn>
                        <a:cxn ang="0">
                          <a:pos x="109" y="29"/>
                        </a:cxn>
                        <a:cxn ang="0">
                          <a:pos x="89" y="29"/>
                        </a:cxn>
                        <a:cxn ang="0">
                          <a:pos x="68" y="25"/>
                        </a:cxn>
                        <a:cxn ang="0">
                          <a:pos x="51" y="20"/>
                        </a:cxn>
                        <a:cxn ang="0">
                          <a:pos x="38" y="11"/>
                        </a:cxn>
                        <a:cxn ang="0">
                          <a:pos x="33" y="1"/>
                        </a:cxn>
                        <a:cxn ang="0">
                          <a:pos x="13" y="8"/>
                        </a:cxn>
                      </a:cxnLst>
                      <a:rect l="0" t="0" r="r" b="b"/>
                      <a:pathLst>
                        <a:path w="185" h="58">
                          <a:moveTo>
                            <a:pt x="13" y="8"/>
                          </a:moveTo>
                          <a:lnTo>
                            <a:pt x="0" y="22"/>
                          </a:lnTo>
                          <a:lnTo>
                            <a:pt x="8" y="43"/>
                          </a:lnTo>
                          <a:lnTo>
                            <a:pt x="28" y="49"/>
                          </a:lnTo>
                          <a:lnTo>
                            <a:pt x="53" y="54"/>
                          </a:lnTo>
                          <a:lnTo>
                            <a:pt x="81" y="58"/>
                          </a:lnTo>
                          <a:lnTo>
                            <a:pt x="108" y="56"/>
                          </a:lnTo>
                          <a:lnTo>
                            <a:pt x="135" y="53"/>
                          </a:lnTo>
                          <a:lnTo>
                            <a:pt x="159" y="46"/>
                          </a:lnTo>
                          <a:lnTo>
                            <a:pt x="176" y="33"/>
                          </a:lnTo>
                          <a:lnTo>
                            <a:pt x="185" y="16"/>
                          </a:lnTo>
                          <a:lnTo>
                            <a:pt x="160" y="6"/>
                          </a:lnTo>
                          <a:lnTo>
                            <a:pt x="144" y="0"/>
                          </a:lnTo>
                          <a:lnTo>
                            <a:pt x="139" y="15"/>
                          </a:lnTo>
                          <a:lnTo>
                            <a:pt x="127" y="24"/>
                          </a:lnTo>
                          <a:lnTo>
                            <a:pt x="109" y="29"/>
                          </a:lnTo>
                          <a:lnTo>
                            <a:pt x="89" y="29"/>
                          </a:lnTo>
                          <a:lnTo>
                            <a:pt x="68" y="25"/>
                          </a:lnTo>
                          <a:lnTo>
                            <a:pt x="51" y="20"/>
                          </a:lnTo>
                          <a:lnTo>
                            <a:pt x="38" y="11"/>
                          </a:lnTo>
                          <a:lnTo>
                            <a:pt x="33" y="1"/>
                          </a:lnTo>
                          <a:lnTo>
                            <a:pt x="13" y="8"/>
                          </a:lnTo>
                          <a:close/>
                        </a:path>
                      </a:pathLst>
                    </a:custGeom>
                    <a:solidFill>
                      <a:srgbClr val="E6E6E6">
                        <a:lumMod val="10000"/>
                      </a:srgbClr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pPr fontAlgn="auto">
                        <a:spcBef>
                          <a:spcPts val="0"/>
                        </a:spcBef>
                        <a:spcAft>
                          <a:spcPts val="0"/>
                        </a:spcAft>
                        <a:defRPr/>
                      </a:pPr>
                      <a:endParaRPr lang="da-DK" kern="0">
                        <a:solidFill>
                          <a:sysClr val="windowText" lastClr="000000"/>
                        </a:solidFill>
                        <a:latin typeface="+mn-lt"/>
                        <a:ea typeface="ＭＳ Ｐゴシック" pitchFamily="-97" charset="-128"/>
                        <a:cs typeface="+mn-cs"/>
                      </a:endParaRPr>
                    </a:p>
                  </p:txBody>
                </p:sp>
                <p:sp>
                  <p:nvSpPr>
                    <p:cNvPr id="144" name="Freeform 132"/>
                    <p:cNvSpPr>
                      <a:spLocks/>
                    </p:cNvSpPr>
                    <p:nvPr/>
                  </p:nvSpPr>
                  <p:spPr bwMode="auto">
                    <a:xfrm>
                      <a:off x="235128" y="3690074"/>
                      <a:ext cx="593508" cy="187626"/>
                    </a:xfrm>
                    <a:custGeom>
                      <a:avLst/>
                      <a:gdLst/>
                      <a:ahLst/>
                      <a:cxnLst>
                        <a:cxn ang="0">
                          <a:pos x="32" y="10"/>
                        </a:cxn>
                        <a:cxn ang="0">
                          <a:pos x="1" y="26"/>
                        </a:cxn>
                        <a:cxn ang="0">
                          <a:pos x="0" y="43"/>
                        </a:cxn>
                        <a:cxn ang="0">
                          <a:pos x="3" y="60"/>
                        </a:cxn>
                        <a:cxn ang="0">
                          <a:pos x="14" y="71"/>
                        </a:cxn>
                        <a:cxn ang="0">
                          <a:pos x="27" y="81"/>
                        </a:cxn>
                        <a:cxn ang="0">
                          <a:pos x="46" y="90"/>
                        </a:cxn>
                        <a:cxn ang="0">
                          <a:pos x="67" y="95"/>
                        </a:cxn>
                        <a:cxn ang="0">
                          <a:pos x="91" y="100"/>
                        </a:cxn>
                        <a:cxn ang="0">
                          <a:pos x="117" y="102"/>
                        </a:cxn>
                        <a:cxn ang="0">
                          <a:pos x="144" y="102"/>
                        </a:cxn>
                        <a:cxn ang="0">
                          <a:pos x="171" y="102"/>
                        </a:cxn>
                        <a:cxn ang="0">
                          <a:pos x="199" y="100"/>
                        </a:cxn>
                        <a:cxn ang="0">
                          <a:pos x="225" y="98"/>
                        </a:cxn>
                        <a:cxn ang="0">
                          <a:pos x="251" y="94"/>
                        </a:cxn>
                        <a:cxn ang="0">
                          <a:pos x="273" y="90"/>
                        </a:cxn>
                        <a:cxn ang="0">
                          <a:pos x="292" y="85"/>
                        </a:cxn>
                        <a:cxn ang="0">
                          <a:pos x="308" y="79"/>
                        </a:cxn>
                        <a:cxn ang="0">
                          <a:pos x="319" y="71"/>
                        </a:cxn>
                        <a:cxn ang="0">
                          <a:pos x="326" y="61"/>
                        </a:cxn>
                        <a:cxn ang="0">
                          <a:pos x="329" y="50"/>
                        </a:cxn>
                        <a:cxn ang="0">
                          <a:pos x="329" y="39"/>
                        </a:cxn>
                        <a:cxn ang="0">
                          <a:pos x="325" y="28"/>
                        </a:cxn>
                        <a:cxn ang="0">
                          <a:pos x="316" y="18"/>
                        </a:cxn>
                        <a:cxn ang="0">
                          <a:pos x="303" y="8"/>
                        </a:cxn>
                        <a:cxn ang="0">
                          <a:pos x="285" y="0"/>
                        </a:cxn>
                        <a:cxn ang="0">
                          <a:pos x="269" y="18"/>
                        </a:cxn>
                        <a:cxn ang="0">
                          <a:pos x="252" y="31"/>
                        </a:cxn>
                        <a:cxn ang="0">
                          <a:pos x="234" y="39"/>
                        </a:cxn>
                        <a:cxn ang="0">
                          <a:pos x="215" y="43"/>
                        </a:cxn>
                        <a:cxn ang="0">
                          <a:pos x="194" y="45"/>
                        </a:cxn>
                        <a:cxn ang="0">
                          <a:pos x="173" y="43"/>
                        </a:cxn>
                        <a:cxn ang="0">
                          <a:pos x="148" y="41"/>
                        </a:cxn>
                        <a:cxn ang="0">
                          <a:pos x="122" y="40"/>
                        </a:cxn>
                        <a:cxn ang="0">
                          <a:pos x="67" y="30"/>
                        </a:cxn>
                        <a:cxn ang="0">
                          <a:pos x="49" y="3"/>
                        </a:cxn>
                        <a:cxn ang="0">
                          <a:pos x="32" y="10"/>
                        </a:cxn>
                      </a:cxnLst>
                      <a:rect l="0" t="0" r="r" b="b"/>
                      <a:pathLst>
                        <a:path w="329" h="102">
                          <a:moveTo>
                            <a:pt x="32" y="10"/>
                          </a:moveTo>
                          <a:lnTo>
                            <a:pt x="1" y="26"/>
                          </a:lnTo>
                          <a:lnTo>
                            <a:pt x="0" y="43"/>
                          </a:lnTo>
                          <a:lnTo>
                            <a:pt x="3" y="60"/>
                          </a:lnTo>
                          <a:lnTo>
                            <a:pt x="14" y="71"/>
                          </a:lnTo>
                          <a:lnTo>
                            <a:pt x="27" y="81"/>
                          </a:lnTo>
                          <a:lnTo>
                            <a:pt x="46" y="90"/>
                          </a:lnTo>
                          <a:lnTo>
                            <a:pt x="67" y="95"/>
                          </a:lnTo>
                          <a:lnTo>
                            <a:pt x="91" y="100"/>
                          </a:lnTo>
                          <a:lnTo>
                            <a:pt x="117" y="102"/>
                          </a:lnTo>
                          <a:lnTo>
                            <a:pt x="144" y="102"/>
                          </a:lnTo>
                          <a:lnTo>
                            <a:pt x="171" y="102"/>
                          </a:lnTo>
                          <a:lnTo>
                            <a:pt x="199" y="100"/>
                          </a:lnTo>
                          <a:lnTo>
                            <a:pt x="225" y="98"/>
                          </a:lnTo>
                          <a:lnTo>
                            <a:pt x="251" y="94"/>
                          </a:lnTo>
                          <a:lnTo>
                            <a:pt x="273" y="90"/>
                          </a:lnTo>
                          <a:lnTo>
                            <a:pt x="292" y="85"/>
                          </a:lnTo>
                          <a:lnTo>
                            <a:pt x="308" y="79"/>
                          </a:lnTo>
                          <a:lnTo>
                            <a:pt x="319" y="71"/>
                          </a:lnTo>
                          <a:lnTo>
                            <a:pt x="326" y="61"/>
                          </a:lnTo>
                          <a:lnTo>
                            <a:pt x="329" y="50"/>
                          </a:lnTo>
                          <a:lnTo>
                            <a:pt x="329" y="39"/>
                          </a:lnTo>
                          <a:lnTo>
                            <a:pt x="325" y="28"/>
                          </a:lnTo>
                          <a:lnTo>
                            <a:pt x="316" y="18"/>
                          </a:lnTo>
                          <a:lnTo>
                            <a:pt x="303" y="8"/>
                          </a:lnTo>
                          <a:lnTo>
                            <a:pt x="285" y="0"/>
                          </a:lnTo>
                          <a:lnTo>
                            <a:pt x="269" y="18"/>
                          </a:lnTo>
                          <a:lnTo>
                            <a:pt x="252" y="31"/>
                          </a:lnTo>
                          <a:lnTo>
                            <a:pt x="234" y="39"/>
                          </a:lnTo>
                          <a:lnTo>
                            <a:pt x="215" y="43"/>
                          </a:lnTo>
                          <a:lnTo>
                            <a:pt x="194" y="45"/>
                          </a:lnTo>
                          <a:lnTo>
                            <a:pt x="173" y="43"/>
                          </a:lnTo>
                          <a:lnTo>
                            <a:pt x="148" y="41"/>
                          </a:lnTo>
                          <a:lnTo>
                            <a:pt x="122" y="40"/>
                          </a:lnTo>
                          <a:lnTo>
                            <a:pt x="67" y="30"/>
                          </a:lnTo>
                          <a:lnTo>
                            <a:pt x="49" y="3"/>
                          </a:lnTo>
                          <a:lnTo>
                            <a:pt x="32" y="10"/>
                          </a:lnTo>
                          <a:close/>
                        </a:path>
                      </a:pathLst>
                    </a:custGeom>
                    <a:solidFill>
                      <a:srgbClr val="E6E6E6">
                        <a:lumMod val="10000"/>
                      </a:srgbClr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pPr fontAlgn="auto">
                        <a:spcBef>
                          <a:spcPts val="0"/>
                        </a:spcBef>
                        <a:spcAft>
                          <a:spcPts val="0"/>
                        </a:spcAft>
                        <a:defRPr/>
                      </a:pPr>
                      <a:endParaRPr lang="da-DK" kern="0">
                        <a:solidFill>
                          <a:sysClr val="windowText" lastClr="000000"/>
                        </a:solidFill>
                        <a:latin typeface="+mn-lt"/>
                        <a:ea typeface="ＭＳ Ｐゴシック" pitchFamily="-97" charset="-128"/>
                        <a:cs typeface="+mn-cs"/>
                      </a:endParaRPr>
                    </a:p>
                  </p:txBody>
                </p:sp>
                <p:sp>
                  <p:nvSpPr>
                    <p:cNvPr id="145" name="Freeform 133"/>
                    <p:cNvSpPr>
                      <a:spLocks/>
                    </p:cNvSpPr>
                    <p:nvPr/>
                  </p:nvSpPr>
                  <p:spPr bwMode="auto">
                    <a:xfrm>
                      <a:off x="328831" y="4102837"/>
                      <a:ext cx="374853" cy="75046"/>
                    </a:xfrm>
                    <a:custGeom>
                      <a:avLst/>
                      <a:gdLst/>
                      <a:ahLst/>
                      <a:cxnLst>
                        <a:cxn ang="0">
                          <a:pos x="12" y="0"/>
                        </a:cxn>
                        <a:cxn ang="0">
                          <a:pos x="24" y="6"/>
                        </a:cxn>
                        <a:cxn ang="0">
                          <a:pos x="35" y="12"/>
                        </a:cxn>
                        <a:cxn ang="0">
                          <a:pos x="47" y="15"/>
                        </a:cxn>
                        <a:cxn ang="0">
                          <a:pos x="58" y="17"/>
                        </a:cxn>
                        <a:cxn ang="0">
                          <a:pos x="70" y="20"/>
                        </a:cxn>
                        <a:cxn ang="0">
                          <a:pos x="82" y="21"/>
                        </a:cxn>
                        <a:cxn ang="0">
                          <a:pos x="94" y="22"/>
                        </a:cxn>
                        <a:cxn ang="0">
                          <a:pos x="106" y="21"/>
                        </a:cxn>
                        <a:cxn ang="0">
                          <a:pos x="119" y="20"/>
                        </a:cxn>
                        <a:cxn ang="0">
                          <a:pos x="131" y="19"/>
                        </a:cxn>
                        <a:cxn ang="0">
                          <a:pos x="143" y="16"/>
                        </a:cxn>
                        <a:cxn ang="0">
                          <a:pos x="156" y="14"/>
                        </a:cxn>
                        <a:cxn ang="0">
                          <a:pos x="167" y="12"/>
                        </a:cxn>
                        <a:cxn ang="0">
                          <a:pos x="180" y="8"/>
                        </a:cxn>
                        <a:cxn ang="0">
                          <a:pos x="192" y="6"/>
                        </a:cxn>
                        <a:cxn ang="0">
                          <a:pos x="204" y="2"/>
                        </a:cxn>
                        <a:cxn ang="0">
                          <a:pos x="204" y="14"/>
                        </a:cxn>
                        <a:cxn ang="0">
                          <a:pos x="196" y="17"/>
                        </a:cxn>
                        <a:cxn ang="0">
                          <a:pos x="188" y="21"/>
                        </a:cxn>
                        <a:cxn ang="0">
                          <a:pos x="178" y="24"/>
                        </a:cxn>
                        <a:cxn ang="0">
                          <a:pos x="167" y="27"/>
                        </a:cxn>
                        <a:cxn ang="0">
                          <a:pos x="155" y="30"/>
                        </a:cxn>
                        <a:cxn ang="0">
                          <a:pos x="143" y="32"/>
                        </a:cxn>
                        <a:cxn ang="0">
                          <a:pos x="129" y="35"/>
                        </a:cxn>
                        <a:cxn ang="0">
                          <a:pos x="117" y="37"/>
                        </a:cxn>
                        <a:cxn ang="0">
                          <a:pos x="102" y="37"/>
                        </a:cxn>
                        <a:cxn ang="0">
                          <a:pos x="88" y="37"/>
                        </a:cxn>
                        <a:cxn ang="0">
                          <a:pos x="73" y="36"/>
                        </a:cxn>
                        <a:cxn ang="0">
                          <a:pos x="58" y="34"/>
                        </a:cxn>
                        <a:cxn ang="0">
                          <a:pos x="44" y="29"/>
                        </a:cxn>
                        <a:cxn ang="0">
                          <a:pos x="29" y="24"/>
                        </a:cxn>
                        <a:cxn ang="0">
                          <a:pos x="14" y="17"/>
                        </a:cxn>
                        <a:cxn ang="0">
                          <a:pos x="0" y="8"/>
                        </a:cxn>
                        <a:cxn ang="0">
                          <a:pos x="12" y="0"/>
                        </a:cxn>
                      </a:cxnLst>
                      <a:rect l="0" t="0" r="r" b="b"/>
                      <a:pathLst>
                        <a:path w="204" h="37">
                          <a:moveTo>
                            <a:pt x="12" y="0"/>
                          </a:moveTo>
                          <a:lnTo>
                            <a:pt x="24" y="6"/>
                          </a:lnTo>
                          <a:lnTo>
                            <a:pt x="35" y="12"/>
                          </a:lnTo>
                          <a:lnTo>
                            <a:pt x="47" y="15"/>
                          </a:lnTo>
                          <a:lnTo>
                            <a:pt x="58" y="17"/>
                          </a:lnTo>
                          <a:lnTo>
                            <a:pt x="70" y="20"/>
                          </a:lnTo>
                          <a:lnTo>
                            <a:pt x="82" y="21"/>
                          </a:lnTo>
                          <a:lnTo>
                            <a:pt x="94" y="22"/>
                          </a:lnTo>
                          <a:lnTo>
                            <a:pt x="106" y="21"/>
                          </a:lnTo>
                          <a:lnTo>
                            <a:pt x="119" y="20"/>
                          </a:lnTo>
                          <a:lnTo>
                            <a:pt x="131" y="19"/>
                          </a:lnTo>
                          <a:lnTo>
                            <a:pt x="143" y="16"/>
                          </a:lnTo>
                          <a:lnTo>
                            <a:pt x="156" y="14"/>
                          </a:lnTo>
                          <a:lnTo>
                            <a:pt x="167" y="12"/>
                          </a:lnTo>
                          <a:lnTo>
                            <a:pt x="180" y="8"/>
                          </a:lnTo>
                          <a:lnTo>
                            <a:pt x="192" y="6"/>
                          </a:lnTo>
                          <a:lnTo>
                            <a:pt x="204" y="2"/>
                          </a:lnTo>
                          <a:lnTo>
                            <a:pt x="204" y="14"/>
                          </a:lnTo>
                          <a:lnTo>
                            <a:pt x="196" y="17"/>
                          </a:lnTo>
                          <a:lnTo>
                            <a:pt x="188" y="21"/>
                          </a:lnTo>
                          <a:lnTo>
                            <a:pt x="178" y="24"/>
                          </a:lnTo>
                          <a:lnTo>
                            <a:pt x="167" y="27"/>
                          </a:lnTo>
                          <a:lnTo>
                            <a:pt x="155" y="30"/>
                          </a:lnTo>
                          <a:lnTo>
                            <a:pt x="143" y="32"/>
                          </a:lnTo>
                          <a:lnTo>
                            <a:pt x="129" y="35"/>
                          </a:lnTo>
                          <a:lnTo>
                            <a:pt x="117" y="37"/>
                          </a:lnTo>
                          <a:lnTo>
                            <a:pt x="102" y="37"/>
                          </a:lnTo>
                          <a:lnTo>
                            <a:pt x="88" y="37"/>
                          </a:lnTo>
                          <a:lnTo>
                            <a:pt x="73" y="36"/>
                          </a:lnTo>
                          <a:lnTo>
                            <a:pt x="58" y="34"/>
                          </a:lnTo>
                          <a:lnTo>
                            <a:pt x="44" y="29"/>
                          </a:lnTo>
                          <a:lnTo>
                            <a:pt x="29" y="24"/>
                          </a:lnTo>
                          <a:lnTo>
                            <a:pt x="14" y="17"/>
                          </a:lnTo>
                          <a:lnTo>
                            <a:pt x="0" y="8"/>
                          </a:lnTo>
                          <a:lnTo>
                            <a:pt x="12" y="0"/>
                          </a:lnTo>
                          <a:close/>
                        </a:path>
                      </a:pathLst>
                    </a:custGeom>
                    <a:solidFill>
                      <a:srgbClr val="E6E6E6">
                        <a:lumMod val="90000"/>
                      </a:srgbClr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pPr fontAlgn="auto">
                        <a:spcBef>
                          <a:spcPts val="0"/>
                        </a:spcBef>
                        <a:spcAft>
                          <a:spcPts val="0"/>
                        </a:spcAft>
                        <a:defRPr/>
                      </a:pPr>
                      <a:endParaRPr lang="da-DK" kern="0">
                        <a:solidFill>
                          <a:sysClr val="windowText" lastClr="000000"/>
                        </a:solidFill>
                        <a:latin typeface="+mn-lt"/>
                        <a:ea typeface="ＭＳ Ｐゴシック" pitchFamily="-97" charset="-128"/>
                        <a:cs typeface="+mn-cs"/>
                      </a:endParaRPr>
                    </a:p>
                  </p:txBody>
                </p:sp>
                <p:sp>
                  <p:nvSpPr>
                    <p:cNvPr id="146" name="Freeform 135"/>
                    <p:cNvSpPr>
                      <a:spLocks/>
                    </p:cNvSpPr>
                    <p:nvPr/>
                  </p:nvSpPr>
                  <p:spPr bwMode="auto">
                    <a:xfrm>
                      <a:off x="235128" y="4215393"/>
                      <a:ext cx="593508" cy="187626"/>
                    </a:xfrm>
                    <a:custGeom>
                      <a:avLst/>
                      <a:gdLst/>
                      <a:ahLst/>
                      <a:cxnLst>
                        <a:cxn ang="0">
                          <a:pos x="40" y="0"/>
                        </a:cxn>
                        <a:cxn ang="0">
                          <a:pos x="19" y="9"/>
                        </a:cxn>
                        <a:cxn ang="0">
                          <a:pos x="6" y="20"/>
                        </a:cxn>
                        <a:cxn ang="0">
                          <a:pos x="0" y="30"/>
                        </a:cxn>
                        <a:cxn ang="0">
                          <a:pos x="0" y="42"/>
                        </a:cxn>
                        <a:cxn ang="0">
                          <a:pos x="7" y="53"/>
                        </a:cxn>
                        <a:cxn ang="0">
                          <a:pos x="17" y="65"/>
                        </a:cxn>
                        <a:cxn ang="0">
                          <a:pos x="32" y="75"/>
                        </a:cxn>
                        <a:cxn ang="0">
                          <a:pos x="50" y="85"/>
                        </a:cxn>
                        <a:cxn ang="0">
                          <a:pos x="66" y="89"/>
                        </a:cxn>
                        <a:cxn ang="0">
                          <a:pos x="82" y="92"/>
                        </a:cxn>
                        <a:cxn ang="0">
                          <a:pos x="97" y="95"/>
                        </a:cxn>
                        <a:cxn ang="0">
                          <a:pos x="113" y="96"/>
                        </a:cxn>
                        <a:cxn ang="0">
                          <a:pos x="128" y="98"/>
                        </a:cxn>
                        <a:cxn ang="0">
                          <a:pos x="144" y="99"/>
                        </a:cxn>
                        <a:cxn ang="0">
                          <a:pos x="159" y="99"/>
                        </a:cxn>
                        <a:cxn ang="0">
                          <a:pos x="174" y="100"/>
                        </a:cxn>
                        <a:cxn ang="0">
                          <a:pos x="189" y="100"/>
                        </a:cxn>
                        <a:cxn ang="0">
                          <a:pos x="205" y="100"/>
                        </a:cxn>
                        <a:cxn ang="0">
                          <a:pos x="220" y="99"/>
                        </a:cxn>
                        <a:cxn ang="0">
                          <a:pos x="236" y="99"/>
                        </a:cxn>
                        <a:cxn ang="0">
                          <a:pos x="251" y="98"/>
                        </a:cxn>
                        <a:cxn ang="0">
                          <a:pos x="267" y="97"/>
                        </a:cxn>
                        <a:cxn ang="0">
                          <a:pos x="284" y="95"/>
                        </a:cxn>
                        <a:cxn ang="0">
                          <a:pos x="300" y="94"/>
                        </a:cxn>
                        <a:cxn ang="0">
                          <a:pos x="323" y="81"/>
                        </a:cxn>
                        <a:cxn ang="0">
                          <a:pos x="339" y="68"/>
                        </a:cxn>
                        <a:cxn ang="0">
                          <a:pos x="349" y="56"/>
                        </a:cxn>
                        <a:cxn ang="0">
                          <a:pos x="351" y="43"/>
                        </a:cxn>
                        <a:cxn ang="0">
                          <a:pos x="348" y="31"/>
                        </a:cxn>
                        <a:cxn ang="0">
                          <a:pos x="338" y="21"/>
                        </a:cxn>
                        <a:cxn ang="0">
                          <a:pos x="320" y="12"/>
                        </a:cxn>
                        <a:cxn ang="0">
                          <a:pos x="296" y="5"/>
                        </a:cxn>
                        <a:cxn ang="0">
                          <a:pos x="298" y="15"/>
                        </a:cxn>
                        <a:cxn ang="0">
                          <a:pos x="294" y="23"/>
                        </a:cxn>
                        <a:cxn ang="0">
                          <a:pos x="284" y="30"/>
                        </a:cxn>
                        <a:cxn ang="0">
                          <a:pos x="272" y="37"/>
                        </a:cxn>
                        <a:cxn ang="0">
                          <a:pos x="258" y="38"/>
                        </a:cxn>
                        <a:cxn ang="0">
                          <a:pos x="245" y="39"/>
                        </a:cxn>
                        <a:cxn ang="0">
                          <a:pos x="234" y="41"/>
                        </a:cxn>
                        <a:cxn ang="0">
                          <a:pos x="222" y="42"/>
                        </a:cxn>
                        <a:cxn ang="0">
                          <a:pos x="211" y="43"/>
                        </a:cxn>
                        <a:cxn ang="0">
                          <a:pos x="199" y="43"/>
                        </a:cxn>
                        <a:cxn ang="0">
                          <a:pos x="188" y="44"/>
                        </a:cxn>
                        <a:cxn ang="0">
                          <a:pos x="178" y="44"/>
                        </a:cxn>
                        <a:cxn ang="0">
                          <a:pos x="166" y="44"/>
                        </a:cxn>
                        <a:cxn ang="0">
                          <a:pos x="155" y="44"/>
                        </a:cxn>
                        <a:cxn ang="0">
                          <a:pos x="143" y="44"/>
                        </a:cxn>
                        <a:cxn ang="0">
                          <a:pos x="133" y="43"/>
                        </a:cxn>
                        <a:cxn ang="0">
                          <a:pos x="120" y="42"/>
                        </a:cxn>
                        <a:cxn ang="0">
                          <a:pos x="108" y="41"/>
                        </a:cxn>
                        <a:cxn ang="0">
                          <a:pos x="96" y="39"/>
                        </a:cxn>
                        <a:cxn ang="0">
                          <a:pos x="82" y="37"/>
                        </a:cxn>
                        <a:cxn ang="0">
                          <a:pos x="73" y="32"/>
                        </a:cxn>
                        <a:cxn ang="0">
                          <a:pos x="65" y="28"/>
                        </a:cxn>
                        <a:cxn ang="0">
                          <a:pos x="58" y="23"/>
                        </a:cxn>
                        <a:cxn ang="0">
                          <a:pos x="52" y="19"/>
                        </a:cxn>
                        <a:cxn ang="0">
                          <a:pos x="47" y="14"/>
                        </a:cxn>
                        <a:cxn ang="0">
                          <a:pos x="44" y="11"/>
                        </a:cxn>
                        <a:cxn ang="0">
                          <a:pos x="42" y="5"/>
                        </a:cxn>
                        <a:cxn ang="0">
                          <a:pos x="40" y="0"/>
                        </a:cxn>
                      </a:cxnLst>
                      <a:rect l="0" t="0" r="r" b="b"/>
                      <a:pathLst>
                        <a:path w="351" h="100">
                          <a:moveTo>
                            <a:pt x="40" y="0"/>
                          </a:moveTo>
                          <a:lnTo>
                            <a:pt x="19" y="9"/>
                          </a:lnTo>
                          <a:lnTo>
                            <a:pt x="6" y="20"/>
                          </a:lnTo>
                          <a:lnTo>
                            <a:pt x="0" y="30"/>
                          </a:lnTo>
                          <a:lnTo>
                            <a:pt x="0" y="42"/>
                          </a:lnTo>
                          <a:lnTo>
                            <a:pt x="7" y="53"/>
                          </a:lnTo>
                          <a:lnTo>
                            <a:pt x="17" y="65"/>
                          </a:lnTo>
                          <a:lnTo>
                            <a:pt x="32" y="75"/>
                          </a:lnTo>
                          <a:lnTo>
                            <a:pt x="50" y="85"/>
                          </a:lnTo>
                          <a:lnTo>
                            <a:pt x="66" y="89"/>
                          </a:lnTo>
                          <a:lnTo>
                            <a:pt x="82" y="92"/>
                          </a:lnTo>
                          <a:lnTo>
                            <a:pt x="97" y="95"/>
                          </a:lnTo>
                          <a:lnTo>
                            <a:pt x="113" y="96"/>
                          </a:lnTo>
                          <a:lnTo>
                            <a:pt x="128" y="98"/>
                          </a:lnTo>
                          <a:lnTo>
                            <a:pt x="144" y="99"/>
                          </a:lnTo>
                          <a:lnTo>
                            <a:pt x="159" y="99"/>
                          </a:lnTo>
                          <a:lnTo>
                            <a:pt x="174" y="100"/>
                          </a:lnTo>
                          <a:lnTo>
                            <a:pt x="189" y="100"/>
                          </a:lnTo>
                          <a:lnTo>
                            <a:pt x="205" y="100"/>
                          </a:lnTo>
                          <a:lnTo>
                            <a:pt x="220" y="99"/>
                          </a:lnTo>
                          <a:lnTo>
                            <a:pt x="236" y="99"/>
                          </a:lnTo>
                          <a:lnTo>
                            <a:pt x="251" y="98"/>
                          </a:lnTo>
                          <a:lnTo>
                            <a:pt x="267" y="97"/>
                          </a:lnTo>
                          <a:lnTo>
                            <a:pt x="284" y="95"/>
                          </a:lnTo>
                          <a:lnTo>
                            <a:pt x="300" y="94"/>
                          </a:lnTo>
                          <a:lnTo>
                            <a:pt x="323" y="81"/>
                          </a:lnTo>
                          <a:lnTo>
                            <a:pt x="339" y="68"/>
                          </a:lnTo>
                          <a:lnTo>
                            <a:pt x="349" y="56"/>
                          </a:lnTo>
                          <a:lnTo>
                            <a:pt x="351" y="43"/>
                          </a:lnTo>
                          <a:lnTo>
                            <a:pt x="348" y="31"/>
                          </a:lnTo>
                          <a:lnTo>
                            <a:pt x="338" y="21"/>
                          </a:lnTo>
                          <a:lnTo>
                            <a:pt x="320" y="12"/>
                          </a:lnTo>
                          <a:lnTo>
                            <a:pt x="296" y="5"/>
                          </a:lnTo>
                          <a:lnTo>
                            <a:pt x="298" y="15"/>
                          </a:lnTo>
                          <a:lnTo>
                            <a:pt x="294" y="23"/>
                          </a:lnTo>
                          <a:lnTo>
                            <a:pt x="284" y="30"/>
                          </a:lnTo>
                          <a:lnTo>
                            <a:pt x="272" y="37"/>
                          </a:lnTo>
                          <a:lnTo>
                            <a:pt x="258" y="38"/>
                          </a:lnTo>
                          <a:lnTo>
                            <a:pt x="245" y="39"/>
                          </a:lnTo>
                          <a:lnTo>
                            <a:pt x="234" y="41"/>
                          </a:lnTo>
                          <a:lnTo>
                            <a:pt x="222" y="42"/>
                          </a:lnTo>
                          <a:lnTo>
                            <a:pt x="211" y="43"/>
                          </a:lnTo>
                          <a:lnTo>
                            <a:pt x="199" y="43"/>
                          </a:lnTo>
                          <a:lnTo>
                            <a:pt x="188" y="44"/>
                          </a:lnTo>
                          <a:lnTo>
                            <a:pt x="178" y="44"/>
                          </a:lnTo>
                          <a:lnTo>
                            <a:pt x="166" y="44"/>
                          </a:lnTo>
                          <a:lnTo>
                            <a:pt x="155" y="44"/>
                          </a:lnTo>
                          <a:lnTo>
                            <a:pt x="143" y="44"/>
                          </a:lnTo>
                          <a:lnTo>
                            <a:pt x="133" y="43"/>
                          </a:lnTo>
                          <a:lnTo>
                            <a:pt x="120" y="42"/>
                          </a:lnTo>
                          <a:lnTo>
                            <a:pt x="108" y="41"/>
                          </a:lnTo>
                          <a:lnTo>
                            <a:pt x="96" y="39"/>
                          </a:lnTo>
                          <a:lnTo>
                            <a:pt x="82" y="37"/>
                          </a:lnTo>
                          <a:lnTo>
                            <a:pt x="73" y="32"/>
                          </a:lnTo>
                          <a:lnTo>
                            <a:pt x="65" y="28"/>
                          </a:lnTo>
                          <a:lnTo>
                            <a:pt x="58" y="23"/>
                          </a:lnTo>
                          <a:lnTo>
                            <a:pt x="52" y="19"/>
                          </a:lnTo>
                          <a:lnTo>
                            <a:pt x="47" y="14"/>
                          </a:lnTo>
                          <a:lnTo>
                            <a:pt x="44" y="11"/>
                          </a:lnTo>
                          <a:lnTo>
                            <a:pt x="42" y="5"/>
                          </a:lnTo>
                          <a:lnTo>
                            <a:pt x="40" y="0"/>
                          </a:lnTo>
                          <a:close/>
                        </a:path>
                      </a:pathLst>
                    </a:custGeom>
                    <a:solidFill>
                      <a:srgbClr val="E6E6E6">
                        <a:lumMod val="90000"/>
                      </a:srgbClr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pPr fontAlgn="auto">
                        <a:spcBef>
                          <a:spcPts val="0"/>
                        </a:spcBef>
                        <a:spcAft>
                          <a:spcPts val="0"/>
                        </a:spcAft>
                        <a:defRPr/>
                      </a:pPr>
                      <a:endParaRPr lang="da-DK" kern="0">
                        <a:solidFill>
                          <a:sysClr val="windowText" lastClr="000000"/>
                        </a:solidFill>
                        <a:latin typeface="+mn-lt"/>
                        <a:ea typeface="ＭＳ Ｐゴシック" pitchFamily="-97" charset="-128"/>
                        <a:cs typeface="+mn-cs"/>
                      </a:endParaRPr>
                    </a:p>
                  </p:txBody>
                </p:sp>
                <p:sp>
                  <p:nvSpPr>
                    <p:cNvPr id="147" name="Freeform 147"/>
                    <p:cNvSpPr>
                      <a:spLocks/>
                    </p:cNvSpPr>
                    <p:nvPr/>
                  </p:nvSpPr>
                  <p:spPr bwMode="auto">
                    <a:xfrm>
                      <a:off x="203880" y="5078430"/>
                      <a:ext cx="656003" cy="187602"/>
                    </a:xfrm>
                    <a:custGeom>
                      <a:avLst/>
                      <a:gdLst/>
                      <a:ahLst/>
                      <a:cxnLst>
                        <a:cxn ang="0">
                          <a:pos x="24" y="4"/>
                        </a:cxn>
                        <a:cxn ang="0">
                          <a:pos x="68" y="40"/>
                        </a:cxn>
                        <a:cxn ang="0">
                          <a:pos x="89" y="44"/>
                        </a:cxn>
                        <a:cxn ang="0">
                          <a:pos x="108" y="48"/>
                        </a:cxn>
                        <a:cxn ang="0">
                          <a:pos x="127" y="53"/>
                        </a:cxn>
                        <a:cxn ang="0">
                          <a:pos x="144" y="55"/>
                        </a:cxn>
                        <a:cxn ang="0">
                          <a:pos x="160" y="57"/>
                        </a:cxn>
                        <a:cxn ang="0">
                          <a:pos x="176" y="59"/>
                        </a:cxn>
                        <a:cxn ang="0">
                          <a:pos x="192" y="59"/>
                        </a:cxn>
                        <a:cxn ang="0">
                          <a:pos x="207" y="59"/>
                        </a:cxn>
                        <a:cxn ang="0">
                          <a:pos x="222" y="58"/>
                        </a:cxn>
                        <a:cxn ang="0">
                          <a:pos x="237" y="57"/>
                        </a:cxn>
                        <a:cxn ang="0">
                          <a:pos x="253" y="54"/>
                        </a:cxn>
                        <a:cxn ang="0">
                          <a:pos x="270" y="50"/>
                        </a:cxn>
                        <a:cxn ang="0">
                          <a:pos x="286" y="46"/>
                        </a:cxn>
                        <a:cxn ang="0">
                          <a:pos x="304" y="39"/>
                        </a:cxn>
                        <a:cxn ang="0">
                          <a:pos x="323" y="32"/>
                        </a:cxn>
                        <a:cxn ang="0">
                          <a:pos x="342" y="23"/>
                        </a:cxn>
                        <a:cxn ang="0">
                          <a:pos x="348" y="10"/>
                        </a:cxn>
                        <a:cxn ang="0">
                          <a:pos x="352" y="3"/>
                        </a:cxn>
                        <a:cxn ang="0">
                          <a:pos x="356" y="0"/>
                        </a:cxn>
                        <a:cxn ang="0">
                          <a:pos x="359" y="1"/>
                        </a:cxn>
                        <a:cxn ang="0">
                          <a:pos x="363" y="4"/>
                        </a:cxn>
                        <a:cxn ang="0">
                          <a:pos x="367" y="11"/>
                        </a:cxn>
                        <a:cxn ang="0">
                          <a:pos x="374" y="20"/>
                        </a:cxn>
                        <a:cxn ang="0">
                          <a:pos x="382" y="32"/>
                        </a:cxn>
                        <a:cxn ang="0">
                          <a:pos x="366" y="55"/>
                        </a:cxn>
                        <a:cxn ang="0">
                          <a:pos x="349" y="65"/>
                        </a:cxn>
                        <a:cxn ang="0">
                          <a:pos x="329" y="73"/>
                        </a:cxn>
                        <a:cxn ang="0">
                          <a:pos x="310" y="80"/>
                        </a:cxn>
                        <a:cxn ang="0">
                          <a:pos x="288" y="86"/>
                        </a:cxn>
                        <a:cxn ang="0">
                          <a:pos x="266" y="91"/>
                        </a:cxn>
                        <a:cxn ang="0">
                          <a:pos x="243" y="94"/>
                        </a:cxn>
                        <a:cxn ang="0">
                          <a:pos x="219" y="96"/>
                        </a:cxn>
                        <a:cxn ang="0">
                          <a:pos x="196" y="96"/>
                        </a:cxn>
                        <a:cxn ang="0">
                          <a:pos x="172" y="96"/>
                        </a:cxn>
                        <a:cxn ang="0">
                          <a:pos x="147" y="95"/>
                        </a:cxn>
                        <a:cxn ang="0">
                          <a:pos x="124" y="92"/>
                        </a:cxn>
                        <a:cxn ang="0">
                          <a:pos x="101" y="88"/>
                        </a:cxn>
                        <a:cxn ang="0">
                          <a:pos x="78" y="84"/>
                        </a:cxn>
                        <a:cxn ang="0">
                          <a:pos x="58" y="79"/>
                        </a:cxn>
                        <a:cxn ang="0">
                          <a:pos x="37" y="72"/>
                        </a:cxn>
                        <a:cxn ang="0">
                          <a:pos x="18" y="65"/>
                        </a:cxn>
                        <a:cxn ang="0">
                          <a:pos x="12" y="56"/>
                        </a:cxn>
                        <a:cxn ang="0">
                          <a:pos x="6" y="47"/>
                        </a:cxn>
                        <a:cxn ang="0">
                          <a:pos x="2" y="38"/>
                        </a:cxn>
                        <a:cxn ang="0">
                          <a:pos x="0" y="28"/>
                        </a:cxn>
                        <a:cxn ang="0">
                          <a:pos x="0" y="20"/>
                        </a:cxn>
                        <a:cxn ang="0">
                          <a:pos x="5" y="13"/>
                        </a:cxn>
                        <a:cxn ang="0">
                          <a:pos x="12" y="8"/>
                        </a:cxn>
                        <a:cxn ang="0">
                          <a:pos x="24" y="4"/>
                        </a:cxn>
                      </a:cxnLst>
                      <a:rect l="0" t="0" r="r" b="b"/>
                      <a:pathLst>
                        <a:path w="382" h="96">
                          <a:moveTo>
                            <a:pt x="24" y="4"/>
                          </a:moveTo>
                          <a:lnTo>
                            <a:pt x="68" y="40"/>
                          </a:lnTo>
                          <a:lnTo>
                            <a:pt x="89" y="44"/>
                          </a:lnTo>
                          <a:lnTo>
                            <a:pt x="108" y="48"/>
                          </a:lnTo>
                          <a:lnTo>
                            <a:pt x="127" y="53"/>
                          </a:lnTo>
                          <a:lnTo>
                            <a:pt x="144" y="55"/>
                          </a:lnTo>
                          <a:lnTo>
                            <a:pt x="160" y="57"/>
                          </a:lnTo>
                          <a:lnTo>
                            <a:pt x="176" y="59"/>
                          </a:lnTo>
                          <a:lnTo>
                            <a:pt x="192" y="59"/>
                          </a:lnTo>
                          <a:lnTo>
                            <a:pt x="207" y="59"/>
                          </a:lnTo>
                          <a:lnTo>
                            <a:pt x="222" y="58"/>
                          </a:lnTo>
                          <a:lnTo>
                            <a:pt x="237" y="57"/>
                          </a:lnTo>
                          <a:lnTo>
                            <a:pt x="253" y="54"/>
                          </a:lnTo>
                          <a:lnTo>
                            <a:pt x="270" y="50"/>
                          </a:lnTo>
                          <a:lnTo>
                            <a:pt x="286" y="46"/>
                          </a:lnTo>
                          <a:lnTo>
                            <a:pt x="304" y="39"/>
                          </a:lnTo>
                          <a:lnTo>
                            <a:pt x="323" y="32"/>
                          </a:lnTo>
                          <a:lnTo>
                            <a:pt x="342" y="23"/>
                          </a:lnTo>
                          <a:lnTo>
                            <a:pt x="348" y="10"/>
                          </a:lnTo>
                          <a:lnTo>
                            <a:pt x="352" y="3"/>
                          </a:lnTo>
                          <a:lnTo>
                            <a:pt x="356" y="0"/>
                          </a:lnTo>
                          <a:lnTo>
                            <a:pt x="359" y="1"/>
                          </a:lnTo>
                          <a:lnTo>
                            <a:pt x="363" y="4"/>
                          </a:lnTo>
                          <a:lnTo>
                            <a:pt x="367" y="11"/>
                          </a:lnTo>
                          <a:lnTo>
                            <a:pt x="374" y="20"/>
                          </a:lnTo>
                          <a:lnTo>
                            <a:pt x="382" y="32"/>
                          </a:lnTo>
                          <a:lnTo>
                            <a:pt x="366" y="55"/>
                          </a:lnTo>
                          <a:lnTo>
                            <a:pt x="349" y="65"/>
                          </a:lnTo>
                          <a:lnTo>
                            <a:pt x="329" y="73"/>
                          </a:lnTo>
                          <a:lnTo>
                            <a:pt x="310" y="80"/>
                          </a:lnTo>
                          <a:lnTo>
                            <a:pt x="288" y="86"/>
                          </a:lnTo>
                          <a:lnTo>
                            <a:pt x="266" y="91"/>
                          </a:lnTo>
                          <a:lnTo>
                            <a:pt x="243" y="94"/>
                          </a:lnTo>
                          <a:lnTo>
                            <a:pt x="219" y="96"/>
                          </a:lnTo>
                          <a:lnTo>
                            <a:pt x="196" y="96"/>
                          </a:lnTo>
                          <a:lnTo>
                            <a:pt x="172" y="96"/>
                          </a:lnTo>
                          <a:lnTo>
                            <a:pt x="147" y="95"/>
                          </a:lnTo>
                          <a:lnTo>
                            <a:pt x="124" y="92"/>
                          </a:lnTo>
                          <a:lnTo>
                            <a:pt x="101" y="88"/>
                          </a:lnTo>
                          <a:lnTo>
                            <a:pt x="78" y="84"/>
                          </a:lnTo>
                          <a:lnTo>
                            <a:pt x="58" y="79"/>
                          </a:lnTo>
                          <a:lnTo>
                            <a:pt x="37" y="72"/>
                          </a:lnTo>
                          <a:lnTo>
                            <a:pt x="18" y="65"/>
                          </a:lnTo>
                          <a:lnTo>
                            <a:pt x="12" y="56"/>
                          </a:lnTo>
                          <a:lnTo>
                            <a:pt x="6" y="47"/>
                          </a:lnTo>
                          <a:lnTo>
                            <a:pt x="2" y="38"/>
                          </a:lnTo>
                          <a:lnTo>
                            <a:pt x="0" y="28"/>
                          </a:lnTo>
                          <a:lnTo>
                            <a:pt x="0" y="20"/>
                          </a:lnTo>
                          <a:lnTo>
                            <a:pt x="5" y="13"/>
                          </a:lnTo>
                          <a:lnTo>
                            <a:pt x="12" y="8"/>
                          </a:lnTo>
                          <a:lnTo>
                            <a:pt x="24" y="4"/>
                          </a:lnTo>
                          <a:close/>
                        </a:path>
                      </a:pathLst>
                    </a:custGeom>
                    <a:solidFill>
                      <a:srgbClr val="E6E6E6">
                        <a:lumMod val="90000"/>
                      </a:srgbClr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pPr fontAlgn="auto">
                        <a:spcBef>
                          <a:spcPts val="0"/>
                        </a:spcBef>
                        <a:spcAft>
                          <a:spcPts val="0"/>
                        </a:spcAft>
                        <a:defRPr/>
                      </a:pPr>
                      <a:endParaRPr lang="da-DK" kern="0">
                        <a:solidFill>
                          <a:sysClr val="windowText" lastClr="000000"/>
                        </a:solidFill>
                        <a:latin typeface="+mn-lt"/>
                        <a:ea typeface="ＭＳ Ｐゴシック" pitchFamily="-97" charset="-128"/>
                        <a:cs typeface="+mn-cs"/>
                      </a:endParaRPr>
                    </a:p>
                  </p:txBody>
                </p:sp>
                <p:sp>
                  <p:nvSpPr>
                    <p:cNvPr id="148" name="Freeform 148"/>
                    <p:cNvSpPr>
                      <a:spLocks/>
                    </p:cNvSpPr>
                    <p:nvPr/>
                  </p:nvSpPr>
                  <p:spPr bwMode="auto">
                    <a:xfrm>
                      <a:off x="110176" y="5228521"/>
                      <a:ext cx="843410" cy="375228"/>
                    </a:xfrm>
                    <a:custGeom>
                      <a:avLst/>
                      <a:gdLst/>
                      <a:ahLst/>
                      <a:cxnLst>
                        <a:cxn ang="0">
                          <a:pos x="7" y="102"/>
                        </a:cxn>
                        <a:cxn ang="0">
                          <a:pos x="18" y="116"/>
                        </a:cxn>
                        <a:cxn ang="0">
                          <a:pos x="34" y="130"/>
                        </a:cxn>
                        <a:cxn ang="0">
                          <a:pos x="55" y="143"/>
                        </a:cxn>
                        <a:cxn ang="0">
                          <a:pos x="80" y="155"/>
                        </a:cxn>
                        <a:cxn ang="0">
                          <a:pos x="109" y="165"/>
                        </a:cxn>
                        <a:cxn ang="0">
                          <a:pos x="141" y="173"/>
                        </a:cxn>
                        <a:cxn ang="0">
                          <a:pos x="176" y="179"/>
                        </a:cxn>
                        <a:cxn ang="0">
                          <a:pos x="211" y="182"/>
                        </a:cxn>
                        <a:cxn ang="0">
                          <a:pos x="248" y="184"/>
                        </a:cxn>
                        <a:cxn ang="0">
                          <a:pos x="285" y="183"/>
                        </a:cxn>
                        <a:cxn ang="0">
                          <a:pos x="323" y="180"/>
                        </a:cxn>
                        <a:cxn ang="0">
                          <a:pos x="359" y="173"/>
                        </a:cxn>
                        <a:cxn ang="0">
                          <a:pos x="393" y="164"/>
                        </a:cxn>
                        <a:cxn ang="0">
                          <a:pos x="427" y="151"/>
                        </a:cxn>
                        <a:cxn ang="0">
                          <a:pos x="455" y="135"/>
                        </a:cxn>
                        <a:cxn ang="0">
                          <a:pos x="482" y="115"/>
                        </a:cxn>
                        <a:cxn ang="0">
                          <a:pos x="483" y="93"/>
                        </a:cxn>
                        <a:cxn ang="0">
                          <a:pos x="483" y="77"/>
                        </a:cxn>
                        <a:cxn ang="0">
                          <a:pos x="482" y="65"/>
                        </a:cxn>
                        <a:cxn ang="0">
                          <a:pos x="478" y="54"/>
                        </a:cxn>
                        <a:cxn ang="0">
                          <a:pos x="473" y="44"/>
                        </a:cxn>
                        <a:cxn ang="0">
                          <a:pos x="463" y="34"/>
                        </a:cxn>
                        <a:cxn ang="0">
                          <a:pos x="451" y="22"/>
                        </a:cxn>
                        <a:cxn ang="0">
                          <a:pos x="435" y="7"/>
                        </a:cxn>
                        <a:cxn ang="0">
                          <a:pos x="416" y="23"/>
                        </a:cxn>
                        <a:cxn ang="0">
                          <a:pos x="396" y="37"/>
                        </a:cxn>
                        <a:cxn ang="0">
                          <a:pos x="375" y="50"/>
                        </a:cxn>
                        <a:cxn ang="0">
                          <a:pos x="353" y="59"/>
                        </a:cxn>
                        <a:cxn ang="0">
                          <a:pos x="330" y="67"/>
                        </a:cxn>
                        <a:cxn ang="0">
                          <a:pos x="307" y="73"/>
                        </a:cxn>
                        <a:cxn ang="0">
                          <a:pos x="284" y="76"/>
                        </a:cxn>
                        <a:cxn ang="0">
                          <a:pos x="260" y="78"/>
                        </a:cxn>
                        <a:cxn ang="0">
                          <a:pos x="235" y="78"/>
                        </a:cxn>
                        <a:cxn ang="0">
                          <a:pos x="211" y="76"/>
                        </a:cxn>
                        <a:cxn ang="0">
                          <a:pos x="187" y="73"/>
                        </a:cxn>
                        <a:cxn ang="0">
                          <a:pos x="163" y="68"/>
                        </a:cxn>
                        <a:cxn ang="0">
                          <a:pos x="140" y="61"/>
                        </a:cxn>
                        <a:cxn ang="0">
                          <a:pos x="116" y="53"/>
                        </a:cxn>
                        <a:cxn ang="0">
                          <a:pos x="94" y="44"/>
                        </a:cxn>
                        <a:cxn ang="0">
                          <a:pos x="72" y="32"/>
                        </a:cxn>
                        <a:cxn ang="0">
                          <a:pos x="66" y="0"/>
                        </a:cxn>
                        <a:cxn ang="0">
                          <a:pos x="56" y="5"/>
                        </a:cxn>
                        <a:cxn ang="0">
                          <a:pos x="42" y="12"/>
                        </a:cxn>
                        <a:cxn ang="0">
                          <a:pos x="29" y="20"/>
                        </a:cxn>
                        <a:cxn ang="0">
                          <a:pos x="17" y="30"/>
                        </a:cxn>
                        <a:cxn ang="0">
                          <a:pos x="7" y="43"/>
                        </a:cxn>
                        <a:cxn ang="0">
                          <a:pos x="2" y="59"/>
                        </a:cxn>
                        <a:cxn ang="0">
                          <a:pos x="0" y="78"/>
                        </a:cxn>
                        <a:cxn ang="0">
                          <a:pos x="7" y="102"/>
                        </a:cxn>
                      </a:cxnLst>
                      <a:rect l="0" t="0" r="r" b="b"/>
                      <a:pathLst>
                        <a:path w="483" h="184">
                          <a:moveTo>
                            <a:pt x="7" y="102"/>
                          </a:moveTo>
                          <a:lnTo>
                            <a:pt x="18" y="116"/>
                          </a:lnTo>
                          <a:lnTo>
                            <a:pt x="34" y="130"/>
                          </a:lnTo>
                          <a:lnTo>
                            <a:pt x="55" y="143"/>
                          </a:lnTo>
                          <a:lnTo>
                            <a:pt x="80" y="155"/>
                          </a:lnTo>
                          <a:lnTo>
                            <a:pt x="109" y="165"/>
                          </a:lnTo>
                          <a:lnTo>
                            <a:pt x="141" y="173"/>
                          </a:lnTo>
                          <a:lnTo>
                            <a:pt x="176" y="179"/>
                          </a:lnTo>
                          <a:lnTo>
                            <a:pt x="211" y="182"/>
                          </a:lnTo>
                          <a:lnTo>
                            <a:pt x="248" y="184"/>
                          </a:lnTo>
                          <a:lnTo>
                            <a:pt x="285" y="183"/>
                          </a:lnTo>
                          <a:lnTo>
                            <a:pt x="323" y="180"/>
                          </a:lnTo>
                          <a:lnTo>
                            <a:pt x="359" y="173"/>
                          </a:lnTo>
                          <a:lnTo>
                            <a:pt x="393" y="164"/>
                          </a:lnTo>
                          <a:lnTo>
                            <a:pt x="427" y="151"/>
                          </a:lnTo>
                          <a:lnTo>
                            <a:pt x="455" y="135"/>
                          </a:lnTo>
                          <a:lnTo>
                            <a:pt x="482" y="115"/>
                          </a:lnTo>
                          <a:lnTo>
                            <a:pt x="483" y="93"/>
                          </a:lnTo>
                          <a:lnTo>
                            <a:pt x="483" y="77"/>
                          </a:lnTo>
                          <a:lnTo>
                            <a:pt x="482" y="65"/>
                          </a:lnTo>
                          <a:lnTo>
                            <a:pt x="478" y="54"/>
                          </a:lnTo>
                          <a:lnTo>
                            <a:pt x="473" y="44"/>
                          </a:lnTo>
                          <a:lnTo>
                            <a:pt x="463" y="34"/>
                          </a:lnTo>
                          <a:lnTo>
                            <a:pt x="451" y="22"/>
                          </a:lnTo>
                          <a:lnTo>
                            <a:pt x="435" y="7"/>
                          </a:lnTo>
                          <a:lnTo>
                            <a:pt x="416" y="23"/>
                          </a:lnTo>
                          <a:lnTo>
                            <a:pt x="396" y="37"/>
                          </a:lnTo>
                          <a:lnTo>
                            <a:pt x="375" y="50"/>
                          </a:lnTo>
                          <a:lnTo>
                            <a:pt x="353" y="59"/>
                          </a:lnTo>
                          <a:lnTo>
                            <a:pt x="330" y="67"/>
                          </a:lnTo>
                          <a:lnTo>
                            <a:pt x="307" y="73"/>
                          </a:lnTo>
                          <a:lnTo>
                            <a:pt x="284" y="76"/>
                          </a:lnTo>
                          <a:lnTo>
                            <a:pt x="260" y="78"/>
                          </a:lnTo>
                          <a:lnTo>
                            <a:pt x="235" y="78"/>
                          </a:lnTo>
                          <a:lnTo>
                            <a:pt x="211" y="76"/>
                          </a:lnTo>
                          <a:lnTo>
                            <a:pt x="187" y="73"/>
                          </a:lnTo>
                          <a:lnTo>
                            <a:pt x="163" y="68"/>
                          </a:lnTo>
                          <a:lnTo>
                            <a:pt x="140" y="61"/>
                          </a:lnTo>
                          <a:lnTo>
                            <a:pt x="116" y="53"/>
                          </a:lnTo>
                          <a:lnTo>
                            <a:pt x="94" y="44"/>
                          </a:lnTo>
                          <a:lnTo>
                            <a:pt x="72" y="32"/>
                          </a:lnTo>
                          <a:lnTo>
                            <a:pt x="66" y="0"/>
                          </a:lnTo>
                          <a:lnTo>
                            <a:pt x="56" y="5"/>
                          </a:lnTo>
                          <a:lnTo>
                            <a:pt x="42" y="12"/>
                          </a:lnTo>
                          <a:lnTo>
                            <a:pt x="29" y="20"/>
                          </a:lnTo>
                          <a:lnTo>
                            <a:pt x="17" y="30"/>
                          </a:lnTo>
                          <a:lnTo>
                            <a:pt x="7" y="43"/>
                          </a:lnTo>
                          <a:lnTo>
                            <a:pt x="2" y="59"/>
                          </a:lnTo>
                          <a:lnTo>
                            <a:pt x="0" y="78"/>
                          </a:lnTo>
                          <a:lnTo>
                            <a:pt x="7" y="102"/>
                          </a:lnTo>
                          <a:close/>
                        </a:path>
                      </a:pathLst>
                    </a:custGeom>
                    <a:solidFill>
                      <a:srgbClr val="E6E6E6">
                        <a:lumMod val="90000"/>
                      </a:srgbClr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pPr fontAlgn="auto">
                        <a:spcBef>
                          <a:spcPts val="0"/>
                        </a:spcBef>
                        <a:spcAft>
                          <a:spcPts val="0"/>
                        </a:spcAft>
                        <a:defRPr/>
                      </a:pPr>
                      <a:endParaRPr lang="da-DK" kern="0">
                        <a:solidFill>
                          <a:sysClr val="windowText" lastClr="000000"/>
                        </a:solidFill>
                        <a:latin typeface="+mn-lt"/>
                        <a:ea typeface="ＭＳ Ｐゴシック" pitchFamily="-97" charset="-128"/>
                        <a:cs typeface="+mn-cs"/>
                      </a:endParaRPr>
                    </a:p>
                  </p:txBody>
                </p:sp>
                <p:sp>
                  <p:nvSpPr>
                    <p:cNvPr id="149" name="Freeform 184"/>
                    <p:cNvSpPr>
                      <a:spLocks/>
                    </p:cNvSpPr>
                    <p:nvPr/>
                  </p:nvSpPr>
                  <p:spPr bwMode="auto">
                    <a:xfrm>
                      <a:off x="422554" y="3502472"/>
                      <a:ext cx="187427" cy="150091"/>
                    </a:xfrm>
                    <a:custGeom>
                      <a:avLst/>
                      <a:gdLst/>
                      <a:ahLst/>
                      <a:cxnLst>
                        <a:cxn ang="0">
                          <a:pos x="48" y="0"/>
                        </a:cxn>
                        <a:cxn ang="0">
                          <a:pos x="57" y="2"/>
                        </a:cxn>
                        <a:cxn ang="0">
                          <a:pos x="66" y="3"/>
                        </a:cxn>
                        <a:cxn ang="0">
                          <a:pos x="74" y="6"/>
                        </a:cxn>
                        <a:cxn ang="0">
                          <a:pos x="81" y="11"/>
                        </a:cxn>
                        <a:cxn ang="0">
                          <a:pos x="87" y="16"/>
                        </a:cxn>
                        <a:cxn ang="0">
                          <a:pos x="91" y="22"/>
                        </a:cxn>
                        <a:cxn ang="0">
                          <a:pos x="94" y="29"/>
                        </a:cxn>
                        <a:cxn ang="0">
                          <a:pos x="95" y="36"/>
                        </a:cxn>
                        <a:cxn ang="0">
                          <a:pos x="94" y="43"/>
                        </a:cxn>
                        <a:cxn ang="0">
                          <a:pos x="91" y="50"/>
                        </a:cxn>
                        <a:cxn ang="0">
                          <a:pos x="87" y="56"/>
                        </a:cxn>
                        <a:cxn ang="0">
                          <a:pos x="81" y="61"/>
                        </a:cxn>
                        <a:cxn ang="0">
                          <a:pos x="74" y="66"/>
                        </a:cxn>
                        <a:cxn ang="0">
                          <a:pos x="66" y="69"/>
                        </a:cxn>
                        <a:cxn ang="0">
                          <a:pos x="57" y="71"/>
                        </a:cxn>
                        <a:cxn ang="0">
                          <a:pos x="48" y="72"/>
                        </a:cxn>
                        <a:cxn ang="0">
                          <a:pos x="38" y="71"/>
                        </a:cxn>
                        <a:cxn ang="0">
                          <a:pos x="29" y="69"/>
                        </a:cxn>
                        <a:cxn ang="0">
                          <a:pos x="21" y="66"/>
                        </a:cxn>
                        <a:cxn ang="0">
                          <a:pos x="14" y="61"/>
                        </a:cxn>
                        <a:cxn ang="0">
                          <a:pos x="8" y="56"/>
                        </a:cxn>
                        <a:cxn ang="0">
                          <a:pos x="4" y="50"/>
                        </a:cxn>
                        <a:cxn ang="0">
                          <a:pos x="2" y="43"/>
                        </a:cxn>
                        <a:cxn ang="0">
                          <a:pos x="0" y="36"/>
                        </a:cxn>
                        <a:cxn ang="0">
                          <a:pos x="2" y="29"/>
                        </a:cxn>
                        <a:cxn ang="0">
                          <a:pos x="4" y="22"/>
                        </a:cxn>
                        <a:cxn ang="0">
                          <a:pos x="8" y="16"/>
                        </a:cxn>
                        <a:cxn ang="0">
                          <a:pos x="14" y="11"/>
                        </a:cxn>
                        <a:cxn ang="0">
                          <a:pos x="21" y="6"/>
                        </a:cxn>
                        <a:cxn ang="0">
                          <a:pos x="29" y="3"/>
                        </a:cxn>
                        <a:cxn ang="0">
                          <a:pos x="38" y="2"/>
                        </a:cxn>
                        <a:cxn ang="0">
                          <a:pos x="48" y="0"/>
                        </a:cxn>
                      </a:cxnLst>
                      <a:rect l="0" t="0" r="r" b="b"/>
                      <a:pathLst>
                        <a:path w="95" h="72">
                          <a:moveTo>
                            <a:pt x="48" y="0"/>
                          </a:moveTo>
                          <a:lnTo>
                            <a:pt x="57" y="2"/>
                          </a:lnTo>
                          <a:lnTo>
                            <a:pt x="66" y="3"/>
                          </a:lnTo>
                          <a:lnTo>
                            <a:pt x="74" y="6"/>
                          </a:lnTo>
                          <a:lnTo>
                            <a:pt x="81" y="11"/>
                          </a:lnTo>
                          <a:lnTo>
                            <a:pt x="87" y="16"/>
                          </a:lnTo>
                          <a:lnTo>
                            <a:pt x="91" y="22"/>
                          </a:lnTo>
                          <a:lnTo>
                            <a:pt x="94" y="29"/>
                          </a:lnTo>
                          <a:lnTo>
                            <a:pt x="95" y="36"/>
                          </a:lnTo>
                          <a:lnTo>
                            <a:pt x="94" y="43"/>
                          </a:lnTo>
                          <a:lnTo>
                            <a:pt x="91" y="50"/>
                          </a:lnTo>
                          <a:lnTo>
                            <a:pt x="87" y="56"/>
                          </a:lnTo>
                          <a:lnTo>
                            <a:pt x="81" y="61"/>
                          </a:lnTo>
                          <a:lnTo>
                            <a:pt x="74" y="66"/>
                          </a:lnTo>
                          <a:lnTo>
                            <a:pt x="66" y="69"/>
                          </a:lnTo>
                          <a:lnTo>
                            <a:pt x="57" y="71"/>
                          </a:lnTo>
                          <a:lnTo>
                            <a:pt x="48" y="72"/>
                          </a:lnTo>
                          <a:lnTo>
                            <a:pt x="38" y="71"/>
                          </a:lnTo>
                          <a:lnTo>
                            <a:pt x="29" y="69"/>
                          </a:lnTo>
                          <a:lnTo>
                            <a:pt x="21" y="66"/>
                          </a:lnTo>
                          <a:lnTo>
                            <a:pt x="14" y="61"/>
                          </a:lnTo>
                          <a:lnTo>
                            <a:pt x="8" y="56"/>
                          </a:lnTo>
                          <a:lnTo>
                            <a:pt x="4" y="50"/>
                          </a:lnTo>
                          <a:lnTo>
                            <a:pt x="2" y="43"/>
                          </a:lnTo>
                          <a:lnTo>
                            <a:pt x="0" y="36"/>
                          </a:lnTo>
                          <a:lnTo>
                            <a:pt x="2" y="29"/>
                          </a:lnTo>
                          <a:lnTo>
                            <a:pt x="4" y="22"/>
                          </a:lnTo>
                          <a:lnTo>
                            <a:pt x="8" y="16"/>
                          </a:lnTo>
                          <a:lnTo>
                            <a:pt x="14" y="11"/>
                          </a:lnTo>
                          <a:lnTo>
                            <a:pt x="21" y="6"/>
                          </a:lnTo>
                          <a:lnTo>
                            <a:pt x="29" y="3"/>
                          </a:lnTo>
                          <a:lnTo>
                            <a:pt x="38" y="2"/>
                          </a:lnTo>
                          <a:lnTo>
                            <a:pt x="48" y="0"/>
                          </a:lnTo>
                          <a:close/>
                        </a:path>
                      </a:pathLst>
                    </a:custGeom>
                    <a:solidFill>
                      <a:srgbClr val="E6E6E6">
                        <a:lumMod val="10000"/>
                      </a:srgbClr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pPr fontAlgn="auto">
                        <a:spcBef>
                          <a:spcPts val="0"/>
                        </a:spcBef>
                        <a:spcAft>
                          <a:spcPts val="0"/>
                        </a:spcAft>
                        <a:defRPr/>
                      </a:pPr>
                      <a:endParaRPr lang="da-DK" kern="0">
                        <a:solidFill>
                          <a:sysClr val="windowText" lastClr="000000"/>
                        </a:solidFill>
                        <a:latin typeface="+mn-lt"/>
                        <a:ea typeface="ＭＳ Ｐゴシック" pitchFamily="-97" charset="-128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137" name="Gruppe 813"/>
                  <p:cNvGrpSpPr/>
                  <p:nvPr/>
                </p:nvGrpSpPr>
                <p:grpSpPr>
                  <a:xfrm>
                    <a:off x="1203876" y="3975120"/>
                    <a:ext cx="443011" cy="1727207"/>
                    <a:chOff x="3781425" y="3433763"/>
                    <a:chExt cx="490538" cy="1912498"/>
                  </a:xfrm>
                  <a:solidFill>
                    <a:srgbClr val="FFFFFF">
                      <a:alpha val="9000"/>
                    </a:srgbClr>
                  </a:solidFill>
                </p:grpSpPr>
                <p:sp>
                  <p:nvSpPr>
                    <p:cNvPr id="138" name="Freeform 316"/>
                    <p:cNvSpPr>
                      <a:spLocks/>
                    </p:cNvSpPr>
                    <p:nvPr/>
                  </p:nvSpPr>
                  <p:spPr bwMode="auto">
                    <a:xfrm>
                      <a:off x="3824288" y="3986213"/>
                      <a:ext cx="365125" cy="65088"/>
                    </a:xfrm>
                    <a:custGeom>
                      <a:avLst/>
                      <a:gdLst/>
                      <a:ahLst/>
                      <a:cxnLst>
                        <a:cxn ang="0">
                          <a:pos x="13" y="0"/>
                        </a:cxn>
                        <a:cxn ang="0">
                          <a:pos x="26" y="6"/>
                        </a:cxn>
                        <a:cxn ang="0">
                          <a:pos x="39" y="13"/>
                        </a:cxn>
                        <a:cxn ang="0">
                          <a:pos x="52" y="16"/>
                        </a:cxn>
                        <a:cxn ang="0">
                          <a:pos x="65" y="19"/>
                        </a:cxn>
                        <a:cxn ang="0">
                          <a:pos x="78" y="22"/>
                        </a:cxn>
                        <a:cxn ang="0">
                          <a:pos x="93" y="23"/>
                        </a:cxn>
                        <a:cxn ang="0">
                          <a:pos x="106" y="24"/>
                        </a:cxn>
                        <a:cxn ang="0">
                          <a:pos x="120" y="23"/>
                        </a:cxn>
                        <a:cxn ang="0">
                          <a:pos x="134" y="22"/>
                        </a:cxn>
                        <a:cxn ang="0">
                          <a:pos x="147" y="20"/>
                        </a:cxn>
                        <a:cxn ang="0">
                          <a:pos x="161" y="18"/>
                        </a:cxn>
                        <a:cxn ang="0">
                          <a:pos x="176" y="15"/>
                        </a:cxn>
                        <a:cxn ang="0">
                          <a:pos x="189" y="13"/>
                        </a:cxn>
                        <a:cxn ang="0">
                          <a:pos x="203" y="9"/>
                        </a:cxn>
                        <a:cxn ang="0">
                          <a:pos x="216" y="6"/>
                        </a:cxn>
                        <a:cxn ang="0">
                          <a:pos x="230" y="2"/>
                        </a:cxn>
                        <a:cxn ang="0">
                          <a:pos x="230" y="15"/>
                        </a:cxn>
                        <a:cxn ang="0">
                          <a:pos x="221" y="19"/>
                        </a:cxn>
                        <a:cxn ang="0">
                          <a:pos x="212" y="23"/>
                        </a:cxn>
                        <a:cxn ang="0">
                          <a:pos x="200" y="27"/>
                        </a:cxn>
                        <a:cxn ang="0">
                          <a:pos x="189" y="29"/>
                        </a:cxn>
                        <a:cxn ang="0">
                          <a:pos x="174" y="33"/>
                        </a:cxn>
                        <a:cxn ang="0">
                          <a:pos x="161" y="36"/>
                        </a:cxn>
                        <a:cxn ang="0">
                          <a:pos x="146" y="39"/>
                        </a:cxn>
                        <a:cxn ang="0">
                          <a:pos x="132" y="41"/>
                        </a:cxn>
                        <a:cxn ang="0">
                          <a:pos x="115" y="41"/>
                        </a:cxn>
                        <a:cxn ang="0">
                          <a:pos x="99" y="41"/>
                        </a:cxn>
                        <a:cxn ang="0">
                          <a:pos x="82" y="40"/>
                        </a:cxn>
                        <a:cxn ang="0">
                          <a:pos x="65" y="37"/>
                        </a:cxn>
                        <a:cxn ang="0">
                          <a:pos x="50" y="32"/>
                        </a:cxn>
                        <a:cxn ang="0">
                          <a:pos x="33" y="27"/>
                        </a:cxn>
                        <a:cxn ang="0">
                          <a:pos x="16" y="19"/>
                        </a:cxn>
                        <a:cxn ang="0">
                          <a:pos x="0" y="9"/>
                        </a:cxn>
                        <a:cxn ang="0">
                          <a:pos x="13" y="0"/>
                        </a:cxn>
                      </a:cxnLst>
                      <a:rect l="0" t="0" r="r" b="b"/>
                      <a:pathLst>
                        <a:path w="230" h="41">
                          <a:moveTo>
                            <a:pt x="13" y="0"/>
                          </a:moveTo>
                          <a:lnTo>
                            <a:pt x="26" y="6"/>
                          </a:lnTo>
                          <a:lnTo>
                            <a:pt x="39" y="13"/>
                          </a:lnTo>
                          <a:lnTo>
                            <a:pt x="52" y="16"/>
                          </a:lnTo>
                          <a:lnTo>
                            <a:pt x="65" y="19"/>
                          </a:lnTo>
                          <a:lnTo>
                            <a:pt x="78" y="22"/>
                          </a:lnTo>
                          <a:lnTo>
                            <a:pt x="93" y="23"/>
                          </a:lnTo>
                          <a:lnTo>
                            <a:pt x="106" y="24"/>
                          </a:lnTo>
                          <a:lnTo>
                            <a:pt x="120" y="23"/>
                          </a:lnTo>
                          <a:lnTo>
                            <a:pt x="134" y="22"/>
                          </a:lnTo>
                          <a:lnTo>
                            <a:pt x="147" y="20"/>
                          </a:lnTo>
                          <a:lnTo>
                            <a:pt x="161" y="18"/>
                          </a:lnTo>
                          <a:lnTo>
                            <a:pt x="176" y="15"/>
                          </a:lnTo>
                          <a:lnTo>
                            <a:pt x="189" y="13"/>
                          </a:lnTo>
                          <a:lnTo>
                            <a:pt x="203" y="9"/>
                          </a:lnTo>
                          <a:lnTo>
                            <a:pt x="216" y="6"/>
                          </a:lnTo>
                          <a:lnTo>
                            <a:pt x="230" y="2"/>
                          </a:lnTo>
                          <a:lnTo>
                            <a:pt x="230" y="15"/>
                          </a:lnTo>
                          <a:lnTo>
                            <a:pt x="221" y="19"/>
                          </a:lnTo>
                          <a:lnTo>
                            <a:pt x="212" y="23"/>
                          </a:lnTo>
                          <a:lnTo>
                            <a:pt x="200" y="27"/>
                          </a:lnTo>
                          <a:lnTo>
                            <a:pt x="189" y="29"/>
                          </a:lnTo>
                          <a:lnTo>
                            <a:pt x="174" y="33"/>
                          </a:lnTo>
                          <a:lnTo>
                            <a:pt x="161" y="36"/>
                          </a:lnTo>
                          <a:lnTo>
                            <a:pt x="146" y="39"/>
                          </a:lnTo>
                          <a:lnTo>
                            <a:pt x="132" y="41"/>
                          </a:lnTo>
                          <a:lnTo>
                            <a:pt x="115" y="41"/>
                          </a:lnTo>
                          <a:lnTo>
                            <a:pt x="99" y="41"/>
                          </a:lnTo>
                          <a:lnTo>
                            <a:pt x="82" y="40"/>
                          </a:lnTo>
                          <a:lnTo>
                            <a:pt x="65" y="37"/>
                          </a:lnTo>
                          <a:lnTo>
                            <a:pt x="50" y="32"/>
                          </a:lnTo>
                          <a:lnTo>
                            <a:pt x="33" y="27"/>
                          </a:lnTo>
                          <a:lnTo>
                            <a:pt x="16" y="19"/>
                          </a:lnTo>
                          <a:lnTo>
                            <a:pt x="0" y="9"/>
                          </a:lnTo>
                          <a:lnTo>
                            <a:pt x="13" y="0"/>
                          </a:lnTo>
                          <a:close/>
                        </a:path>
                      </a:pathLst>
                    </a:custGeom>
                    <a:grpFill/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pPr fontAlgn="auto">
                        <a:spcBef>
                          <a:spcPts val="0"/>
                        </a:spcBef>
                        <a:spcAft>
                          <a:spcPts val="0"/>
                        </a:spcAft>
                        <a:defRPr/>
                      </a:pPr>
                      <a:endParaRPr lang="da-DK" kern="0">
                        <a:solidFill>
                          <a:sysClr val="windowText" lastClr="000000"/>
                        </a:solidFill>
                        <a:latin typeface="+mn-lt"/>
                        <a:ea typeface="ＭＳ Ｐゴシック" pitchFamily="-97" charset="-128"/>
                        <a:cs typeface="+mn-cs"/>
                      </a:endParaRPr>
                    </a:p>
                  </p:txBody>
                </p:sp>
                <p:sp>
                  <p:nvSpPr>
                    <p:cNvPr id="139" name="Freeform 336"/>
                    <p:cNvSpPr>
                      <a:spLocks/>
                    </p:cNvSpPr>
                    <p:nvPr/>
                  </p:nvSpPr>
                  <p:spPr bwMode="auto">
                    <a:xfrm>
                      <a:off x="3781425" y="5231961"/>
                      <a:ext cx="490538" cy="114300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29"/>
                        </a:cxn>
                        <a:cxn ang="0">
                          <a:pos x="3" y="37"/>
                        </a:cxn>
                        <a:cxn ang="0">
                          <a:pos x="7" y="45"/>
                        </a:cxn>
                        <a:cxn ang="0">
                          <a:pos x="11" y="53"/>
                        </a:cxn>
                        <a:cxn ang="0">
                          <a:pos x="15" y="61"/>
                        </a:cxn>
                        <a:cxn ang="0">
                          <a:pos x="22" y="62"/>
                        </a:cxn>
                        <a:cxn ang="0">
                          <a:pos x="29" y="63"/>
                        </a:cxn>
                        <a:cxn ang="0">
                          <a:pos x="37" y="65"/>
                        </a:cxn>
                        <a:cxn ang="0">
                          <a:pos x="44" y="66"/>
                        </a:cxn>
                        <a:cxn ang="0">
                          <a:pos x="51" y="67"/>
                        </a:cxn>
                        <a:cxn ang="0">
                          <a:pos x="59" y="68"/>
                        </a:cxn>
                        <a:cxn ang="0">
                          <a:pos x="65" y="71"/>
                        </a:cxn>
                        <a:cxn ang="0">
                          <a:pos x="73" y="72"/>
                        </a:cxn>
                        <a:cxn ang="0">
                          <a:pos x="91" y="72"/>
                        </a:cxn>
                        <a:cxn ang="0">
                          <a:pos x="109" y="71"/>
                        </a:cxn>
                        <a:cxn ang="0">
                          <a:pos x="127" y="71"/>
                        </a:cxn>
                        <a:cxn ang="0">
                          <a:pos x="146" y="70"/>
                        </a:cxn>
                        <a:cxn ang="0">
                          <a:pos x="164" y="70"/>
                        </a:cxn>
                        <a:cxn ang="0">
                          <a:pos x="183" y="68"/>
                        </a:cxn>
                        <a:cxn ang="0">
                          <a:pos x="201" y="68"/>
                        </a:cxn>
                        <a:cxn ang="0">
                          <a:pos x="220" y="67"/>
                        </a:cxn>
                        <a:cxn ang="0">
                          <a:pos x="231" y="65"/>
                        </a:cxn>
                        <a:cxn ang="0">
                          <a:pos x="242" y="61"/>
                        </a:cxn>
                        <a:cxn ang="0">
                          <a:pos x="253" y="58"/>
                        </a:cxn>
                        <a:cxn ang="0">
                          <a:pos x="265" y="54"/>
                        </a:cxn>
                        <a:cxn ang="0">
                          <a:pos x="275" y="52"/>
                        </a:cxn>
                        <a:cxn ang="0">
                          <a:pos x="287" y="48"/>
                        </a:cxn>
                        <a:cxn ang="0">
                          <a:pos x="297" y="45"/>
                        </a:cxn>
                        <a:cxn ang="0">
                          <a:pos x="309" y="41"/>
                        </a:cxn>
                        <a:cxn ang="0">
                          <a:pos x="309" y="26"/>
                        </a:cxn>
                        <a:cxn ang="0">
                          <a:pos x="307" y="13"/>
                        </a:cxn>
                        <a:cxn ang="0">
                          <a:pos x="303" y="5"/>
                        </a:cxn>
                        <a:cxn ang="0">
                          <a:pos x="297" y="1"/>
                        </a:cxn>
                        <a:cxn ang="0">
                          <a:pos x="290" y="0"/>
                        </a:cxn>
                        <a:cxn ang="0">
                          <a:pos x="279" y="0"/>
                        </a:cxn>
                        <a:cxn ang="0">
                          <a:pos x="268" y="4"/>
                        </a:cxn>
                        <a:cxn ang="0">
                          <a:pos x="252" y="9"/>
                        </a:cxn>
                        <a:cxn ang="0">
                          <a:pos x="242" y="9"/>
                        </a:cxn>
                        <a:cxn ang="0">
                          <a:pos x="231" y="10"/>
                        </a:cxn>
                        <a:cxn ang="0">
                          <a:pos x="221" y="10"/>
                        </a:cxn>
                        <a:cxn ang="0">
                          <a:pos x="211" y="10"/>
                        </a:cxn>
                        <a:cxn ang="0">
                          <a:pos x="200" y="10"/>
                        </a:cxn>
                        <a:cxn ang="0">
                          <a:pos x="188" y="10"/>
                        </a:cxn>
                        <a:cxn ang="0">
                          <a:pos x="178" y="11"/>
                        </a:cxn>
                        <a:cxn ang="0">
                          <a:pos x="168" y="11"/>
                        </a:cxn>
                        <a:cxn ang="0">
                          <a:pos x="140" y="10"/>
                        </a:cxn>
                        <a:cxn ang="0">
                          <a:pos x="116" y="9"/>
                        </a:cxn>
                        <a:cxn ang="0">
                          <a:pos x="96" y="6"/>
                        </a:cxn>
                        <a:cxn ang="0">
                          <a:pos x="77" y="5"/>
                        </a:cxn>
                        <a:cxn ang="0">
                          <a:pos x="60" y="6"/>
                        </a:cxn>
                        <a:cxn ang="0">
                          <a:pos x="42" y="9"/>
                        </a:cxn>
                        <a:cxn ang="0">
                          <a:pos x="22" y="16"/>
                        </a:cxn>
                        <a:cxn ang="0">
                          <a:pos x="0" y="29"/>
                        </a:cxn>
                      </a:cxnLst>
                      <a:rect l="0" t="0" r="r" b="b"/>
                      <a:pathLst>
                        <a:path w="309" h="72">
                          <a:moveTo>
                            <a:pt x="0" y="29"/>
                          </a:moveTo>
                          <a:lnTo>
                            <a:pt x="3" y="37"/>
                          </a:lnTo>
                          <a:lnTo>
                            <a:pt x="7" y="45"/>
                          </a:lnTo>
                          <a:lnTo>
                            <a:pt x="11" y="53"/>
                          </a:lnTo>
                          <a:lnTo>
                            <a:pt x="15" y="61"/>
                          </a:lnTo>
                          <a:lnTo>
                            <a:pt x="22" y="62"/>
                          </a:lnTo>
                          <a:lnTo>
                            <a:pt x="29" y="63"/>
                          </a:lnTo>
                          <a:lnTo>
                            <a:pt x="37" y="65"/>
                          </a:lnTo>
                          <a:lnTo>
                            <a:pt x="44" y="66"/>
                          </a:lnTo>
                          <a:lnTo>
                            <a:pt x="51" y="67"/>
                          </a:lnTo>
                          <a:lnTo>
                            <a:pt x="59" y="68"/>
                          </a:lnTo>
                          <a:lnTo>
                            <a:pt x="65" y="71"/>
                          </a:lnTo>
                          <a:lnTo>
                            <a:pt x="73" y="72"/>
                          </a:lnTo>
                          <a:lnTo>
                            <a:pt x="91" y="72"/>
                          </a:lnTo>
                          <a:lnTo>
                            <a:pt x="109" y="71"/>
                          </a:lnTo>
                          <a:lnTo>
                            <a:pt x="127" y="71"/>
                          </a:lnTo>
                          <a:lnTo>
                            <a:pt x="146" y="70"/>
                          </a:lnTo>
                          <a:lnTo>
                            <a:pt x="164" y="70"/>
                          </a:lnTo>
                          <a:lnTo>
                            <a:pt x="183" y="68"/>
                          </a:lnTo>
                          <a:lnTo>
                            <a:pt x="201" y="68"/>
                          </a:lnTo>
                          <a:lnTo>
                            <a:pt x="220" y="67"/>
                          </a:lnTo>
                          <a:lnTo>
                            <a:pt x="231" y="65"/>
                          </a:lnTo>
                          <a:lnTo>
                            <a:pt x="242" y="61"/>
                          </a:lnTo>
                          <a:lnTo>
                            <a:pt x="253" y="58"/>
                          </a:lnTo>
                          <a:lnTo>
                            <a:pt x="265" y="54"/>
                          </a:lnTo>
                          <a:lnTo>
                            <a:pt x="275" y="52"/>
                          </a:lnTo>
                          <a:lnTo>
                            <a:pt x="287" y="48"/>
                          </a:lnTo>
                          <a:lnTo>
                            <a:pt x="297" y="45"/>
                          </a:lnTo>
                          <a:lnTo>
                            <a:pt x="309" y="41"/>
                          </a:lnTo>
                          <a:lnTo>
                            <a:pt x="309" y="26"/>
                          </a:lnTo>
                          <a:lnTo>
                            <a:pt x="307" y="13"/>
                          </a:lnTo>
                          <a:lnTo>
                            <a:pt x="303" y="5"/>
                          </a:lnTo>
                          <a:lnTo>
                            <a:pt x="297" y="1"/>
                          </a:lnTo>
                          <a:lnTo>
                            <a:pt x="290" y="0"/>
                          </a:lnTo>
                          <a:lnTo>
                            <a:pt x="279" y="0"/>
                          </a:lnTo>
                          <a:lnTo>
                            <a:pt x="268" y="4"/>
                          </a:lnTo>
                          <a:lnTo>
                            <a:pt x="252" y="9"/>
                          </a:lnTo>
                          <a:lnTo>
                            <a:pt x="242" y="9"/>
                          </a:lnTo>
                          <a:lnTo>
                            <a:pt x="231" y="10"/>
                          </a:lnTo>
                          <a:lnTo>
                            <a:pt x="221" y="10"/>
                          </a:lnTo>
                          <a:lnTo>
                            <a:pt x="211" y="10"/>
                          </a:lnTo>
                          <a:lnTo>
                            <a:pt x="200" y="10"/>
                          </a:lnTo>
                          <a:lnTo>
                            <a:pt x="188" y="10"/>
                          </a:lnTo>
                          <a:lnTo>
                            <a:pt x="178" y="11"/>
                          </a:lnTo>
                          <a:lnTo>
                            <a:pt x="168" y="11"/>
                          </a:lnTo>
                          <a:lnTo>
                            <a:pt x="140" y="10"/>
                          </a:lnTo>
                          <a:lnTo>
                            <a:pt x="116" y="9"/>
                          </a:lnTo>
                          <a:lnTo>
                            <a:pt x="96" y="6"/>
                          </a:lnTo>
                          <a:lnTo>
                            <a:pt x="77" y="5"/>
                          </a:lnTo>
                          <a:lnTo>
                            <a:pt x="60" y="6"/>
                          </a:lnTo>
                          <a:lnTo>
                            <a:pt x="42" y="9"/>
                          </a:lnTo>
                          <a:lnTo>
                            <a:pt x="22" y="16"/>
                          </a:lnTo>
                          <a:lnTo>
                            <a:pt x="0" y="29"/>
                          </a:lnTo>
                          <a:close/>
                        </a:path>
                      </a:pathLst>
                    </a:custGeom>
                    <a:grpFill/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pPr fontAlgn="auto">
                        <a:spcBef>
                          <a:spcPts val="0"/>
                        </a:spcBef>
                        <a:spcAft>
                          <a:spcPts val="0"/>
                        </a:spcAft>
                        <a:defRPr/>
                      </a:pPr>
                      <a:endParaRPr lang="da-DK" kern="0">
                        <a:solidFill>
                          <a:sysClr val="windowText" lastClr="000000"/>
                        </a:solidFill>
                        <a:latin typeface="+mn-lt"/>
                        <a:ea typeface="ＭＳ Ｐゴシック" pitchFamily="-97" charset="-128"/>
                        <a:cs typeface="+mn-cs"/>
                      </a:endParaRPr>
                    </a:p>
                  </p:txBody>
                </p:sp>
                <p:sp>
                  <p:nvSpPr>
                    <p:cNvPr id="140" name="Freeform 353"/>
                    <p:cNvSpPr>
                      <a:spLocks/>
                    </p:cNvSpPr>
                    <p:nvPr/>
                  </p:nvSpPr>
                  <p:spPr bwMode="auto">
                    <a:xfrm>
                      <a:off x="3932238" y="4217988"/>
                      <a:ext cx="177800" cy="39688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11"/>
                        </a:cxn>
                        <a:cxn ang="0">
                          <a:pos x="5" y="17"/>
                        </a:cxn>
                        <a:cxn ang="0">
                          <a:pos x="26" y="25"/>
                        </a:cxn>
                        <a:cxn ang="0">
                          <a:pos x="80" y="20"/>
                        </a:cxn>
                        <a:cxn ang="0">
                          <a:pos x="112" y="13"/>
                        </a:cxn>
                        <a:cxn ang="0">
                          <a:pos x="110" y="4"/>
                        </a:cxn>
                        <a:cxn ang="0">
                          <a:pos x="108" y="0"/>
                        </a:cxn>
                        <a:cxn ang="0">
                          <a:pos x="103" y="2"/>
                        </a:cxn>
                        <a:cxn ang="0">
                          <a:pos x="92" y="4"/>
                        </a:cxn>
                        <a:cxn ang="0">
                          <a:pos x="61" y="6"/>
                        </a:cxn>
                        <a:cxn ang="0">
                          <a:pos x="51" y="6"/>
                        </a:cxn>
                        <a:cxn ang="0">
                          <a:pos x="43" y="4"/>
                        </a:cxn>
                        <a:cxn ang="0">
                          <a:pos x="35" y="4"/>
                        </a:cxn>
                        <a:cxn ang="0">
                          <a:pos x="29" y="3"/>
                        </a:cxn>
                        <a:cxn ang="0">
                          <a:pos x="22" y="3"/>
                        </a:cxn>
                        <a:cxn ang="0">
                          <a:pos x="14" y="4"/>
                        </a:cxn>
                        <a:cxn ang="0">
                          <a:pos x="8" y="7"/>
                        </a:cxn>
                        <a:cxn ang="0">
                          <a:pos x="0" y="11"/>
                        </a:cxn>
                      </a:cxnLst>
                      <a:rect l="0" t="0" r="r" b="b"/>
                      <a:pathLst>
                        <a:path w="112" h="25">
                          <a:moveTo>
                            <a:pt x="0" y="11"/>
                          </a:moveTo>
                          <a:lnTo>
                            <a:pt x="5" y="17"/>
                          </a:lnTo>
                          <a:lnTo>
                            <a:pt x="26" y="25"/>
                          </a:lnTo>
                          <a:lnTo>
                            <a:pt x="80" y="20"/>
                          </a:lnTo>
                          <a:lnTo>
                            <a:pt x="112" y="13"/>
                          </a:lnTo>
                          <a:lnTo>
                            <a:pt x="110" y="4"/>
                          </a:lnTo>
                          <a:lnTo>
                            <a:pt x="108" y="0"/>
                          </a:lnTo>
                          <a:lnTo>
                            <a:pt x="103" y="2"/>
                          </a:lnTo>
                          <a:lnTo>
                            <a:pt x="92" y="4"/>
                          </a:lnTo>
                          <a:lnTo>
                            <a:pt x="61" y="6"/>
                          </a:lnTo>
                          <a:lnTo>
                            <a:pt x="51" y="6"/>
                          </a:lnTo>
                          <a:lnTo>
                            <a:pt x="43" y="4"/>
                          </a:lnTo>
                          <a:lnTo>
                            <a:pt x="35" y="4"/>
                          </a:lnTo>
                          <a:lnTo>
                            <a:pt x="29" y="3"/>
                          </a:lnTo>
                          <a:lnTo>
                            <a:pt x="22" y="3"/>
                          </a:lnTo>
                          <a:lnTo>
                            <a:pt x="14" y="4"/>
                          </a:lnTo>
                          <a:lnTo>
                            <a:pt x="8" y="7"/>
                          </a:lnTo>
                          <a:lnTo>
                            <a:pt x="0" y="11"/>
                          </a:lnTo>
                          <a:close/>
                        </a:path>
                      </a:pathLst>
                    </a:custGeom>
                    <a:grpFill/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pPr fontAlgn="auto">
                        <a:spcBef>
                          <a:spcPts val="0"/>
                        </a:spcBef>
                        <a:spcAft>
                          <a:spcPts val="0"/>
                        </a:spcAft>
                        <a:defRPr/>
                      </a:pPr>
                      <a:endParaRPr lang="da-DK" kern="0">
                        <a:solidFill>
                          <a:sysClr val="windowText" lastClr="000000"/>
                        </a:solidFill>
                        <a:latin typeface="+mn-lt"/>
                        <a:ea typeface="ＭＳ Ｐゴシック" pitchFamily="-97" charset="-128"/>
                        <a:cs typeface="+mn-cs"/>
                      </a:endParaRPr>
                    </a:p>
                  </p:txBody>
                </p:sp>
                <p:sp>
                  <p:nvSpPr>
                    <p:cNvPr id="141" name="Freeform 367"/>
                    <p:cNvSpPr>
                      <a:spLocks/>
                    </p:cNvSpPr>
                    <p:nvPr/>
                  </p:nvSpPr>
                  <p:spPr bwMode="auto">
                    <a:xfrm>
                      <a:off x="3932238" y="3433763"/>
                      <a:ext cx="168275" cy="127000"/>
                    </a:xfrm>
                    <a:custGeom>
                      <a:avLst/>
                      <a:gdLst/>
                      <a:ahLst/>
                      <a:cxnLst>
                        <a:cxn ang="0">
                          <a:pos x="53" y="0"/>
                        </a:cxn>
                        <a:cxn ang="0">
                          <a:pos x="64" y="1"/>
                        </a:cxn>
                        <a:cxn ang="0">
                          <a:pos x="74" y="2"/>
                        </a:cxn>
                        <a:cxn ang="0">
                          <a:pos x="83" y="6"/>
                        </a:cxn>
                        <a:cxn ang="0">
                          <a:pos x="91" y="11"/>
                        </a:cxn>
                        <a:cxn ang="0">
                          <a:pos x="97" y="18"/>
                        </a:cxn>
                        <a:cxn ang="0">
                          <a:pos x="103" y="24"/>
                        </a:cxn>
                        <a:cxn ang="0">
                          <a:pos x="105" y="32"/>
                        </a:cxn>
                        <a:cxn ang="0">
                          <a:pos x="106" y="40"/>
                        </a:cxn>
                        <a:cxn ang="0">
                          <a:pos x="105" y="48"/>
                        </a:cxn>
                        <a:cxn ang="0">
                          <a:pos x="103" y="55"/>
                        </a:cxn>
                        <a:cxn ang="0">
                          <a:pos x="97" y="62"/>
                        </a:cxn>
                        <a:cxn ang="0">
                          <a:pos x="91" y="68"/>
                        </a:cxn>
                        <a:cxn ang="0">
                          <a:pos x="83" y="74"/>
                        </a:cxn>
                        <a:cxn ang="0">
                          <a:pos x="74" y="78"/>
                        </a:cxn>
                        <a:cxn ang="0">
                          <a:pos x="64" y="79"/>
                        </a:cxn>
                        <a:cxn ang="0">
                          <a:pos x="53" y="80"/>
                        </a:cxn>
                        <a:cxn ang="0">
                          <a:pos x="43" y="79"/>
                        </a:cxn>
                        <a:cxn ang="0">
                          <a:pos x="32" y="78"/>
                        </a:cxn>
                        <a:cxn ang="0">
                          <a:pos x="23" y="74"/>
                        </a:cxn>
                        <a:cxn ang="0">
                          <a:pos x="16" y="68"/>
                        </a:cxn>
                        <a:cxn ang="0">
                          <a:pos x="9" y="62"/>
                        </a:cxn>
                        <a:cxn ang="0">
                          <a:pos x="4" y="55"/>
                        </a:cxn>
                        <a:cxn ang="0">
                          <a:pos x="1" y="48"/>
                        </a:cxn>
                        <a:cxn ang="0">
                          <a:pos x="0" y="40"/>
                        </a:cxn>
                        <a:cxn ang="0">
                          <a:pos x="1" y="32"/>
                        </a:cxn>
                        <a:cxn ang="0">
                          <a:pos x="4" y="24"/>
                        </a:cxn>
                        <a:cxn ang="0">
                          <a:pos x="9" y="18"/>
                        </a:cxn>
                        <a:cxn ang="0">
                          <a:pos x="16" y="11"/>
                        </a:cxn>
                        <a:cxn ang="0">
                          <a:pos x="23" y="6"/>
                        </a:cxn>
                        <a:cxn ang="0">
                          <a:pos x="32" y="2"/>
                        </a:cxn>
                        <a:cxn ang="0">
                          <a:pos x="43" y="1"/>
                        </a:cxn>
                        <a:cxn ang="0">
                          <a:pos x="53" y="0"/>
                        </a:cxn>
                      </a:cxnLst>
                      <a:rect l="0" t="0" r="r" b="b"/>
                      <a:pathLst>
                        <a:path w="106" h="80">
                          <a:moveTo>
                            <a:pt x="53" y="0"/>
                          </a:moveTo>
                          <a:lnTo>
                            <a:pt x="64" y="1"/>
                          </a:lnTo>
                          <a:lnTo>
                            <a:pt x="74" y="2"/>
                          </a:lnTo>
                          <a:lnTo>
                            <a:pt x="83" y="6"/>
                          </a:lnTo>
                          <a:lnTo>
                            <a:pt x="91" y="11"/>
                          </a:lnTo>
                          <a:lnTo>
                            <a:pt x="97" y="18"/>
                          </a:lnTo>
                          <a:lnTo>
                            <a:pt x="103" y="24"/>
                          </a:lnTo>
                          <a:lnTo>
                            <a:pt x="105" y="32"/>
                          </a:lnTo>
                          <a:lnTo>
                            <a:pt x="106" y="40"/>
                          </a:lnTo>
                          <a:lnTo>
                            <a:pt x="105" y="48"/>
                          </a:lnTo>
                          <a:lnTo>
                            <a:pt x="103" y="55"/>
                          </a:lnTo>
                          <a:lnTo>
                            <a:pt x="97" y="62"/>
                          </a:lnTo>
                          <a:lnTo>
                            <a:pt x="91" y="68"/>
                          </a:lnTo>
                          <a:lnTo>
                            <a:pt x="83" y="74"/>
                          </a:lnTo>
                          <a:lnTo>
                            <a:pt x="74" y="78"/>
                          </a:lnTo>
                          <a:lnTo>
                            <a:pt x="64" y="79"/>
                          </a:lnTo>
                          <a:lnTo>
                            <a:pt x="53" y="80"/>
                          </a:lnTo>
                          <a:lnTo>
                            <a:pt x="43" y="79"/>
                          </a:lnTo>
                          <a:lnTo>
                            <a:pt x="32" y="78"/>
                          </a:lnTo>
                          <a:lnTo>
                            <a:pt x="23" y="74"/>
                          </a:lnTo>
                          <a:lnTo>
                            <a:pt x="16" y="68"/>
                          </a:lnTo>
                          <a:lnTo>
                            <a:pt x="9" y="62"/>
                          </a:lnTo>
                          <a:lnTo>
                            <a:pt x="4" y="55"/>
                          </a:lnTo>
                          <a:lnTo>
                            <a:pt x="1" y="48"/>
                          </a:lnTo>
                          <a:lnTo>
                            <a:pt x="0" y="40"/>
                          </a:lnTo>
                          <a:lnTo>
                            <a:pt x="1" y="32"/>
                          </a:lnTo>
                          <a:lnTo>
                            <a:pt x="4" y="24"/>
                          </a:lnTo>
                          <a:lnTo>
                            <a:pt x="9" y="18"/>
                          </a:lnTo>
                          <a:lnTo>
                            <a:pt x="16" y="11"/>
                          </a:lnTo>
                          <a:lnTo>
                            <a:pt x="23" y="6"/>
                          </a:lnTo>
                          <a:lnTo>
                            <a:pt x="32" y="2"/>
                          </a:lnTo>
                          <a:lnTo>
                            <a:pt x="43" y="1"/>
                          </a:lnTo>
                          <a:lnTo>
                            <a:pt x="53" y="0"/>
                          </a:lnTo>
                          <a:close/>
                        </a:path>
                      </a:pathLst>
                    </a:custGeom>
                    <a:grpFill/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pPr fontAlgn="auto">
                        <a:spcBef>
                          <a:spcPts val="0"/>
                        </a:spcBef>
                        <a:spcAft>
                          <a:spcPts val="0"/>
                        </a:spcAft>
                        <a:defRPr/>
                      </a:pPr>
                      <a:endParaRPr lang="da-DK" kern="0">
                        <a:solidFill>
                          <a:sysClr val="windowText" lastClr="000000"/>
                        </a:solidFill>
                        <a:latin typeface="+mn-lt"/>
                        <a:ea typeface="ＭＳ Ｐゴシック" pitchFamily="-97" charset="-128"/>
                        <a:cs typeface="+mn-cs"/>
                      </a:endParaRPr>
                    </a:p>
                  </p:txBody>
                </p:sp>
              </p:grpSp>
            </p:grpSp>
            <p:sp>
              <p:nvSpPr>
                <p:cNvPr id="135" name="Ellipse 619"/>
                <p:cNvSpPr/>
                <p:nvPr/>
              </p:nvSpPr>
              <p:spPr bwMode="auto">
                <a:xfrm>
                  <a:off x="2661409" y="4803226"/>
                  <a:ext cx="397703" cy="465717"/>
                </a:xfrm>
                <a:prstGeom prst="ellipse">
                  <a:avLst/>
                </a:prstGeom>
                <a:gradFill flip="none" rotWithShape="1">
                  <a:gsLst>
                    <a:gs pos="100000">
                      <a:srgbClr val="E6E6E6"/>
                    </a:gs>
                    <a:gs pos="69000">
                      <a:srgbClr val="E6E6E6">
                        <a:lumMod val="90000"/>
                      </a:srgbClr>
                    </a:gs>
                    <a:gs pos="0">
                      <a:srgbClr val="E6E6E6">
                        <a:lumMod val="75000"/>
                      </a:srgbClr>
                    </a:gs>
                  </a:gsLst>
                  <a:lin ang="0" scaled="1"/>
                  <a:tileRect/>
                </a:gradFill>
                <a:ln w="952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" lastClr="FFFFFF"/>
                    </a:solidFill>
                    <a:latin typeface="Calibri"/>
                    <a:cs typeface="+mn-cs"/>
                  </a:endParaRPr>
                </a:p>
              </p:txBody>
            </p:sp>
          </p:grpSp>
        </p:grpSp>
      </p:grpSp>
      <p:grpSp>
        <p:nvGrpSpPr>
          <p:cNvPr id="385" name="Gruppe 671"/>
          <p:cNvGrpSpPr>
            <a:grpSpLocks/>
          </p:cNvGrpSpPr>
          <p:nvPr/>
        </p:nvGrpSpPr>
        <p:grpSpPr bwMode="auto">
          <a:xfrm>
            <a:off x="2769990" y="1539874"/>
            <a:ext cx="573717" cy="909881"/>
            <a:chOff x="2540001" y="1274004"/>
            <a:chExt cx="622300" cy="988102"/>
          </a:xfrm>
        </p:grpSpPr>
        <p:grpSp>
          <p:nvGrpSpPr>
            <p:cNvPr id="386" name="Gruppe 669"/>
            <p:cNvGrpSpPr>
              <a:grpSpLocks/>
            </p:cNvGrpSpPr>
            <p:nvPr/>
          </p:nvGrpSpPr>
          <p:grpSpPr bwMode="auto">
            <a:xfrm>
              <a:off x="2540001" y="1274004"/>
              <a:ext cx="622300" cy="988102"/>
              <a:chOff x="2603500" y="1396999"/>
              <a:chExt cx="2192504" cy="3481307"/>
            </a:xfrm>
          </p:grpSpPr>
          <p:grpSp>
            <p:nvGrpSpPr>
              <p:cNvPr id="388" name="Gruppe 660"/>
              <p:cNvGrpSpPr>
                <a:grpSpLocks/>
              </p:cNvGrpSpPr>
              <p:nvPr/>
            </p:nvGrpSpPr>
            <p:grpSpPr bwMode="auto">
              <a:xfrm>
                <a:off x="2603500" y="1396999"/>
                <a:ext cx="2192504" cy="3469098"/>
                <a:chOff x="2603500" y="1396999"/>
                <a:chExt cx="2192504" cy="3469098"/>
              </a:xfrm>
            </p:grpSpPr>
            <p:sp>
              <p:nvSpPr>
                <p:cNvPr id="397" name="Rektangel 645"/>
                <p:cNvSpPr/>
                <p:nvPr/>
              </p:nvSpPr>
              <p:spPr bwMode="auto">
                <a:xfrm>
                  <a:off x="3123080" y="1677106"/>
                  <a:ext cx="1193314" cy="240090"/>
                </a:xfrm>
                <a:prstGeom prst="rect">
                  <a:avLst/>
                </a:prstGeom>
                <a:gradFill>
                  <a:gsLst>
                    <a:gs pos="0">
                      <a:schemeClr val="tx1">
                        <a:alpha val="0"/>
                      </a:schemeClr>
                    </a:gs>
                    <a:gs pos="7001">
                      <a:schemeClr val="tx1"/>
                    </a:gs>
                    <a:gs pos="32001">
                      <a:schemeClr val="tx1">
                        <a:alpha val="89000"/>
                      </a:schemeClr>
                    </a:gs>
                    <a:gs pos="85000">
                      <a:schemeClr val="tx1">
                        <a:lumMod val="50000"/>
                        <a:lumOff val="50000"/>
                        <a:alpha val="69000"/>
                      </a:schemeClr>
                    </a:gs>
                    <a:gs pos="85001">
                      <a:schemeClr val="tx1"/>
                    </a:gs>
                    <a:gs pos="100000">
                      <a:schemeClr val="tx1"/>
                    </a:gs>
                  </a:gsLst>
                  <a:lin ang="16200000" scaled="0"/>
                </a:gradFill>
                <a:ln w="3175" cmpd="sng">
                  <a:solidFill>
                    <a:schemeClr val="bg1">
                      <a:lumMod val="85000"/>
                    </a:schemeClr>
                  </a:solidFill>
                </a:ln>
                <a:effectLst>
                  <a:outerShdw blurRad="50800" dist="38100" algn="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/>
                </a:p>
              </p:txBody>
            </p:sp>
            <p:sp>
              <p:nvSpPr>
                <p:cNvPr id="398" name="Rektangel 646"/>
                <p:cNvSpPr/>
                <p:nvPr/>
              </p:nvSpPr>
              <p:spPr bwMode="auto">
                <a:xfrm>
                  <a:off x="2603500" y="1717119"/>
                  <a:ext cx="2192504" cy="3149756"/>
                </a:xfrm>
                <a:prstGeom prst="rect">
                  <a:avLst/>
                </a:prstGeom>
                <a:gradFill>
                  <a:gsLst>
                    <a:gs pos="0">
                      <a:schemeClr val="tx1">
                        <a:alpha val="62000"/>
                      </a:schemeClr>
                    </a:gs>
                    <a:gs pos="7001">
                      <a:schemeClr val="tx1"/>
                    </a:gs>
                    <a:gs pos="32001">
                      <a:schemeClr val="tx1">
                        <a:alpha val="89000"/>
                      </a:schemeClr>
                    </a:gs>
                    <a:gs pos="85000">
                      <a:schemeClr val="tx1">
                        <a:lumMod val="50000"/>
                        <a:lumOff val="50000"/>
                        <a:alpha val="69000"/>
                      </a:schemeClr>
                    </a:gs>
                    <a:gs pos="85001">
                      <a:schemeClr val="tx1"/>
                    </a:gs>
                    <a:gs pos="100000">
                      <a:schemeClr val="tx1"/>
                    </a:gs>
                  </a:gsLst>
                  <a:lin ang="16200000" scaled="0"/>
                </a:gradFill>
                <a:ln>
                  <a:solidFill>
                    <a:schemeClr val="tx1">
                      <a:lumMod val="65000"/>
                      <a:lumOff val="3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/>
                </a:p>
              </p:txBody>
            </p:sp>
            <p:sp>
              <p:nvSpPr>
                <p:cNvPr id="399" name="Afrundet rektangel 647"/>
                <p:cNvSpPr/>
                <p:nvPr/>
              </p:nvSpPr>
              <p:spPr bwMode="auto">
                <a:xfrm>
                  <a:off x="3522755" y="1396999"/>
                  <a:ext cx="314029" cy="320120"/>
                </a:xfrm>
                <a:prstGeom prst="roundRect">
                  <a:avLst/>
                </a:prstGeom>
                <a:gradFill>
                  <a:gsLst>
                    <a:gs pos="15000">
                      <a:srgbClr val="FFFFFF">
                        <a:alpha val="35000"/>
                      </a:srgbClr>
                    </a:gs>
                    <a:gs pos="47000">
                      <a:srgbClr val="E6E6E6"/>
                    </a:gs>
                    <a:gs pos="85001">
                      <a:srgbClr val="7D8496"/>
                    </a:gs>
                    <a:gs pos="100000">
                      <a:schemeClr val="bg1">
                        <a:lumMod val="65000"/>
                      </a:schemeClr>
                    </a:gs>
                  </a:gsLst>
                  <a:lin ang="16200000" scaled="0"/>
                </a:gradFill>
                <a:ln w="3175" cmpd="sng">
                  <a:solidFill>
                    <a:schemeClr val="bg1">
                      <a:lumMod val="85000"/>
                    </a:schemeClr>
                  </a:solidFill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/>
                </a:p>
              </p:txBody>
            </p:sp>
            <p:sp>
              <p:nvSpPr>
                <p:cNvPr id="400" name="Æseløre 648"/>
                <p:cNvSpPr/>
                <p:nvPr/>
              </p:nvSpPr>
              <p:spPr bwMode="auto">
                <a:xfrm>
                  <a:off x="2643365" y="1755817"/>
                  <a:ext cx="2112827" cy="3069891"/>
                </a:xfrm>
                <a:prstGeom prst="foldedCorner">
                  <a:avLst>
                    <a:gd name="adj" fmla="val 10054"/>
                  </a:avLst>
                </a:prstGeom>
                <a:solidFill>
                  <a:schemeClr val="bg1"/>
                </a:solidFill>
                <a:ln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0">
                  <a:schemeClr val="accent2"/>
                </a:lnRef>
                <a:fillRef idx="3">
                  <a:schemeClr val="accent2"/>
                </a:fillRef>
                <a:effectRef idx="3">
                  <a:schemeClr val="accent2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/>
                </a:p>
              </p:txBody>
            </p:sp>
            <p:sp>
              <p:nvSpPr>
                <p:cNvPr id="401" name="Rektangel 649"/>
                <p:cNvSpPr/>
                <p:nvPr/>
              </p:nvSpPr>
              <p:spPr bwMode="auto">
                <a:xfrm>
                  <a:off x="3083110" y="1677106"/>
                  <a:ext cx="1193318" cy="240090"/>
                </a:xfrm>
                <a:prstGeom prst="rect">
                  <a:avLst/>
                </a:prstGeom>
                <a:gradFill>
                  <a:gsLst>
                    <a:gs pos="0">
                      <a:srgbClr val="FFFFFF"/>
                    </a:gs>
                    <a:gs pos="7001">
                      <a:srgbClr val="E6E6E6"/>
                    </a:gs>
                    <a:gs pos="32001">
                      <a:srgbClr val="7D8496"/>
                    </a:gs>
                    <a:gs pos="47000">
                      <a:srgbClr val="E6E6E6"/>
                    </a:gs>
                    <a:gs pos="85001">
                      <a:srgbClr val="7D8496"/>
                    </a:gs>
                    <a:gs pos="100000">
                      <a:srgbClr val="E6E6E6"/>
                    </a:gs>
                  </a:gsLst>
                  <a:lin ang="16200000" scaled="0"/>
                </a:gradFill>
                <a:ln w="3175" cmpd="sng">
                  <a:solidFill>
                    <a:schemeClr val="bg1">
                      <a:lumMod val="85000"/>
                    </a:schemeClr>
                  </a:solidFill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/>
                </a:p>
              </p:txBody>
            </p:sp>
            <p:sp>
              <p:nvSpPr>
                <p:cNvPr id="402" name="Ellipse 650"/>
                <p:cNvSpPr/>
                <p:nvPr/>
              </p:nvSpPr>
              <p:spPr bwMode="auto">
                <a:xfrm>
                  <a:off x="3639981" y="1516605"/>
                  <a:ext cx="79729" cy="79737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0">
                  <a:schemeClr val="accent2"/>
                </a:lnRef>
                <a:fillRef idx="3">
                  <a:schemeClr val="accent2"/>
                </a:fillRef>
                <a:effectRef idx="3">
                  <a:schemeClr val="accent2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/>
                </a:p>
              </p:txBody>
            </p:sp>
            <p:cxnSp>
              <p:nvCxnSpPr>
                <p:cNvPr id="403" name="Lige forbindelse 637"/>
                <p:cNvCxnSpPr/>
                <p:nvPr/>
              </p:nvCxnSpPr>
              <p:spPr bwMode="auto">
                <a:xfrm>
                  <a:off x="2723404" y="2471688"/>
                  <a:ext cx="1924149" cy="5718"/>
                </a:xfrm>
                <a:prstGeom prst="line">
                  <a:avLst/>
                </a:prstGeom>
                <a:ln w="3175">
                  <a:solidFill>
                    <a:schemeClr val="bg1">
                      <a:lumMod val="8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04" name="Lige forbindelse 638"/>
                <p:cNvCxnSpPr/>
                <p:nvPr/>
              </p:nvCxnSpPr>
              <p:spPr bwMode="auto">
                <a:xfrm>
                  <a:off x="2723404" y="2751795"/>
                  <a:ext cx="1924149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8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05" name="Lige forbindelse 639"/>
                <p:cNvCxnSpPr/>
                <p:nvPr/>
              </p:nvCxnSpPr>
              <p:spPr bwMode="auto">
                <a:xfrm>
                  <a:off x="2723404" y="3031898"/>
                  <a:ext cx="1924149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8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06" name="Lige forbindelse 640"/>
                <p:cNvCxnSpPr/>
                <p:nvPr/>
              </p:nvCxnSpPr>
              <p:spPr bwMode="auto">
                <a:xfrm>
                  <a:off x="2723404" y="3312005"/>
                  <a:ext cx="1924149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8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07" name="Lige forbindelse 641"/>
                <p:cNvCxnSpPr/>
                <p:nvPr/>
              </p:nvCxnSpPr>
              <p:spPr bwMode="auto">
                <a:xfrm>
                  <a:off x="2723404" y="3592109"/>
                  <a:ext cx="1924149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8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08" name="Lige forbindelse 642"/>
                <p:cNvCxnSpPr/>
                <p:nvPr/>
              </p:nvCxnSpPr>
              <p:spPr bwMode="auto">
                <a:xfrm>
                  <a:off x="2723404" y="3872216"/>
                  <a:ext cx="1924149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8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09" name="Lige forbindelse 643"/>
                <p:cNvCxnSpPr/>
                <p:nvPr/>
              </p:nvCxnSpPr>
              <p:spPr bwMode="auto">
                <a:xfrm>
                  <a:off x="2803339" y="4152319"/>
                  <a:ext cx="1792829" cy="0"/>
                </a:xfrm>
                <a:prstGeom prst="line">
                  <a:avLst/>
                </a:prstGeom>
                <a:ln w="3175">
                  <a:solidFill>
                    <a:schemeClr val="bg1">
                      <a:lumMod val="8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10" name="Lige forbindelse 644"/>
                <p:cNvCxnSpPr/>
                <p:nvPr/>
              </p:nvCxnSpPr>
              <p:spPr bwMode="auto">
                <a:xfrm>
                  <a:off x="2723404" y="4426708"/>
                  <a:ext cx="1924149" cy="5718"/>
                </a:xfrm>
                <a:prstGeom prst="line">
                  <a:avLst/>
                </a:prstGeom>
                <a:ln w="3175">
                  <a:solidFill>
                    <a:schemeClr val="bg1">
                      <a:lumMod val="8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389" name="Gruppe 98"/>
              <p:cNvGrpSpPr>
                <a:grpSpLocks/>
              </p:cNvGrpSpPr>
              <p:nvPr/>
            </p:nvGrpSpPr>
            <p:grpSpPr bwMode="auto">
              <a:xfrm rot="20213996" flipH="1">
                <a:off x="4608940" y="2355380"/>
                <a:ext cx="153554" cy="2522926"/>
                <a:chOff x="1500166" y="1857364"/>
                <a:chExt cx="500066" cy="8215346"/>
              </a:xfrm>
            </p:grpSpPr>
            <p:sp>
              <p:nvSpPr>
                <p:cNvPr id="390" name="Ligebenet trekant 662"/>
                <p:cNvSpPr/>
                <p:nvPr/>
              </p:nvSpPr>
              <p:spPr>
                <a:xfrm>
                  <a:off x="1564638" y="1869455"/>
                  <a:ext cx="502034" cy="1079627"/>
                </a:xfrm>
                <a:prstGeom prst="triangle">
                  <a:avLst/>
                </a:prstGeom>
                <a:gradFill>
                  <a:gsLst>
                    <a:gs pos="30000">
                      <a:srgbClr val="C7AC4C"/>
                    </a:gs>
                    <a:gs pos="60000">
                      <a:srgbClr val="E6D78A"/>
                    </a:gs>
                    <a:gs pos="100000">
                      <a:srgbClr val="E6DCAC"/>
                    </a:gs>
                  </a:gsLst>
                  <a:lin ang="21594000" scaled="0"/>
                </a:gradFill>
                <a:ln w="3175" cmpd="sng">
                  <a:solidFill>
                    <a:schemeClr val="bg2">
                      <a:lumMod val="75000"/>
                    </a:schemeClr>
                  </a:solidFill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/>
                </a:p>
              </p:txBody>
            </p:sp>
            <p:sp>
              <p:nvSpPr>
                <p:cNvPr id="391" name="Ligebenet trekant 663"/>
                <p:cNvSpPr/>
                <p:nvPr/>
              </p:nvSpPr>
              <p:spPr>
                <a:xfrm>
                  <a:off x="1768412" y="1790537"/>
                  <a:ext cx="130153" cy="372285"/>
                </a:xfrm>
                <a:prstGeom prst="triangle">
                  <a:avLst/>
                </a:prstGeom>
                <a:gradFill>
                  <a:gsLst>
                    <a:gs pos="0">
                      <a:schemeClr val="tx1">
                        <a:alpha val="0"/>
                      </a:schemeClr>
                    </a:gs>
                    <a:gs pos="7001">
                      <a:schemeClr val="tx1"/>
                    </a:gs>
                    <a:gs pos="32001">
                      <a:schemeClr val="tx1">
                        <a:alpha val="89000"/>
                      </a:schemeClr>
                    </a:gs>
                    <a:gs pos="85000">
                      <a:schemeClr val="tx1">
                        <a:lumMod val="50000"/>
                        <a:lumOff val="50000"/>
                        <a:alpha val="69000"/>
                      </a:schemeClr>
                    </a:gs>
                    <a:gs pos="85001">
                      <a:schemeClr val="tx1"/>
                    </a:gs>
                    <a:gs pos="100000">
                      <a:schemeClr val="tx1"/>
                    </a:gs>
                  </a:gsLst>
                  <a:lin ang="16200000" scaled="0"/>
                </a:gradFill>
                <a:ln w="3175" cmpd="sng">
                  <a:solidFill>
                    <a:schemeClr val="tx1">
                      <a:lumMod val="75000"/>
                      <a:lumOff val="25000"/>
                    </a:schemeClr>
                  </a:solidFill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/>
                </a:p>
              </p:txBody>
            </p:sp>
            <p:grpSp>
              <p:nvGrpSpPr>
                <p:cNvPr id="392" name="Gruppe 96"/>
                <p:cNvGrpSpPr>
                  <a:grpSpLocks/>
                </p:cNvGrpSpPr>
                <p:nvPr/>
              </p:nvGrpSpPr>
              <p:grpSpPr bwMode="auto">
                <a:xfrm>
                  <a:off x="1500166" y="3000372"/>
                  <a:ext cx="500066" cy="7072338"/>
                  <a:chOff x="1500166" y="3000372"/>
                  <a:chExt cx="500066" cy="3857628"/>
                </a:xfrm>
              </p:grpSpPr>
              <p:sp>
                <p:nvSpPr>
                  <p:cNvPr id="393" name="Rektangel 665"/>
                  <p:cNvSpPr/>
                  <p:nvPr/>
                </p:nvSpPr>
                <p:spPr>
                  <a:xfrm>
                    <a:off x="1923614" y="2936100"/>
                    <a:ext cx="148752" cy="3858216"/>
                  </a:xfrm>
                  <a:prstGeom prst="rect">
                    <a:avLst/>
                  </a:prstGeom>
                  <a:solidFill>
                    <a:schemeClr val="accent1">
                      <a:lumMod val="50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anchor="ctr"/>
                  <a:lstStyle/>
                  <a:p>
                    <a:pPr algn="ctr"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da-DK"/>
                  </a:p>
                </p:txBody>
              </p:sp>
              <p:sp>
                <p:nvSpPr>
                  <p:cNvPr id="394" name="Rektangel 666"/>
                  <p:cNvSpPr/>
                  <p:nvPr/>
                </p:nvSpPr>
                <p:spPr>
                  <a:xfrm>
                    <a:off x="1745560" y="2937963"/>
                    <a:ext cx="204541" cy="3858216"/>
                  </a:xfrm>
                  <a:prstGeom prst="rect">
                    <a:avLst/>
                  </a:prstGeom>
                  <a:solidFill>
                    <a:schemeClr val="tx2">
                      <a:lumMod val="60000"/>
                      <a:lumOff val="40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anchor="ctr"/>
                  <a:lstStyle/>
                  <a:p>
                    <a:pPr algn="ctr"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da-DK"/>
                  </a:p>
                </p:txBody>
              </p:sp>
              <p:sp>
                <p:nvSpPr>
                  <p:cNvPr id="395" name="Rektangel 667"/>
                  <p:cNvSpPr/>
                  <p:nvPr/>
                </p:nvSpPr>
                <p:spPr>
                  <a:xfrm>
                    <a:off x="1591601" y="2925123"/>
                    <a:ext cx="148752" cy="3858216"/>
                  </a:xfrm>
                  <a:prstGeom prst="rect">
                    <a:avLst/>
                  </a:prstGeom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anchor="ctr"/>
                  <a:lstStyle/>
                  <a:p>
                    <a:pPr algn="ctr"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da-DK"/>
                  </a:p>
                </p:txBody>
              </p:sp>
              <p:sp>
                <p:nvSpPr>
                  <p:cNvPr id="396" name="Rektangel 668"/>
                  <p:cNvSpPr/>
                  <p:nvPr/>
                </p:nvSpPr>
                <p:spPr>
                  <a:xfrm>
                    <a:off x="1688801" y="2916133"/>
                    <a:ext cx="130164" cy="3868366"/>
                  </a:xfrm>
                  <a:prstGeom prst="rect">
                    <a:avLst/>
                  </a:prstGeom>
                  <a:solidFill>
                    <a:schemeClr val="accent1">
                      <a:lumMod val="75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anchor="ctr"/>
                  <a:lstStyle/>
                  <a:p>
                    <a:pPr algn="ctr"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da-DK"/>
                  </a:p>
                </p:txBody>
              </p:sp>
            </p:grpSp>
          </p:grpSp>
        </p:grpSp>
        <p:sp>
          <p:nvSpPr>
            <p:cNvPr id="387" name="Freeform 150"/>
            <p:cNvSpPr>
              <a:spLocks/>
            </p:cNvSpPr>
            <p:nvPr/>
          </p:nvSpPr>
          <p:spPr bwMode="auto">
            <a:xfrm>
              <a:off x="2638038" y="1549400"/>
              <a:ext cx="368562" cy="482600"/>
            </a:xfrm>
            <a:custGeom>
              <a:avLst/>
              <a:gdLst/>
              <a:ahLst/>
              <a:cxnLst>
                <a:cxn ang="0">
                  <a:pos x="0" y="194"/>
                </a:cxn>
                <a:cxn ang="0">
                  <a:pos x="0" y="194"/>
                </a:cxn>
                <a:cxn ang="0">
                  <a:pos x="0" y="188"/>
                </a:cxn>
                <a:cxn ang="0">
                  <a:pos x="4" y="182"/>
                </a:cxn>
                <a:cxn ang="0">
                  <a:pos x="8" y="176"/>
                </a:cxn>
                <a:cxn ang="0">
                  <a:pos x="14" y="170"/>
                </a:cxn>
                <a:cxn ang="0">
                  <a:pos x="14" y="170"/>
                </a:cxn>
                <a:cxn ang="0">
                  <a:pos x="24" y="166"/>
                </a:cxn>
                <a:cxn ang="0">
                  <a:pos x="30" y="164"/>
                </a:cxn>
                <a:cxn ang="0">
                  <a:pos x="30" y="164"/>
                </a:cxn>
                <a:cxn ang="0">
                  <a:pos x="36" y="168"/>
                </a:cxn>
                <a:cxn ang="0">
                  <a:pos x="38" y="174"/>
                </a:cxn>
                <a:cxn ang="0">
                  <a:pos x="38" y="174"/>
                </a:cxn>
                <a:cxn ang="0">
                  <a:pos x="48" y="202"/>
                </a:cxn>
                <a:cxn ang="0">
                  <a:pos x="48" y="202"/>
                </a:cxn>
                <a:cxn ang="0">
                  <a:pos x="52" y="206"/>
                </a:cxn>
                <a:cxn ang="0">
                  <a:pos x="54" y="208"/>
                </a:cxn>
                <a:cxn ang="0">
                  <a:pos x="54" y="208"/>
                </a:cxn>
                <a:cxn ang="0">
                  <a:pos x="56" y="208"/>
                </a:cxn>
                <a:cxn ang="0">
                  <a:pos x="58" y="204"/>
                </a:cxn>
                <a:cxn ang="0">
                  <a:pos x="58" y="204"/>
                </a:cxn>
                <a:cxn ang="0">
                  <a:pos x="80" y="162"/>
                </a:cxn>
                <a:cxn ang="0">
                  <a:pos x="100" y="124"/>
                </a:cxn>
                <a:cxn ang="0">
                  <a:pos x="118" y="92"/>
                </a:cxn>
                <a:cxn ang="0">
                  <a:pos x="136" y="64"/>
                </a:cxn>
                <a:cxn ang="0">
                  <a:pos x="136" y="64"/>
                </a:cxn>
                <a:cxn ang="0">
                  <a:pos x="156" y="34"/>
                </a:cxn>
                <a:cxn ang="0">
                  <a:pos x="168" y="20"/>
                </a:cxn>
                <a:cxn ang="0">
                  <a:pos x="168" y="20"/>
                </a:cxn>
                <a:cxn ang="0">
                  <a:pos x="178" y="12"/>
                </a:cxn>
                <a:cxn ang="0">
                  <a:pos x="190" y="6"/>
                </a:cxn>
                <a:cxn ang="0">
                  <a:pos x="202" y="2"/>
                </a:cxn>
                <a:cxn ang="0">
                  <a:pos x="216" y="0"/>
                </a:cxn>
                <a:cxn ang="0">
                  <a:pos x="216" y="8"/>
                </a:cxn>
                <a:cxn ang="0">
                  <a:pos x="216" y="8"/>
                </a:cxn>
                <a:cxn ang="0">
                  <a:pos x="204" y="24"/>
                </a:cxn>
                <a:cxn ang="0">
                  <a:pos x="188" y="50"/>
                </a:cxn>
                <a:cxn ang="0">
                  <a:pos x="142" y="122"/>
                </a:cxn>
                <a:cxn ang="0">
                  <a:pos x="142" y="122"/>
                </a:cxn>
                <a:cxn ang="0">
                  <a:pos x="98" y="202"/>
                </a:cxn>
                <a:cxn ang="0">
                  <a:pos x="68" y="262"/>
                </a:cxn>
                <a:cxn ang="0">
                  <a:pos x="68" y="262"/>
                </a:cxn>
                <a:cxn ang="0">
                  <a:pos x="64" y="274"/>
                </a:cxn>
                <a:cxn ang="0">
                  <a:pos x="60" y="276"/>
                </a:cxn>
                <a:cxn ang="0">
                  <a:pos x="56" y="278"/>
                </a:cxn>
                <a:cxn ang="0">
                  <a:pos x="56" y="278"/>
                </a:cxn>
                <a:cxn ang="0">
                  <a:pos x="50" y="282"/>
                </a:cxn>
                <a:cxn ang="0">
                  <a:pos x="40" y="282"/>
                </a:cxn>
                <a:cxn ang="0">
                  <a:pos x="40" y="282"/>
                </a:cxn>
                <a:cxn ang="0">
                  <a:pos x="32" y="282"/>
                </a:cxn>
                <a:cxn ang="0">
                  <a:pos x="28" y="278"/>
                </a:cxn>
                <a:cxn ang="0">
                  <a:pos x="28" y="278"/>
                </a:cxn>
                <a:cxn ang="0">
                  <a:pos x="24" y="274"/>
                </a:cxn>
                <a:cxn ang="0">
                  <a:pos x="20" y="266"/>
                </a:cxn>
                <a:cxn ang="0">
                  <a:pos x="20" y="266"/>
                </a:cxn>
                <a:cxn ang="0">
                  <a:pos x="8" y="234"/>
                </a:cxn>
                <a:cxn ang="0">
                  <a:pos x="2" y="206"/>
                </a:cxn>
                <a:cxn ang="0">
                  <a:pos x="2" y="206"/>
                </a:cxn>
                <a:cxn ang="0">
                  <a:pos x="0" y="194"/>
                </a:cxn>
                <a:cxn ang="0">
                  <a:pos x="0" y="194"/>
                </a:cxn>
              </a:cxnLst>
              <a:rect l="0" t="0" r="r" b="b"/>
              <a:pathLst>
                <a:path w="216" h="282">
                  <a:moveTo>
                    <a:pt x="0" y="194"/>
                  </a:moveTo>
                  <a:lnTo>
                    <a:pt x="0" y="194"/>
                  </a:lnTo>
                  <a:lnTo>
                    <a:pt x="0" y="188"/>
                  </a:lnTo>
                  <a:lnTo>
                    <a:pt x="4" y="182"/>
                  </a:lnTo>
                  <a:lnTo>
                    <a:pt x="8" y="176"/>
                  </a:lnTo>
                  <a:lnTo>
                    <a:pt x="14" y="170"/>
                  </a:lnTo>
                  <a:lnTo>
                    <a:pt x="14" y="170"/>
                  </a:lnTo>
                  <a:lnTo>
                    <a:pt x="24" y="166"/>
                  </a:lnTo>
                  <a:lnTo>
                    <a:pt x="30" y="164"/>
                  </a:lnTo>
                  <a:lnTo>
                    <a:pt x="30" y="164"/>
                  </a:lnTo>
                  <a:lnTo>
                    <a:pt x="36" y="168"/>
                  </a:lnTo>
                  <a:lnTo>
                    <a:pt x="38" y="174"/>
                  </a:lnTo>
                  <a:lnTo>
                    <a:pt x="38" y="174"/>
                  </a:lnTo>
                  <a:lnTo>
                    <a:pt x="48" y="202"/>
                  </a:lnTo>
                  <a:lnTo>
                    <a:pt x="48" y="202"/>
                  </a:lnTo>
                  <a:lnTo>
                    <a:pt x="52" y="206"/>
                  </a:lnTo>
                  <a:lnTo>
                    <a:pt x="54" y="208"/>
                  </a:lnTo>
                  <a:lnTo>
                    <a:pt x="54" y="208"/>
                  </a:lnTo>
                  <a:lnTo>
                    <a:pt x="56" y="208"/>
                  </a:lnTo>
                  <a:lnTo>
                    <a:pt x="58" y="204"/>
                  </a:lnTo>
                  <a:lnTo>
                    <a:pt x="58" y="204"/>
                  </a:lnTo>
                  <a:lnTo>
                    <a:pt x="80" y="162"/>
                  </a:lnTo>
                  <a:lnTo>
                    <a:pt x="100" y="124"/>
                  </a:lnTo>
                  <a:lnTo>
                    <a:pt x="118" y="92"/>
                  </a:lnTo>
                  <a:lnTo>
                    <a:pt x="136" y="64"/>
                  </a:lnTo>
                  <a:lnTo>
                    <a:pt x="136" y="64"/>
                  </a:lnTo>
                  <a:lnTo>
                    <a:pt x="156" y="34"/>
                  </a:lnTo>
                  <a:lnTo>
                    <a:pt x="168" y="20"/>
                  </a:lnTo>
                  <a:lnTo>
                    <a:pt x="168" y="20"/>
                  </a:lnTo>
                  <a:lnTo>
                    <a:pt x="178" y="12"/>
                  </a:lnTo>
                  <a:lnTo>
                    <a:pt x="190" y="6"/>
                  </a:lnTo>
                  <a:lnTo>
                    <a:pt x="202" y="2"/>
                  </a:lnTo>
                  <a:lnTo>
                    <a:pt x="216" y="0"/>
                  </a:lnTo>
                  <a:lnTo>
                    <a:pt x="216" y="8"/>
                  </a:lnTo>
                  <a:lnTo>
                    <a:pt x="216" y="8"/>
                  </a:lnTo>
                  <a:lnTo>
                    <a:pt x="204" y="24"/>
                  </a:lnTo>
                  <a:lnTo>
                    <a:pt x="188" y="50"/>
                  </a:lnTo>
                  <a:lnTo>
                    <a:pt x="142" y="122"/>
                  </a:lnTo>
                  <a:lnTo>
                    <a:pt x="142" y="122"/>
                  </a:lnTo>
                  <a:lnTo>
                    <a:pt x="98" y="202"/>
                  </a:lnTo>
                  <a:lnTo>
                    <a:pt x="68" y="262"/>
                  </a:lnTo>
                  <a:lnTo>
                    <a:pt x="68" y="262"/>
                  </a:lnTo>
                  <a:lnTo>
                    <a:pt x="64" y="274"/>
                  </a:lnTo>
                  <a:lnTo>
                    <a:pt x="60" y="276"/>
                  </a:lnTo>
                  <a:lnTo>
                    <a:pt x="56" y="278"/>
                  </a:lnTo>
                  <a:lnTo>
                    <a:pt x="56" y="278"/>
                  </a:lnTo>
                  <a:lnTo>
                    <a:pt x="50" y="282"/>
                  </a:lnTo>
                  <a:lnTo>
                    <a:pt x="40" y="282"/>
                  </a:lnTo>
                  <a:lnTo>
                    <a:pt x="40" y="282"/>
                  </a:lnTo>
                  <a:lnTo>
                    <a:pt x="32" y="282"/>
                  </a:lnTo>
                  <a:lnTo>
                    <a:pt x="28" y="278"/>
                  </a:lnTo>
                  <a:lnTo>
                    <a:pt x="28" y="278"/>
                  </a:lnTo>
                  <a:lnTo>
                    <a:pt x="24" y="274"/>
                  </a:lnTo>
                  <a:lnTo>
                    <a:pt x="20" y="266"/>
                  </a:lnTo>
                  <a:lnTo>
                    <a:pt x="20" y="266"/>
                  </a:lnTo>
                  <a:lnTo>
                    <a:pt x="8" y="234"/>
                  </a:lnTo>
                  <a:lnTo>
                    <a:pt x="2" y="206"/>
                  </a:lnTo>
                  <a:lnTo>
                    <a:pt x="2" y="206"/>
                  </a:lnTo>
                  <a:lnTo>
                    <a:pt x="0" y="194"/>
                  </a:lnTo>
                  <a:lnTo>
                    <a:pt x="0" y="194"/>
                  </a:lnTo>
                  <a:close/>
                </a:path>
              </a:pathLst>
            </a:custGeom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/>
            </a:p>
          </p:txBody>
        </p:sp>
      </p:grp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Your footnote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22094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8" name="Object 5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5" name="Rectangle 44"/>
          <p:cNvSpPr/>
          <p:nvPr/>
        </p:nvSpPr>
        <p:spPr>
          <a:xfrm>
            <a:off x="3176" y="1320152"/>
            <a:ext cx="9137650" cy="4229747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9000">
                <a:srgbClr val="0070C0">
                  <a:alpha val="22000"/>
                </a:srgbClr>
              </a:gs>
              <a:gs pos="100000">
                <a:schemeClr val="accent1">
                  <a:tint val="50000"/>
                  <a:shade val="100000"/>
                  <a:satMod val="350000"/>
                  <a:lumMod val="0"/>
                  <a:lumOff val="100000"/>
                  <a:alpha val="0"/>
                </a:schemeClr>
              </a:gs>
            </a:gsLst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Subtitle 4"/>
          <p:cNvSpPr>
            <a:spLocks noGrp="1"/>
          </p:cNvSpPr>
          <p:nvPr>
            <p:ph type="subTitle" idx="1"/>
          </p:nvPr>
        </p:nvSpPr>
        <p:spPr>
          <a:xfrm>
            <a:off x="628650" y="866381"/>
            <a:ext cx="7891272" cy="243785"/>
          </a:xfrm>
        </p:spPr>
        <p:txBody>
          <a:bodyPr/>
          <a:lstStyle/>
          <a:p>
            <a:pPr>
              <a:lnSpc>
                <a:spcPct val="80000"/>
              </a:lnSpc>
            </a:pPr>
            <a:r>
              <a:rPr lang="en-US"/>
              <a:t>Replace this text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437962"/>
            <a:ext cx="7886700" cy="395173"/>
          </a:xfrm>
        </p:spPr>
        <p:txBody>
          <a:bodyPr/>
          <a:lstStyle/>
          <a:p>
            <a:pPr>
              <a:lnSpc>
                <a:spcPct val="80000"/>
              </a:lnSpc>
            </a:pPr>
            <a:r>
              <a:rPr lang="en-US"/>
              <a:t>BUSINESS EXCELLENCE MODEL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5C11E9-EA40-D54F-953A-82A4C72DAAAD}" type="slidenum">
              <a:rPr lang="en-US" smtClean="0"/>
              <a:t>6</a:t>
            </a:fld>
            <a:r>
              <a:rPr lang="en-US" smtClean="0"/>
              <a:t> I</a:t>
            </a:r>
            <a:endParaRPr lang="en-US" dirty="0"/>
          </a:p>
        </p:txBody>
      </p:sp>
      <p:grpSp>
        <p:nvGrpSpPr>
          <p:cNvPr id="3" name="Group 2"/>
          <p:cNvGrpSpPr/>
          <p:nvPr/>
        </p:nvGrpSpPr>
        <p:grpSpPr>
          <a:xfrm>
            <a:off x="1313180" y="1506270"/>
            <a:ext cx="6562090" cy="4535406"/>
            <a:chOff x="1656080" y="1697546"/>
            <a:chExt cx="5876290" cy="4061413"/>
          </a:xfrm>
        </p:grpSpPr>
        <p:sp>
          <p:nvSpPr>
            <p:cNvPr id="14" name="Rektangel 14"/>
            <p:cNvSpPr/>
            <p:nvPr/>
          </p:nvSpPr>
          <p:spPr>
            <a:xfrm>
              <a:off x="1656080" y="2527229"/>
              <a:ext cx="771326" cy="2100850"/>
            </a:xfrm>
            <a:prstGeom prst="rect">
              <a:avLst/>
            </a:prstGeom>
            <a:gradFill rotWithShape="1">
              <a:gsLst>
                <a:gs pos="0">
                  <a:srgbClr val="E6E6E6">
                    <a:tint val="100000"/>
                    <a:shade val="100000"/>
                    <a:satMod val="130000"/>
                  </a:srgbClr>
                </a:gs>
                <a:gs pos="100000">
                  <a:srgbClr val="E6E6E6">
                    <a:tint val="50000"/>
                    <a:shade val="100000"/>
                    <a:satMod val="350000"/>
                  </a:srgbClr>
                </a:gs>
              </a:gsLst>
              <a:lin ang="16200000" scaled="0"/>
            </a:gradFill>
            <a:ln w="9525" cap="flat" cmpd="sng" algn="ctr">
              <a:solidFill>
                <a:sysClr val="window" lastClr="FFFFFF">
                  <a:lumMod val="85000"/>
                </a:sysClr>
              </a:solidFill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" lastClr="FFFFFF"/>
                </a:solidFill>
                <a:latin typeface="Calibri"/>
                <a:cs typeface="+mn-cs"/>
              </a:endParaRPr>
            </a:p>
          </p:txBody>
        </p:sp>
        <p:sp>
          <p:nvSpPr>
            <p:cNvPr id="15" name="Rektangel 15"/>
            <p:cNvSpPr/>
            <p:nvPr/>
          </p:nvSpPr>
          <p:spPr>
            <a:xfrm>
              <a:off x="4193338" y="2557677"/>
              <a:ext cx="771326" cy="2100850"/>
            </a:xfrm>
            <a:prstGeom prst="rect">
              <a:avLst/>
            </a:prstGeom>
            <a:gradFill rotWithShape="1">
              <a:gsLst>
                <a:gs pos="0">
                  <a:srgbClr val="E6E6E6">
                    <a:tint val="100000"/>
                    <a:shade val="100000"/>
                    <a:satMod val="130000"/>
                  </a:srgbClr>
                </a:gs>
                <a:gs pos="100000">
                  <a:srgbClr val="E6E6E6">
                    <a:tint val="50000"/>
                    <a:shade val="100000"/>
                    <a:satMod val="350000"/>
                  </a:srgbClr>
                </a:gs>
              </a:gsLst>
              <a:lin ang="16200000" scaled="0"/>
            </a:gradFill>
            <a:ln w="9525" cap="flat" cmpd="sng" algn="ctr">
              <a:solidFill>
                <a:sysClr val="window" lastClr="FFFFFF">
                  <a:lumMod val="85000"/>
                </a:sysClr>
              </a:solidFill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" lastClr="FFFFFF"/>
                </a:solidFill>
                <a:latin typeface="Calibri"/>
                <a:cs typeface="+mn-cs"/>
              </a:endParaRPr>
            </a:p>
          </p:txBody>
        </p:sp>
        <p:sp>
          <p:nvSpPr>
            <p:cNvPr id="16" name="Rektangel 16"/>
            <p:cNvSpPr/>
            <p:nvPr/>
          </p:nvSpPr>
          <p:spPr>
            <a:xfrm>
              <a:off x="6761044" y="2557677"/>
              <a:ext cx="771326" cy="2100850"/>
            </a:xfrm>
            <a:prstGeom prst="rect">
              <a:avLst/>
            </a:prstGeom>
            <a:gradFill rotWithShape="1">
              <a:gsLst>
                <a:gs pos="0">
                  <a:srgbClr val="E6E6E6">
                    <a:tint val="100000"/>
                    <a:shade val="100000"/>
                    <a:satMod val="130000"/>
                  </a:srgbClr>
                </a:gs>
                <a:gs pos="100000">
                  <a:srgbClr val="E6E6E6">
                    <a:tint val="50000"/>
                    <a:shade val="100000"/>
                    <a:satMod val="350000"/>
                  </a:srgbClr>
                </a:gs>
              </a:gsLst>
              <a:lin ang="16200000" scaled="0"/>
            </a:gradFill>
            <a:ln w="9525" cap="flat" cmpd="sng" algn="ctr">
              <a:solidFill>
                <a:sysClr val="window" lastClr="FFFFFF">
                  <a:lumMod val="85000"/>
                </a:sysClr>
              </a:solidFill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" lastClr="FFFFFF"/>
                </a:solidFill>
                <a:latin typeface="Calibri"/>
                <a:cs typeface="+mn-cs"/>
              </a:endParaRPr>
            </a:p>
          </p:txBody>
        </p:sp>
        <p:sp>
          <p:nvSpPr>
            <p:cNvPr id="17" name="Rektangel 20"/>
            <p:cNvSpPr>
              <a:spLocks/>
            </p:cNvSpPr>
            <p:nvPr/>
          </p:nvSpPr>
          <p:spPr>
            <a:xfrm>
              <a:off x="2508599" y="2547528"/>
              <a:ext cx="1583249" cy="630509"/>
            </a:xfrm>
            <a:prstGeom prst="rect">
              <a:avLst/>
            </a:prstGeom>
            <a:gradFill rotWithShape="1">
              <a:gsLst>
                <a:gs pos="0">
                  <a:srgbClr val="E6E6E6">
                    <a:tint val="100000"/>
                    <a:shade val="100000"/>
                    <a:satMod val="130000"/>
                  </a:srgbClr>
                </a:gs>
                <a:gs pos="100000">
                  <a:srgbClr val="E6E6E6">
                    <a:tint val="50000"/>
                    <a:shade val="100000"/>
                    <a:satMod val="350000"/>
                  </a:srgbClr>
                </a:gs>
              </a:gsLst>
              <a:lin ang="16200000" scaled="0"/>
            </a:gradFill>
            <a:ln w="9525" cap="flat" cmpd="sng" algn="ctr">
              <a:solidFill>
                <a:sysClr val="window" lastClr="FFFFFF">
                  <a:lumMod val="85000"/>
                </a:sysClr>
              </a:solidFill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" lastClr="FFFFFF"/>
                </a:solidFill>
                <a:latin typeface="Calibri"/>
                <a:cs typeface="+mn-cs"/>
              </a:endParaRPr>
            </a:p>
          </p:txBody>
        </p:sp>
        <p:sp>
          <p:nvSpPr>
            <p:cNvPr id="18" name="Rektangel 21"/>
            <p:cNvSpPr>
              <a:spLocks/>
            </p:cNvSpPr>
            <p:nvPr/>
          </p:nvSpPr>
          <p:spPr>
            <a:xfrm>
              <a:off x="2508599" y="3268109"/>
              <a:ext cx="1583249" cy="630509"/>
            </a:xfrm>
            <a:prstGeom prst="rect">
              <a:avLst/>
            </a:prstGeom>
            <a:gradFill rotWithShape="1">
              <a:gsLst>
                <a:gs pos="0">
                  <a:srgbClr val="E6E6E6">
                    <a:tint val="100000"/>
                    <a:shade val="100000"/>
                    <a:satMod val="130000"/>
                  </a:srgbClr>
                </a:gs>
                <a:gs pos="100000">
                  <a:srgbClr val="E6E6E6">
                    <a:tint val="50000"/>
                    <a:shade val="100000"/>
                    <a:satMod val="350000"/>
                  </a:srgbClr>
                </a:gs>
              </a:gsLst>
              <a:lin ang="16200000" scaled="0"/>
            </a:gradFill>
            <a:ln w="9525" cap="flat" cmpd="sng" algn="ctr">
              <a:solidFill>
                <a:sysClr val="window" lastClr="FFFFFF">
                  <a:lumMod val="85000"/>
                </a:sysClr>
              </a:solidFill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" lastClr="FFFFFF"/>
                </a:solidFill>
                <a:latin typeface="Calibri"/>
                <a:cs typeface="+mn-cs"/>
              </a:endParaRPr>
            </a:p>
          </p:txBody>
        </p:sp>
        <p:sp>
          <p:nvSpPr>
            <p:cNvPr id="19" name="Rektangel 22"/>
            <p:cNvSpPr>
              <a:spLocks/>
            </p:cNvSpPr>
            <p:nvPr/>
          </p:nvSpPr>
          <p:spPr>
            <a:xfrm>
              <a:off x="2508599" y="3998839"/>
              <a:ext cx="1583249" cy="630509"/>
            </a:xfrm>
            <a:prstGeom prst="rect">
              <a:avLst/>
            </a:prstGeom>
            <a:gradFill rotWithShape="1">
              <a:gsLst>
                <a:gs pos="0">
                  <a:srgbClr val="E6E6E6">
                    <a:tint val="100000"/>
                    <a:shade val="100000"/>
                    <a:satMod val="130000"/>
                  </a:srgbClr>
                </a:gs>
                <a:gs pos="100000">
                  <a:srgbClr val="E6E6E6">
                    <a:tint val="50000"/>
                    <a:shade val="100000"/>
                    <a:satMod val="350000"/>
                  </a:srgbClr>
                </a:gs>
              </a:gsLst>
              <a:lin ang="16200000" scaled="0"/>
            </a:gradFill>
            <a:ln w="9525" cap="flat" cmpd="sng" algn="ctr">
              <a:solidFill>
                <a:sysClr val="window" lastClr="FFFFFF">
                  <a:lumMod val="85000"/>
                </a:sysClr>
              </a:solidFill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" lastClr="FFFFFF"/>
                </a:solidFill>
                <a:latin typeface="Calibri"/>
                <a:cs typeface="+mn-cs"/>
              </a:endParaRPr>
            </a:p>
          </p:txBody>
        </p:sp>
        <p:sp>
          <p:nvSpPr>
            <p:cNvPr id="20" name="Rektangel 23"/>
            <p:cNvSpPr>
              <a:spLocks/>
            </p:cNvSpPr>
            <p:nvPr/>
          </p:nvSpPr>
          <p:spPr>
            <a:xfrm>
              <a:off x="5066155" y="2557677"/>
              <a:ext cx="1583249" cy="630509"/>
            </a:xfrm>
            <a:prstGeom prst="rect">
              <a:avLst/>
            </a:prstGeom>
            <a:gradFill rotWithShape="1">
              <a:gsLst>
                <a:gs pos="0">
                  <a:srgbClr val="E6E6E6">
                    <a:tint val="100000"/>
                    <a:shade val="100000"/>
                    <a:satMod val="130000"/>
                  </a:srgbClr>
                </a:gs>
                <a:gs pos="100000">
                  <a:srgbClr val="E6E6E6">
                    <a:tint val="50000"/>
                    <a:shade val="100000"/>
                    <a:satMod val="350000"/>
                  </a:srgbClr>
                </a:gs>
              </a:gsLst>
              <a:lin ang="16200000" scaled="0"/>
            </a:gradFill>
            <a:ln w="9525" cap="flat" cmpd="sng" algn="ctr">
              <a:solidFill>
                <a:sysClr val="window" lastClr="FFFFFF">
                  <a:lumMod val="85000"/>
                </a:sysClr>
              </a:solidFill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" lastClr="FFFFFF"/>
                </a:solidFill>
                <a:latin typeface="Calibri"/>
                <a:cs typeface="+mn-cs"/>
              </a:endParaRPr>
            </a:p>
          </p:txBody>
        </p:sp>
        <p:sp>
          <p:nvSpPr>
            <p:cNvPr id="21" name="Rektangel 24"/>
            <p:cNvSpPr>
              <a:spLocks/>
            </p:cNvSpPr>
            <p:nvPr/>
          </p:nvSpPr>
          <p:spPr>
            <a:xfrm>
              <a:off x="5066155" y="3278258"/>
              <a:ext cx="1583249" cy="630509"/>
            </a:xfrm>
            <a:prstGeom prst="rect">
              <a:avLst/>
            </a:prstGeom>
            <a:gradFill rotWithShape="1">
              <a:gsLst>
                <a:gs pos="0">
                  <a:srgbClr val="E6E6E6">
                    <a:tint val="100000"/>
                    <a:shade val="100000"/>
                    <a:satMod val="130000"/>
                  </a:srgbClr>
                </a:gs>
                <a:gs pos="100000">
                  <a:srgbClr val="E6E6E6">
                    <a:tint val="50000"/>
                    <a:shade val="100000"/>
                    <a:satMod val="350000"/>
                  </a:srgbClr>
                </a:gs>
              </a:gsLst>
              <a:lin ang="16200000" scaled="0"/>
            </a:gradFill>
            <a:ln w="9525" cap="flat" cmpd="sng" algn="ctr">
              <a:solidFill>
                <a:sysClr val="window" lastClr="FFFFFF">
                  <a:lumMod val="85000"/>
                </a:sysClr>
              </a:solidFill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" lastClr="FFFFFF"/>
                </a:solidFill>
                <a:latin typeface="Calibri"/>
                <a:cs typeface="+mn-cs"/>
              </a:endParaRPr>
            </a:p>
          </p:txBody>
        </p:sp>
        <p:sp>
          <p:nvSpPr>
            <p:cNvPr id="22" name="Rektangel 25"/>
            <p:cNvSpPr>
              <a:spLocks/>
            </p:cNvSpPr>
            <p:nvPr/>
          </p:nvSpPr>
          <p:spPr>
            <a:xfrm>
              <a:off x="5066155" y="4008988"/>
              <a:ext cx="1583249" cy="630509"/>
            </a:xfrm>
            <a:prstGeom prst="rect">
              <a:avLst/>
            </a:prstGeom>
            <a:gradFill rotWithShape="1">
              <a:gsLst>
                <a:gs pos="0">
                  <a:srgbClr val="E6E6E6">
                    <a:tint val="100000"/>
                    <a:shade val="100000"/>
                    <a:satMod val="130000"/>
                  </a:srgbClr>
                </a:gs>
                <a:gs pos="100000">
                  <a:srgbClr val="E6E6E6">
                    <a:tint val="50000"/>
                    <a:shade val="100000"/>
                    <a:satMod val="350000"/>
                  </a:srgbClr>
                </a:gs>
              </a:gsLst>
              <a:lin ang="16200000" scaled="0"/>
            </a:gradFill>
            <a:ln w="9525" cap="flat" cmpd="sng" algn="ctr">
              <a:solidFill>
                <a:sysClr val="window" lastClr="FFFFFF">
                  <a:lumMod val="85000"/>
                </a:sysClr>
              </a:solidFill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" lastClr="FFFFFF"/>
                </a:solidFill>
                <a:latin typeface="Calibri"/>
                <a:cs typeface="+mn-cs"/>
              </a:endParaRPr>
            </a:p>
          </p:txBody>
        </p:sp>
        <p:sp>
          <p:nvSpPr>
            <p:cNvPr id="23" name="Nedadbuet pil 26"/>
            <p:cNvSpPr/>
            <p:nvPr/>
          </p:nvSpPr>
          <p:spPr>
            <a:xfrm>
              <a:off x="3970059" y="1697546"/>
              <a:ext cx="1593398" cy="532824"/>
            </a:xfrm>
            <a:prstGeom prst="curvedDownArrow">
              <a:avLst>
                <a:gd name="adj1" fmla="val 33715"/>
                <a:gd name="adj2" fmla="val 80790"/>
                <a:gd name="adj3" fmla="val 52658"/>
              </a:avLst>
            </a:prstGeom>
            <a:gradFill flip="none" rotWithShape="1">
              <a:gsLst>
                <a:gs pos="11000">
                  <a:srgbClr val="376092"/>
                </a:gs>
                <a:gs pos="100000">
                  <a:srgbClr val="17375E"/>
                </a:gs>
              </a:gsLst>
              <a:lin ang="10800000" scaled="1"/>
              <a:tileRect/>
            </a:gradFill>
            <a:ln w="76200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sz="4000" kern="0" dirty="0" err="1">
                <a:solidFill>
                  <a:schemeClr val="bg1"/>
                </a:solidFill>
                <a:latin typeface="Calibri"/>
                <a:cs typeface="+mn-cs"/>
              </a:endParaRPr>
            </a:p>
          </p:txBody>
        </p:sp>
        <p:sp>
          <p:nvSpPr>
            <p:cNvPr id="24" name="Ellipse 36"/>
            <p:cNvSpPr/>
            <p:nvPr/>
          </p:nvSpPr>
          <p:spPr bwMode="auto">
            <a:xfrm>
              <a:off x="3707637" y="5469118"/>
              <a:ext cx="1739833" cy="289841"/>
            </a:xfrm>
            <a:prstGeom prst="ellipse">
              <a:avLst/>
            </a:prstGeom>
            <a:gradFill flip="none" rotWithShape="1">
              <a:gsLst>
                <a:gs pos="24000">
                  <a:sysClr val="windowText" lastClr="000000">
                    <a:alpha val="22000"/>
                  </a:sysClr>
                </a:gs>
                <a:gs pos="100000">
                  <a:sysClr val="window" lastClr="FFFFFF">
                    <a:alpha val="0"/>
                  </a:sysClr>
                </a:gs>
              </a:gsLst>
              <a:path path="shape">
                <a:fillToRect l="50000" t="50000" r="50000" b="50000"/>
              </a:path>
              <a:tileRect/>
            </a:gradFill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 dirty="0" err="1">
                <a:solidFill>
                  <a:sysClr val="window" lastClr="FFFFFF"/>
                </a:solidFill>
                <a:latin typeface="Calibri"/>
                <a:cs typeface="+mn-cs"/>
              </a:endParaRPr>
            </a:p>
          </p:txBody>
        </p:sp>
        <p:sp>
          <p:nvSpPr>
            <p:cNvPr id="25" name="Tekstboks 38"/>
            <p:cNvSpPr txBox="1">
              <a:spLocks noChangeArrowheads="1"/>
            </p:cNvSpPr>
            <p:nvPr/>
          </p:nvSpPr>
          <p:spPr bwMode="auto">
            <a:xfrm>
              <a:off x="2303025" y="2222758"/>
              <a:ext cx="1982979" cy="3077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itchFamily="-112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itchFamily="-112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itchFamily="-112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itchFamily="-112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itchFamily="-112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-112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-112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-112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-112" charset="0"/>
                </a:defRPr>
              </a:lvl9pPr>
            </a:lstStyle>
            <a:p>
              <a:pPr algn="ctr"/>
              <a:r>
                <a:rPr lang="da-DK" sz="1400" dirty="0"/>
                <a:t>PROJECT MANAGEMENT</a:t>
              </a:r>
            </a:p>
          </p:txBody>
        </p:sp>
        <p:sp>
          <p:nvSpPr>
            <p:cNvPr id="26" name="Tekstboks 39"/>
            <p:cNvSpPr txBox="1">
              <a:spLocks noChangeArrowheads="1"/>
            </p:cNvSpPr>
            <p:nvPr/>
          </p:nvSpPr>
          <p:spPr bwMode="auto">
            <a:xfrm>
              <a:off x="2813070" y="2759389"/>
              <a:ext cx="1025052" cy="2462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itchFamily="-112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itchFamily="-112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itchFamily="-112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itchFamily="-112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itchFamily="-112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-112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-112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-112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-112" charset="0"/>
                </a:defRPr>
              </a:lvl9pPr>
            </a:lstStyle>
            <a:p>
              <a:pPr algn="ctr"/>
              <a:r>
                <a:rPr lang="da-DK" sz="1000"/>
                <a:t>LEADERSHIP</a:t>
              </a:r>
            </a:p>
          </p:txBody>
        </p:sp>
        <p:sp>
          <p:nvSpPr>
            <p:cNvPr id="27" name="Tekstboks 40"/>
            <p:cNvSpPr txBox="1">
              <a:spLocks noChangeArrowheads="1"/>
            </p:cNvSpPr>
            <p:nvPr/>
          </p:nvSpPr>
          <p:spPr bwMode="auto">
            <a:xfrm rot="16200000">
              <a:off x="4068378" y="3476161"/>
              <a:ext cx="1073260" cy="2462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itchFamily="-112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itchFamily="-112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itchFamily="-112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itchFamily="-112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itchFamily="-112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-112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-112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-112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-112" charset="0"/>
                </a:defRPr>
              </a:lvl9pPr>
            </a:lstStyle>
            <a:p>
              <a:pPr algn="ctr"/>
              <a:r>
                <a:rPr lang="da-DK" sz="1000"/>
                <a:t>PROCESSES</a:t>
              </a:r>
            </a:p>
          </p:txBody>
        </p:sp>
        <p:sp>
          <p:nvSpPr>
            <p:cNvPr id="28" name="Tekstboks 41"/>
            <p:cNvSpPr txBox="1">
              <a:spLocks noChangeArrowheads="1"/>
            </p:cNvSpPr>
            <p:nvPr/>
          </p:nvSpPr>
          <p:spPr bwMode="auto">
            <a:xfrm>
              <a:off x="2847323" y="4180254"/>
              <a:ext cx="951472" cy="2462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itchFamily="-112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itchFamily="-112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itchFamily="-112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itchFamily="-112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itchFamily="-112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-112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-112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-112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-112" charset="0"/>
                </a:defRPr>
              </a:lvl9pPr>
            </a:lstStyle>
            <a:p>
              <a:pPr algn="ctr"/>
              <a:r>
                <a:rPr lang="da-DK" sz="1000"/>
                <a:t>RESSOURCES</a:t>
              </a:r>
            </a:p>
          </p:txBody>
        </p:sp>
        <p:sp>
          <p:nvSpPr>
            <p:cNvPr id="37" name="Tekstboks 42"/>
            <p:cNvSpPr txBox="1">
              <a:spLocks noChangeArrowheads="1"/>
            </p:cNvSpPr>
            <p:nvPr/>
          </p:nvSpPr>
          <p:spPr bwMode="auto">
            <a:xfrm rot="16200000">
              <a:off x="6404547" y="3455812"/>
              <a:ext cx="1471610" cy="2462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itchFamily="-112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itchFamily="-112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itchFamily="-112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itchFamily="-112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itchFamily="-112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-112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-112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-112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-112" charset="0"/>
                </a:defRPr>
              </a:lvl9pPr>
            </a:lstStyle>
            <a:p>
              <a:pPr algn="ctr"/>
              <a:r>
                <a:rPr lang="da-DK" sz="1000"/>
                <a:t>TARGET ACHIEVEMENT</a:t>
              </a:r>
            </a:p>
          </p:txBody>
        </p:sp>
        <p:sp>
          <p:nvSpPr>
            <p:cNvPr id="38" name="Tekstboks 43"/>
            <p:cNvSpPr txBox="1">
              <a:spLocks noChangeArrowheads="1"/>
            </p:cNvSpPr>
            <p:nvPr/>
          </p:nvSpPr>
          <p:spPr bwMode="auto">
            <a:xfrm>
              <a:off x="5056006" y="2751728"/>
              <a:ext cx="1603547" cy="2462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itchFamily="-112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itchFamily="-112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itchFamily="-112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itchFamily="-112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itchFamily="-112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-112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-112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-112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-112" charset="0"/>
                </a:defRPr>
              </a:lvl9pPr>
            </a:lstStyle>
            <a:p>
              <a:pPr algn="ctr"/>
              <a:r>
                <a:rPr lang="da-DK" sz="1000" dirty="0"/>
                <a:t>CUSTOMER SATISFACTION</a:t>
              </a:r>
            </a:p>
          </p:txBody>
        </p:sp>
        <p:sp>
          <p:nvSpPr>
            <p:cNvPr id="39" name="Tekstboks 44"/>
            <p:cNvSpPr txBox="1">
              <a:spLocks noChangeArrowheads="1"/>
            </p:cNvSpPr>
            <p:nvPr/>
          </p:nvSpPr>
          <p:spPr bwMode="auto">
            <a:xfrm>
              <a:off x="5066155" y="3449474"/>
              <a:ext cx="1573100" cy="2462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itchFamily="-112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itchFamily="-112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itchFamily="-112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itchFamily="-112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itchFamily="-112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-112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-112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-112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-112" charset="0"/>
                </a:defRPr>
              </a:lvl9pPr>
            </a:lstStyle>
            <a:p>
              <a:pPr algn="ctr"/>
              <a:r>
                <a:rPr lang="da-DK" sz="1000" dirty="0"/>
                <a:t>EMPLOYEE SATISFACTION</a:t>
              </a:r>
            </a:p>
          </p:txBody>
        </p:sp>
        <p:sp>
          <p:nvSpPr>
            <p:cNvPr id="40" name="Tekstboks 45"/>
            <p:cNvSpPr txBox="1">
              <a:spLocks noChangeArrowheads="1"/>
            </p:cNvSpPr>
            <p:nvPr/>
          </p:nvSpPr>
          <p:spPr bwMode="auto">
            <a:xfrm>
              <a:off x="2816876" y="3439374"/>
              <a:ext cx="951472" cy="2462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itchFamily="-112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itchFamily="-112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itchFamily="-112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itchFamily="-112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itchFamily="-112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-112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-112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-112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-112" charset="0"/>
                </a:defRPr>
              </a:lvl9pPr>
            </a:lstStyle>
            <a:p>
              <a:pPr algn="ctr"/>
              <a:r>
                <a:rPr lang="da-DK" sz="1000"/>
                <a:t>EMPLOYEE</a:t>
              </a:r>
            </a:p>
          </p:txBody>
        </p:sp>
        <p:sp>
          <p:nvSpPr>
            <p:cNvPr id="41" name="Tekstboks 46"/>
            <p:cNvSpPr txBox="1">
              <a:spLocks noChangeArrowheads="1"/>
            </p:cNvSpPr>
            <p:nvPr/>
          </p:nvSpPr>
          <p:spPr bwMode="auto">
            <a:xfrm>
              <a:off x="5066155" y="4142170"/>
              <a:ext cx="1562951" cy="4001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itchFamily="-112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itchFamily="-112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itchFamily="-112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itchFamily="-112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itchFamily="-112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-112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-112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-112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-112" charset="0"/>
                </a:defRPr>
              </a:lvl9pPr>
            </a:lstStyle>
            <a:p>
              <a:pPr algn="ctr"/>
              <a:r>
                <a:rPr lang="da-DK" sz="1000" dirty="0"/>
                <a:t>SATISFACTION OF OTHER INVOLVED GROUPS</a:t>
              </a:r>
            </a:p>
          </p:txBody>
        </p:sp>
        <p:sp>
          <p:nvSpPr>
            <p:cNvPr id="42" name="Tekstboks 47"/>
            <p:cNvSpPr txBox="1">
              <a:spLocks noChangeArrowheads="1"/>
            </p:cNvSpPr>
            <p:nvPr/>
          </p:nvSpPr>
          <p:spPr bwMode="auto">
            <a:xfrm rot="16200000">
              <a:off x="1320515" y="3438686"/>
              <a:ext cx="1500789" cy="2462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itchFamily="-112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itchFamily="-112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itchFamily="-112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itchFamily="-112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itchFamily="-112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-112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-112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-112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-112" charset="0"/>
                </a:defRPr>
              </a:lvl9pPr>
            </a:lstStyle>
            <a:p>
              <a:pPr algn="ctr"/>
              <a:r>
                <a:rPr lang="da-DK" sz="1000" dirty="0"/>
                <a:t>PROJECT TARGET</a:t>
              </a:r>
            </a:p>
          </p:txBody>
        </p:sp>
        <p:sp>
          <p:nvSpPr>
            <p:cNvPr id="43" name="Tekstboks 48"/>
            <p:cNvSpPr txBox="1">
              <a:spLocks noChangeArrowheads="1"/>
            </p:cNvSpPr>
            <p:nvPr/>
          </p:nvSpPr>
          <p:spPr bwMode="auto">
            <a:xfrm>
              <a:off x="5404541" y="2243057"/>
              <a:ext cx="818943" cy="3077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itchFamily="-112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itchFamily="-112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itchFamily="-112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itchFamily="-112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itchFamily="-112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-112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-112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-112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-112" charset="0"/>
                </a:defRPr>
              </a:lvl9pPr>
            </a:lstStyle>
            <a:p>
              <a:pPr algn="ctr"/>
              <a:r>
                <a:rPr lang="da-DK" sz="1400"/>
                <a:t>PROJECT</a:t>
              </a:r>
            </a:p>
          </p:txBody>
        </p:sp>
        <p:sp>
          <p:nvSpPr>
            <p:cNvPr id="44" name="Nedadbuet pil 49"/>
            <p:cNvSpPr/>
            <p:nvPr/>
          </p:nvSpPr>
          <p:spPr>
            <a:xfrm rot="10800000">
              <a:off x="3746781" y="4711809"/>
              <a:ext cx="1593398" cy="532824"/>
            </a:xfrm>
            <a:prstGeom prst="curvedDownArrow">
              <a:avLst>
                <a:gd name="adj1" fmla="val 33715"/>
                <a:gd name="adj2" fmla="val 80790"/>
                <a:gd name="adj3" fmla="val 52658"/>
              </a:avLst>
            </a:prstGeom>
            <a:gradFill flip="none" rotWithShape="1">
              <a:gsLst>
                <a:gs pos="11000">
                  <a:srgbClr val="376092"/>
                </a:gs>
                <a:gs pos="100000">
                  <a:srgbClr val="17375E"/>
                </a:gs>
              </a:gsLst>
              <a:lin ang="10800000" scaled="1"/>
              <a:tileRect/>
            </a:gradFill>
            <a:ln w="76200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/>
              <a:endParaRPr lang="da-DK" sz="4000" kern="0" dirty="0" err="1">
                <a:solidFill>
                  <a:schemeClr val="bg1"/>
                </a:solidFill>
                <a:latin typeface="Calibri"/>
              </a:endParaRPr>
            </a:p>
          </p:txBody>
        </p:sp>
      </p:grpSp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Your footnote</a:t>
            </a:r>
            <a:endParaRPr lang="en-US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567990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6" name="Object 5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28650" y="866381"/>
            <a:ext cx="7891272" cy="243785"/>
          </a:xfrm>
        </p:spPr>
        <p:txBody>
          <a:bodyPr/>
          <a:lstStyle/>
          <a:p>
            <a:pPr>
              <a:lnSpc>
                <a:spcPct val="80000"/>
              </a:lnSpc>
            </a:pPr>
            <a:r>
              <a:rPr lang="en-US"/>
              <a:t>Replace this text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437962"/>
            <a:ext cx="7886700" cy="395173"/>
          </a:xfrm>
        </p:spPr>
        <p:txBody>
          <a:bodyPr/>
          <a:lstStyle/>
          <a:p>
            <a:pPr>
              <a:lnSpc>
                <a:spcPct val="80000"/>
              </a:lnSpc>
            </a:pPr>
            <a:r>
              <a:rPr lang="en-US"/>
              <a:t>BUSINESS EXCELLENCE MODEL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5C11E9-EA40-D54F-953A-82A4C72DAAAD}" type="slidenum">
              <a:rPr lang="en-US" smtClean="0"/>
              <a:t>7</a:t>
            </a:fld>
            <a:r>
              <a:rPr lang="en-US" smtClean="0"/>
              <a:t> I</a:t>
            </a:r>
            <a:endParaRPr lang="en-US" dirty="0"/>
          </a:p>
        </p:txBody>
      </p:sp>
      <p:grpSp>
        <p:nvGrpSpPr>
          <p:cNvPr id="66" name="Gruppe 16"/>
          <p:cNvGrpSpPr/>
          <p:nvPr/>
        </p:nvGrpSpPr>
        <p:grpSpPr bwMode="auto">
          <a:xfrm>
            <a:off x="1735160" y="2070429"/>
            <a:ext cx="5440363" cy="2911611"/>
            <a:chOff x="4961114" y="1953641"/>
            <a:chExt cx="2856700" cy="1528862"/>
          </a:xfrm>
          <a:gradFill>
            <a:gsLst>
              <a:gs pos="0">
                <a:srgbClr val="376092"/>
              </a:gs>
              <a:gs pos="100000">
                <a:srgbClr val="17375E"/>
              </a:gs>
            </a:gsLst>
            <a:lin ang="5400000" scaled="0"/>
          </a:gradFill>
        </p:grpSpPr>
        <p:sp>
          <p:nvSpPr>
            <p:cNvPr id="67" name="Rektangel 11"/>
            <p:cNvSpPr/>
            <p:nvPr/>
          </p:nvSpPr>
          <p:spPr>
            <a:xfrm>
              <a:off x="4961114" y="2013627"/>
              <a:ext cx="2762656" cy="107004"/>
            </a:xfrm>
            <a:prstGeom prst="rect">
              <a:avLst/>
            </a:prstGeom>
            <a:grpFill/>
            <a:ln w="9525" cap="flat" cmpd="sng" algn="ctr">
              <a:noFill/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" lastClr="FFFFFF"/>
                </a:solidFill>
                <a:latin typeface="Calibri"/>
                <a:cs typeface="+mn-cs"/>
              </a:endParaRPr>
            </a:p>
          </p:txBody>
        </p:sp>
        <p:sp>
          <p:nvSpPr>
            <p:cNvPr id="68" name="Rektangel 12"/>
            <p:cNvSpPr/>
            <p:nvPr/>
          </p:nvSpPr>
          <p:spPr>
            <a:xfrm>
              <a:off x="5055158" y="2671864"/>
              <a:ext cx="2762656" cy="107004"/>
            </a:xfrm>
            <a:prstGeom prst="rect">
              <a:avLst/>
            </a:prstGeom>
            <a:grpFill/>
            <a:ln w="9525" cap="flat" cmpd="sng" algn="ctr">
              <a:noFill/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" lastClr="FFFFFF"/>
                </a:solidFill>
                <a:latin typeface="Calibri"/>
                <a:cs typeface="+mn-cs"/>
              </a:endParaRPr>
            </a:p>
          </p:txBody>
        </p:sp>
        <p:sp>
          <p:nvSpPr>
            <p:cNvPr id="69" name="Rektangel 13"/>
            <p:cNvSpPr/>
            <p:nvPr/>
          </p:nvSpPr>
          <p:spPr>
            <a:xfrm>
              <a:off x="4993549" y="3375499"/>
              <a:ext cx="2762656" cy="107004"/>
            </a:xfrm>
            <a:prstGeom prst="rect">
              <a:avLst/>
            </a:prstGeom>
            <a:grpFill/>
            <a:ln w="9525" cap="flat" cmpd="sng" algn="ctr">
              <a:noFill/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" lastClr="FFFFFF"/>
                </a:solidFill>
                <a:latin typeface="Calibri"/>
                <a:cs typeface="+mn-cs"/>
              </a:endParaRPr>
            </a:p>
          </p:txBody>
        </p:sp>
        <p:sp>
          <p:nvSpPr>
            <p:cNvPr id="70" name="Rektangel 14"/>
            <p:cNvSpPr/>
            <p:nvPr/>
          </p:nvSpPr>
          <p:spPr>
            <a:xfrm rot="5400000">
              <a:off x="6479442" y="2583513"/>
              <a:ext cx="1228928" cy="111853"/>
            </a:xfrm>
            <a:prstGeom prst="rect">
              <a:avLst/>
            </a:prstGeom>
            <a:grpFill/>
            <a:ln w="9525" cap="flat" cmpd="sng" algn="ctr">
              <a:noFill/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" lastClr="FFFFFF"/>
                </a:solidFill>
                <a:latin typeface="Calibri"/>
                <a:cs typeface="+mn-cs"/>
              </a:endParaRPr>
            </a:p>
          </p:txBody>
        </p:sp>
        <p:sp>
          <p:nvSpPr>
            <p:cNvPr id="71" name="Rektangel 15"/>
            <p:cNvSpPr/>
            <p:nvPr/>
          </p:nvSpPr>
          <p:spPr>
            <a:xfrm rot="5400000">
              <a:off x="5104600" y="2512178"/>
              <a:ext cx="1228928" cy="111853"/>
            </a:xfrm>
            <a:prstGeom prst="rect">
              <a:avLst/>
            </a:prstGeom>
            <a:grpFill/>
            <a:ln w="9525" cap="flat" cmpd="sng" algn="ctr">
              <a:noFill/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" lastClr="FFFFFF"/>
                </a:solidFill>
                <a:latin typeface="Calibri"/>
                <a:cs typeface="+mn-cs"/>
              </a:endParaRPr>
            </a:p>
          </p:txBody>
        </p:sp>
      </p:grpSp>
      <p:sp>
        <p:nvSpPr>
          <p:cNvPr id="72" name="Rektangel 2"/>
          <p:cNvSpPr/>
          <p:nvPr/>
        </p:nvSpPr>
        <p:spPr bwMode="auto">
          <a:xfrm>
            <a:off x="1354070" y="1591766"/>
            <a:ext cx="1129640" cy="3946044"/>
          </a:xfrm>
          <a:prstGeom prst="rect">
            <a:avLst/>
          </a:prstGeom>
          <a:gradFill rotWithShape="1">
            <a:gsLst>
              <a:gs pos="0">
                <a:schemeClr val="bg1">
                  <a:lumMod val="95000"/>
                </a:schemeClr>
              </a:gs>
              <a:gs pos="100000">
                <a:srgbClr val="D9D9D9"/>
              </a:gs>
            </a:gsLst>
            <a:lin ang="5400000"/>
          </a:gradFill>
          <a:ln w="9525">
            <a:solidFill>
              <a:schemeClr val="bg1"/>
            </a:solidFill>
            <a:miter lim="800000"/>
            <a:headEnd/>
            <a:tailEnd/>
          </a:ln>
          <a:effectLst>
            <a:outerShdw blurRad="40000" dist="23000" dir="5400000" rotWithShape="0">
              <a:srgbClr val="808080">
                <a:alpha val="34998"/>
              </a:srgbClr>
            </a:outerShdw>
          </a:effectLst>
        </p:spPr>
        <p:txBody>
          <a:bodyPr anchor="ctr"/>
          <a:lstStyle/>
          <a:p>
            <a:pPr marL="85725"/>
            <a:endParaRPr lang="da-DK" sz="1600" b="1">
              <a:solidFill>
                <a:srgbClr val="C60000"/>
              </a:solidFill>
              <a:latin typeface="Arial"/>
              <a:cs typeface="Arial"/>
            </a:endParaRPr>
          </a:p>
        </p:txBody>
      </p:sp>
      <p:sp>
        <p:nvSpPr>
          <p:cNvPr id="73" name="Rektangel 3"/>
          <p:cNvSpPr/>
          <p:nvPr/>
        </p:nvSpPr>
        <p:spPr bwMode="auto">
          <a:xfrm>
            <a:off x="3915438" y="1591766"/>
            <a:ext cx="1164636" cy="3946044"/>
          </a:xfrm>
          <a:prstGeom prst="rect">
            <a:avLst/>
          </a:prstGeom>
          <a:gradFill rotWithShape="1">
            <a:gsLst>
              <a:gs pos="0">
                <a:schemeClr val="bg1">
                  <a:lumMod val="95000"/>
                </a:schemeClr>
              </a:gs>
              <a:gs pos="100000">
                <a:srgbClr val="D9D9D9"/>
              </a:gs>
            </a:gsLst>
            <a:lin ang="5400000"/>
          </a:gradFill>
          <a:ln w="9525">
            <a:solidFill>
              <a:schemeClr val="bg1"/>
            </a:solidFill>
            <a:miter lim="800000"/>
            <a:headEnd/>
            <a:tailEnd/>
          </a:ln>
          <a:effectLst>
            <a:outerShdw blurRad="40000" dist="23000" dir="5400000" rotWithShape="0">
              <a:srgbClr val="808080">
                <a:alpha val="34998"/>
              </a:srgbClr>
            </a:outerShdw>
          </a:effectLst>
        </p:spPr>
        <p:txBody>
          <a:bodyPr anchor="ctr"/>
          <a:lstStyle/>
          <a:p>
            <a:pPr marL="85725"/>
            <a:endParaRPr lang="da-DK" sz="1600" b="1">
              <a:solidFill>
                <a:srgbClr val="C60000"/>
              </a:solidFill>
              <a:latin typeface="Arial"/>
              <a:cs typeface="Arial"/>
            </a:endParaRPr>
          </a:p>
        </p:txBody>
      </p:sp>
      <p:sp>
        <p:nvSpPr>
          <p:cNvPr id="74" name="Rektangel 4"/>
          <p:cNvSpPr/>
          <p:nvPr/>
        </p:nvSpPr>
        <p:spPr bwMode="auto">
          <a:xfrm>
            <a:off x="6530269" y="1591766"/>
            <a:ext cx="1168835" cy="3946044"/>
          </a:xfrm>
          <a:prstGeom prst="rect">
            <a:avLst/>
          </a:prstGeom>
          <a:gradFill rotWithShape="1">
            <a:gsLst>
              <a:gs pos="0">
                <a:schemeClr val="bg1">
                  <a:lumMod val="95000"/>
                </a:schemeClr>
              </a:gs>
              <a:gs pos="100000">
                <a:srgbClr val="D9D9D9"/>
              </a:gs>
            </a:gsLst>
            <a:lin ang="5400000"/>
          </a:gradFill>
          <a:ln w="9525">
            <a:solidFill>
              <a:schemeClr val="bg1"/>
            </a:solidFill>
            <a:miter lim="800000"/>
            <a:headEnd/>
            <a:tailEnd/>
          </a:ln>
          <a:effectLst>
            <a:outerShdw blurRad="40000" dist="23000" dir="5400000" rotWithShape="0">
              <a:srgbClr val="808080">
                <a:alpha val="34998"/>
              </a:srgbClr>
            </a:outerShdw>
          </a:effectLst>
        </p:spPr>
        <p:txBody>
          <a:bodyPr anchor="ctr"/>
          <a:lstStyle/>
          <a:p>
            <a:pPr marL="85725"/>
            <a:endParaRPr lang="da-DK" sz="1600" b="1">
              <a:solidFill>
                <a:srgbClr val="C60000"/>
              </a:solidFill>
              <a:latin typeface="Arial"/>
              <a:cs typeface="Arial"/>
            </a:endParaRPr>
          </a:p>
        </p:txBody>
      </p:sp>
      <p:sp>
        <p:nvSpPr>
          <p:cNvPr id="75" name="Rektangel 8"/>
          <p:cNvSpPr/>
          <p:nvPr/>
        </p:nvSpPr>
        <p:spPr bwMode="auto">
          <a:xfrm>
            <a:off x="2675213" y="1572169"/>
            <a:ext cx="1049853" cy="1142239"/>
          </a:xfrm>
          <a:prstGeom prst="rect">
            <a:avLst/>
          </a:prstGeom>
          <a:gradFill rotWithShape="1">
            <a:gsLst>
              <a:gs pos="0">
                <a:schemeClr val="bg1">
                  <a:lumMod val="95000"/>
                </a:schemeClr>
              </a:gs>
              <a:gs pos="100000">
                <a:srgbClr val="D9D9D9"/>
              </a:gs>
            </a:gsLst>
            <a:lin ang="5400000"/>
          </a:gradFill>
          <a:ln w="9525">
            <a:solidFill>
              <a:schemeClr val="bg1"/>
            </a:solidFill>
            <a:miter lim="800000"/>
            <a:headEnd/>
            <a:tailEnd/>
          </a:ln>
          <a:effectLst>
            <a:outerShdw blurRad="40000" dist="23000" dir="5400000" rotWithShape="0">
              <a:srgbClr val="808080">
                <a:alpha val="34998"/>
              </a:srgbClr>
            </a:outerShdw>
          </a:effectLst>
        </p:spPr>
        <p:txBody>
          <a:bodyPr anchor="ctr"/>
          <a:lstStyle/>
          <a:p>
            <a:pPr marL="85725"/>
            <a:endParaRPr lang="da-DK" sz="1600" b="1">
              <a:solidFill>
                <a:srgbClr val="C60000"/>
              </a:solidFill>
              <a:latin typeface="Arial"/>
              <a:cs typeface="Arial"/>
            </a:endParaRPr>
          </a:p>
        </p:txBody>
      </p:sp>
      <p:sp>
        <p:nvSpPr>
          <p:cNvPr id="76" name="Rektangel 9"/>
          <p:cNvSpPr/>
          <p:nvPr/>
        </p:nvSpPr>
        <p:spPr bwMode="auto">
          <a:xfrm>
            <a:off x="2668214" y="2962173"/>
            <a:ext cx="1051253" cy="1143639"/>
          </a:xfrm>
          <a:prstGeom prst="rect">
            <a:avLst/>
          </a:prstGeom>
          <a:gradFill rotWithShape="1">
            <a:gsLst>
              <a:gs pos="0">
                <a:schemeClr val="bg1">
                  <a:lumMod val="95000"/>
                </a:schemeClr>
              </a:gs>
              <a:gs pos="100000">
                <a:srgbClr val="D9D9D9"/>
              </a:gs>
            </a:gsLst>
            <a:lin ang="5400000"/>
          </a:gradFill>
          <a:ln w="9525">
            <a:solidFill>
              <a:schemeClr val="bg1"/>
            </a:solidFill>
            <a:miter lim="800000"/>
            <a:headEnd/>
            <a:tailEnd/>
          </a:ln>
          <a:effectLst>
            <a:outerShdw blurRad="40000" dist="23000" dir="5400000" rotWithShape="0">
              <a:srgbClr val="808080">
                <a:alpha val="34998"/>
              </a:srgbClr>
            </a:outerShdw>
          </a:effectLst>
        </p:spPr>
        <p:txBody>
          <a:bodyPr anchor="ctr"/>
          <a:lstStyle/>
          <a:p>
            <a:pPr marL="85725"/>
            <a:endParaRPr lang="da-DK" sz="1600" b="1">
              <a:solidFill>
                <a:srgbClr val="C60000"/>
              </a:solidFill>
              <a:latin typeface="Arial"/>
              <a:cs typeface="Arial"/>
            </a:endParaRPr>
          </a:p>
        </p:txBody>
      </p:sp>
      <p:sp>
        <p:nvSpPr>
          <p:cNvPr id="77" name="Rektangel 10"/>
          <p:cNvSpPr/>
          <p:nvPr/>
        </p:nvSpPr>
        <p:spPr bwMode="auto">
          <a:xfrm>
            <a:off x="2686411" y="4382973"/>
            <a:ext cx="1051251" cy="1142239"/>
          </a:xfrm>
          <a:prstGeom prst="rect">
            <a:avLst/>
          </a:prstGeom>
          <a:gradFill rotWithShape="1">
            <a:gsLst>
              <a:gs pos="0">
                <a:schemeClr val="bg1">
                  <a:lumMod val="95000"/>
                </a:schemeClr>
              </a:gs>
              <a:gs pos="100000">
                <a:srgbClr val="D9D9D9"/>
              </a:gs>
            </a:gsLst>
            <a:lin ang="5400000"/>
          </a:gradFill>
          <a:ln w="9525">
            <a:solidFill>
              <a:schemeClr val="bg1"/>
            </a:solidFill>
            <a:miter lim="800000"/>
            <a:headEnd/>
            <a:tailEnd/>
          </a:ln>
          <a:effectLst>
            <a:outerShdw blurRad="40000" dist="23000" dir="5400000" rotWithShape="0">
              <a:srgbClr val="808080">
                <a:alpha val="34998"/>
              </a:srgbClr>
            </a:outerShdw>
          </a:effectLst>
        </p:spPr>
        <p:txBody>
          <a:bodyPr anchor="ctr"/>
          <a:lstStyle/>
          <a:p>
            <a:pPr marL="85725"/>
            <a:endParaRPr lang="da-DK" sz="1600" b="1">
              <a:solidFill>
                <a:srgbClr val="C60000"/>
              </a:solidFill>
              <a:latin typeface="Arial"/>
              <a:cs typeface="Arial"/>
            </a:endParaRPr>
          </a:p>
        </p:txBody>
      </p:sp>
      <p:sp>
        <p:nvSpPr>
          <p:cNvPr id="78" name="Rektangel 22"/>
          <p:cNvSpPr/>
          <p:nvPr/>
        </p:nvSpPr>
        <p:spPr bwMode="auto">
          <a:xfrm>
            <a:off x="5277445" y="1583367"/>
            <a:ext cx="1049852" cy="1142239"/>
          </a:xfrm>
          <a:prstGeom prst="rect">
            <a:avLst/>
          </a:prstGeom>
          <a:gradFill rotWithShape="1">
            <a:gsLst>
              <a:gs pos="0">
                <a:schemeClr val="bg1">
                  <a:lumMod val="95000"/>
                </a:schemeClr>
              </a:gs>
              <a:gs pos="100000">
                <a:srgbClr val="D9D9D9"/>
              </a:gs>
            </a:gsLst>
            <a:lin ang="5400000"/>
          </a:gradFill>
          <a:ln w="9525">
            <a:solidFill>
              <a:schemeClr val="bg1"/>
            </a:solidFill>
            <a:miter lim="800000"/>
            <a:headEnd/>
            <a:tailEnd/>
          </a:ln>
          <a:effectLst>
            <a:outerShdw blurRad="40000" dist="23000" dir="5400000" rotWithShape="0">
              <a:srgbClr val="808080">
                <a:alpha val="34998"/>
              </a:srgbClr>
            </a:outerShdw>
          </a:effectLst>
        </p:spPr>
        <p:txBody>
          <a:bodyPr anchor="ctr"/>
          <a:lstStyle/>
          <a:p>
            <a:pPr marL="85725"/>
            <a:endParaRPr lang="da-DK" sz="1600" b="1">
              <a:solidFill>
                <a:srgbClr val="C60000"/>
              </a:solidFill>
              <a:latin typeface="Arial"/>
              <a:cs typeface="Arial"/>
            </a:endParaRPr>
          </a:p>
        </p:txBody>
      </p:sp>
      <p:sp>
        <p:nvSpPr>
          <p:cNvPr id="79" name="Rektangel 23"/>
          <p:cNvSpPr/>
          <p:nvPr/>
        </p:nvSpPr>
        <p:spPr bwMode="auto">
          <a:xfrm>
            <a:off x="5271847" y="2962174"/>
            <a:ext cx="1049852" cy="1143638"/>
          </a:xfrm>
          <a:prstGeom prst="rect">
            <a:avLst/>
          </a:prstGeom>
          <a:gradFill rotWithShape="1">
            <a:gsLst>
              <a:gs pos="0">
                <a:schemeClr val="bg1">
                  <a:lumMod val="95000"/>
                </a:schemeClr>
              </a:gs>
              <a:gs pos="100000">
                <a:srgbClr val="D9D9D9"/>
              </a:gs>
            </a:gsLst>
            <a:lin ang="5400000"/>
          </a:gradFill>
          <a:ln w="9525">
            <a:solidFill>
              <a:schemeClr val="bg1"/>
            </a:solidFill>
            <a:miter lim="800000"/>
            <a:headEnd/>
            <a:tailEnd/>
          </a:ln>
          <a:effectLst>
            <a:outerShdw blurRad="40000" dist="23000" dir="5400000" rotWithShape="0">
              <a:srgbClr val="808080">
                <a:alpha val="34998"/>
              </a:srgbClr>
            </a:outerShdw>
          </a:effectLst>
        </p:spPr>
        <p:txBody>
          <a:bodyPr anchor="ctr"/>
          <a:lstStyle/>
          <a:p>
            <a:pPr marL="85725"/>
            <a:endParaRPr lang="da-DK" sz="1600" b="1">
              <a:solidFill>
                <a:srgbClr val="C60000"/>
              </a:solidFill>
              <a:latin typeface="Arial"/>
              <a:cs typeface="Arial"/>
            </a:endParaRPr>
          </a:p>
        </p:txBody>
      </p:sp>
      <p:sp>
        <p:nvSpPr>
          <p:cNvPr id="80" name="Rektangel 24"/>
          <p:cNvSpPr/>
          <p:nvPr/>
        </p:nvSpPr>
        <p:spPr bwMode="auto">
          <a:xfrm>
            <a:off x="5290045" y="4382973"/>
            <a:ext cx="1049852" cy="1142239"/>
          </a:xfrm>
          <a:prstGeom prst="rect">
            <a:avLst/>
          </a:prstGeom>
          <a:gradFill rotWithShape="1">
            <a:gsLst>
              <a:gs pos="0">
                <a:schemeClr val="bg1">
                  <a:lumMod val="95000"/>
                </a:schemeClr>
              </a:gs>
              <a:gs pos="100000">
                <a:srgbClr val="D9D9D9"/>
              </a:gs>
            </a:gsLst>
            <a:lin ang="5400000"/>
          </a:gradFill>
          <a:ln w="9525">
            <a:solidFill>
              <a:schemeClr val="bg1"/>
            </a:solidFill>
            <a:miter lim="800000"/>
            <a:headEnd/>
            <a:tailEnd/>
          </a:ln>
          <a:effectLst>
            <a:outerShdw blurRad="40000" dist="23000" dir="5400000" rotWithShape="0">
              <a:srgbClr val="808080">
                <a:alpha val="34998"/>
              </a:srgbClr>
            </a:outerShdw>
          </a:effectLst>
        </p:spPr>
        <p:txBody>
          <a:bodyPr anchor="ctr"/>
          <a:lstStyle/>
          <a:p>
            <a:pPr marL="85725"/>
            <a:endParaRPr lang="da-DK" sz="1600" b="1">
              <a:solidFill>
                <a:srgbClr val="C60000"/>
              </a:solidFill>
              <a:latin typeface="Arial"/>
              <a:cs typeface="Arial"/>
            </a:endParaRPr>
          </a:p>
        </p:txBody>
      </p:sp>
      <p:sp>
        <p:nvSpPr>
          <p:cNvPr id="81" name="Tekstboks 21"/>
          <p:cNvSpPr txBox="1">
            <a:spLocks noChangeArrowheads="1"/>
          </p:cNvSpPr>
          <p:nvPr/>
        </p:nvSpPr>
        <p:spPr bwMode="auto">
          <a:xfrm>
            <a:off x="1353370" y="2887479"/>
            <a:ext cx="1131040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-112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-112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-112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-112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-112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12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12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12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12" charset="0"/>
              </a:defRPr>
            </a:lvl9pPr>
          </a:lstStyle>
          <a:p>
            <a:pPr algn="ctr"/>
            <a:r>
              <a:rPr lang="da-DK" sz="1100" b="1" dirty="0"/>
              <a:t>LEADERSHIP</a:t>
            </a:r>
          </a:p>
        </p:txBody>
      </p:sp>
      <p:sp>
        <p:nvSpPr>
          <p:cNvPr id="82" name="Tekstboks 26"/>
          <p:cNvSpPr txBox="1">
            <a:spLocks noChangeArrowheads="1"/>
          </p:cNvSpPr>
          <p:nvPr/>
        </p:nvSpPr>
        <p:spPr bwMode="auto">
          <a:xfrm>
            <a:off x="3898640" y="2902826"/>
            <a:ext cx="1185632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-112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-112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-112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-112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-112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12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12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12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12" charset="0"/>
              </a:defRPr>
            </a:lvl9pPr>
          </a:lstStyle>
          <a:p>
            <a:pPr algn="ctr"/>
            <a:r>
              <a:rPr lang="da-DK" sz="1000" b="1" dirty="0"/>
              <a:t>PROCESSES</a:t>
            </a:r>
          </a:p>
        </p:txBody>
      </p:sp>
      <p:sp>
        <p:nvSpPr>
          <p:cNvPr id="83" name="Tekstboks 27"/>
          <p:cNvSpPr txBox="1">
            <a:spLocks noChangeArrowheads="1"/>
          </p:cNvSpPr>
          <p:nvPr/>
        </p:nvSpPr>
        <p:spPr bwMode="auto">
          <a:xfrm>
            <a:off x="2686411" y="4370375"/>
            <a:ext cx="1049852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-112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-112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-112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-112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-112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12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12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12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12" charset="0"/>
              </a:defRPr>
            </a:lvl9pPr>
          </a:lstStyle>
          <a:p>
            <a:pPr algn="ctr"/>
            <a:r>
              <a:rPr lang="da-DK" sz="1000" b="1" dirty="0" smtClean="0"/>
              <a:t>RESOURCES</a:t>
            </a:r>
            <a:endParaRPr lang="da-DK" sz="1000" b="1" dirty="0"/>
          </a:p>
        </p:txBody>
      </p:sp>
      <p:sp>
        <p:nvSpPr>
          <p:cNvPr id="84" name="Tekstboks 28"/>
          <p:cNvSpPr txBox="1">
            <a:spLocks noChangeArrowheads="1"/>
          </p:cNvSpPr>
          <p:nvPr/>
        </p:nvSpPr>
        <p:spPr bwMode="auto">
          <a:xfrm>
            <a:off x="2655615" y="2987370"/>
            <a:ext cx="1075048" cy="4073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-112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-112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-112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-112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-112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12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12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12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12" charset="0"/>
              </a:defRPr>
            </a:lvl9pPr>
          </a:lstStyle>
          <a:p>
            <a:pPr algn="ctr"/>
            <a:r>
              <a:rPr lang="da-DK" sz="1000" b="1" dirty="0"/>
              <a:t>POLICY &amp; STRATEGY</a:t>
            </a:r>
          </a:p>
        </p:txBody>
      </p:sp>
      <p:sp>
        <p:nvSpPr>
          <p:cNvPr id="85" name="Tekstboks 29"/>
          <p:cNvSpPr txBox="1">
            <a:spLocks noChangeArrowheads="1"/>
          </p:cNvSpPr>
          <p:nvPr/>
        </p:nvSpPr>
        <p:spPr bwMode="auto">
          <a:xfrm>
            <a:off x="2686411" y="1579632"/>
            <a:ext cx="1024655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-112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-112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-112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-112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-112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12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12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12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12" charset="0"/>
              </a:defRPr>
            </a:lvl9pPr>
          </a:lstStyle>
          <a:p>
            <a:pPr algn="ctr"/>
            <a:r>
              <a:rPr lang="da-DK" sz="1000" b="1" dirty="0"/>
              <a:t>PEOPLE MANAGEMENT</a:t>
            </a:r>
          </a:p>
        </p:txBody>
      </p:sp>
      <p:sp>
        <p:nvSpPr>
          <p:cNvPr id="86" name="Tekstboks 30"/>
          <p:cNvSpPr txBox="1">
            <a:spLocks noChangeArrowheads="1"/>
          </p:cNvSpPr>
          <p:nvPr/>
        </p:nvSpPr>
        <p:spPr bwMode="auto">
          <a:xfrm>
            <a:off x="6523269" y="2962174"/>
            <a:ext cx="1184233" cy="2449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-112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-112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-112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-112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-112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12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12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12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12" charset="0"/>
              </a:defRPr>
            </a:lvl9pPr>
          </a:lstStyle>
          <a:p>
            <a:pPr algn="ctr"/>
            <a:r>
              <a:rPr lang="da-DK" sz="1000" b="1"/>
              <a:t>BUSINESS RESULTS</a:t>
            </a:r>
          </a:p>
        </p:txBody>
      </p:sp>
      <p:sp>
        <p:nvSpPr>
          <p:cNvPr id="87" name="Tekstboks 31"/>
          <p:cNvSpPr txBox="1">
            <a:spLocks noChangeArrowheads="1"/>
          </p:cNvSpPr>
          <p:nvPr/>
        </p:nvSpPr>
        <p:spPr bwMode="auto">
          <a:xfrm>
            <a:off x="5291443" y="4367575"/>
            <a:ext cx="1052651" cy="4073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-112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-112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-112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-112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-112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12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12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12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12" charset="0"/>
              </a:defRPr>
            </a:lvl9pPr>
          </a:lstStyle>
          <a:p>
            <a:pPr algn="ctr"/>
            <a:r>
              <a:rPr lang="da-DK" sz="1000" b="1"/>
              <a:t>IMPACT ON SOCIETY</a:t>
            </a:r>
          </a:p>
        </p:txBody>
      </p:sp>
      <p:sp>
        <p:nvSpPr>
          <p:cNvPr id="88" name="Tekstboks 32"/>
          <p:cNvSpPr txBox="1">
            <a:spLocks noChangeArrowheads="1"/>
          </p:cNvSpPr>
          <p:nvPr/>
        </p:nvSpPr>
        <p:spPr bwMode="auto">
          <a:xfrm>
            <a:off x="5269046" y="2945376"/>
            <a:ext cx="1030255" cy="4073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-112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-112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-112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-112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-112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12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12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12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12" charset="0"/>
              </a:defRPr>
            </a:lvl9pPr>
          </a:lstStyle>
          <a:p>
            <a:pPr algn="ctr"/>
            <a:r>
              <a:rPr lang="da-DK" sz="1000" b="1" dirty="0"/>
              <a:t>CUSTOMER SATISFACTION</a:t>
            </a:r>
          </a:p>
        </p:txBody>
      </p:sp>
      <p:sp>
        <p:nvSpPr>
          <p:cNvPr id="89" name="Tekstboks 33"/>
          <p:cNvSpPr txBox="1">
            <a:spLocks noChangeArrowheads="1"/>
          </p:cNvSpPr>
          <p:nvPr/>
        </p:nvSpPr>
        <p:spPr bwMode="auto">
          <a:xfrm>
            <a:off x="5269046" y="1565171"/>
            <a:ext cx="1063850" cy="4073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-112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-112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-112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-112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-112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12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12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12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12" charset="0"/>
              </a:defRPr>
            </a:lvl9pPr>
          </a:lstStyle>
          <a:p>
            <a:pPr algn="ctr"/>
            <a:r>
              <a:rPr lang="da-DK" sz="1000" b="1"/>
              <a:t>PEOPLE SATISFACTION</a:t>
            </a:r>
          </a:p>
        </p:txBody>
      </p:sp>
      <p:sp>
        <p:nvSpPr>
          <p:cNvPr id="40" name="Rektangel 189"/>
          <p:cNvSpPr/>
          <p:nvPr/>
        </p:nvSpPr>
        <p:spPr bwMode="auto">
          <a:xfrm>
            <a:off x="1388788" y="3394712"/>
            <a:ext cx="1226728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da-DK" sz="1000" kern="0" noProof="1" smtClean="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</a:rPr>
              <a:t>EXAMPLE TEXT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endParaRPr lang="da-DK" sz="1000" kern="0" noProof="1" smtClean="0">
              <a:solidFill>
                <a:schemeClr val="tx1">
                  <a:lumMod val="85000"/>
                  <a:lumOff val="15000"/>
                </a:schemeClr>
              </a:solidFill>
              <a:latin typeface="Calibri" pitchFamily="34" charset="0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da-DK" sz="1000" kern="0" noProof="1" smtClean="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</a:rPr>
              <a:t>EXAMPLE TEXT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endParaRPr lang="da-DK" sz="1000" kern="0" dirty="0">
              <a:solidFill>
                <a:schemeClr val="tx1">
                  <a:lumMod val="85000"/>
                  <a:lumOff val="15000"/>
                </a:schemeClr>
              </a:solidFill>
              <a:latin typeface="Arial" pitchFamily="34" charset="0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da-DK" sz="1000" kern="0" noProof="1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</a:rPr>
              <a:t>EXAMPLE </a:t>
            </a:r>
            <a:r>
              <a:rPr lang="da-DK" sz="1000" kern="0" noProof="1" smtClean="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</a:rPr>
              <a:t>TEXT</a:t>
            </a:r>
            <a:endParaRPr lang="da-DK" sz="1000" kern="0" dirty="0">
              <a:solidFill>
                <a:schemeClr val="tx1">
                  <a:lumMod val="85000"/>
                  <a:lumOff val="15000"/>
                </a:schemeClr>
              </a:solidFill>
              <a:latin typeface="Arial" pitchFamily="34" charset="0"/>
            </a:endParaRPr>
          </a:p>
        </p:txBody>
      </p:sp>
      <p:cxnSp>
        <p:nvCxnSpPr>
          <p:cNvPr id="5" name="Straight Connector 4"/>
          <p:cNvCxnSpPr/>
          <p:nvPr/>
        </p:nvCxnSpPr>
        <p:spPr>
          <a:xfrm>
            <a:off x="1484550" y="3164431"/>
            <a:ext cx="868680" cy="0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5" name="Straight Connector 234"/>
          <p:cNvCxnSpPr/>
          <p:nvPr/>
        </p:nvCxnSpPr>
        <p:spPr>
          <a:xfrm>
            <a:off x="2777696" y="1981873"/>
            <a:ext cx="868680" cy="0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6" name="Straight Connector 235"/>
          <p:cNvCxnSpPr/>
          <p:nvPr/>
        </p:nvCxnSpPr>
        <p:spPr>
          <a:xfrm>
            <a:off x="2777696" y="3394712"/>
            <a:ext cx="868680" cy="0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7" name="Straight Connector 236"/>
          <p:cNvCxnSpPr/>
          <p:nvPr/>
        </p:nvCxnSpPr>
        <p:spPr>
          <a:xfrm>
            <a:off x="2777696" y="4616596"/>
            <a:ext cx="868680" cy="0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8" name="Straight Connector 237"/>
          <p:cNvCxnSpPr/>
          <p:nvPr/>
        </p:nvCxnSpPr>
        <p:spPr>
          <a:xfrm>
            <a:off x="4057116" y="3158487"/>
            <a:ext cx="868680" cy="0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9" name="Straight Connector 238"/>
          <p:cNvCxnSpPr/>
          <p:nvPr/>
        </p:nvCxnSpPr>
        <p:spPr>
          <a:xfrm>
            <a:off x="5349833" y="1968165"/>
            <a:ext cx="868680" cy="0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40" name="Straight Connector 239"/>
          <p:cNvCxnSpPr/>
          <p:nvPr/>
        </p:nvCxnSpPr>
        <p:spPr>
          <a:xfrm>
            <a:off x="5349833" y="3394712"/>
            <a:ext cx="868680" cy="0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41" name="Straight Connector 240"/>
          <p:cNvCxnSpPr/>
          <p:nvPr/>
        </p:nvCxnSpPr>
        <p:spPr>
          <a:xfrm>
            <a:off x="5349833" y="4778258"/>
            <a:ext cx="868680" cy="0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42" name="Straight Connector 241"/>
          <p:cNvCxnSpPr/>
          <p:nvPr/>
        </p:nvCxnSpPr>
        <p:spPr>
          <a:xfrm>
            <a:off x="6681045" y="3213635"/>
            <a:ext cx="868680" cy="0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3" name="Rektangel 189"/>
          <p:cNvSpPr/>
          <p:nvPr/>
        </p:nvSpPr>
        <p:spPr bwMode="auto">
          <a:xfrm>
            <a:off x="2674665" y="2024238"/>
            <a:ext cx="1226728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da-DK" sz="1000" kern="0" noProof="1" smtClean="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</a:rPr>
              <a:t>EXAMPLE TEXT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da-DK" sz="1000" kern="0" noProof="1" smtClean="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</a:rPr>
              <a:t>EXAMPLE TEXT</a:t>
            </a:r>
          </a:p>
          <a:p>
            <a:pPr>
              <a:buFont typeface="Arial" pitchFamily="34" charset="0"/>
              <a:buChar char="•"/>
              <a:defRPr/>
            </a:pPr>
            <a:r>
              <a:rPr lang="da-DK" sz="1000" kern="0" noProof="1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</a:rPr>
              <a:t>EXAMPLE TEXT</a:t>
            </a:r>
            <a:endParaRPr lang="da-DK" sz="1000" kern="0" dirty="0">
              <a:solidFill>
                <a:schemeClr val="tx1">
                  <a:lumMod val="85000"/>
                  <a:lumOff val="15000"/>
                </a:schemeClr>
              </a:solidFill>
              <a:latin typeface="Arial" pitchFamily="34" charset="0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endParaRPr lang="da-DK" sz="1000" kern="0" dirty="0">
              <a:solidFill>
                <a:schemeClr val="tx1">
                  <a:lumMod val="85000"/>
                  <a:lumOff val="15000"/>
                </a:schemeClr>
              </a:solidFill>
              <a:latin typeface="Arial" pitchFamily="34" charset="0"/>
            </a:endParaRPr>
          </a:p>
        </p:txBody>
      </p:sp>
      <p:sp>
        <p:nvSpPr>
          <p:cNvPr id="244" name="Rektangel 189"/>
          <p:cNvSpPr/>
          <p:nvPr/>
        </p:nvSpPr>
        <p:spPr bwMode="auto">
          <a:xfrm>
            <a:off x="2674665" y="3428225"/>
            <a:ext cx="1226728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da-DK" sz="1000" kern="0" noProof="1" smtClean="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</a:rPr>
              <a:t>EXAMPLE TEXT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da-DK" sz="1000" kern="0" noProof="1" smtClean="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</a:rPr>
              <a:t>EXAMPLE TEXT</a:t>
            </a:r>
          </a:p>
          <a:p>
            <a:pPr>
              <a:buFont typeface="Arial" pitchFamily="34" charset="0"/>
              <a:buChar char="•"/>
              <a:defRPr/>
            </a:pPr>
            <a:r>
              <a:rPr lang="da-DK" sz="1000" kern="0" noProof="1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</a:rPr>
              <a:t>EXAMPLE TEXT</a:t>
            </a:r>
            <a:endParaRPr lang="da-DK" sz="1000" kern="0" dirty="0">
              <a:solidFill>
                <a:schemeClr val="tx1">
                  <a:lumMod val="85000"/>
                  <a:lumOff val="15000"/>
                </a:schemeClr>
              </a:solidFill>
              <a:latin typeface="Arial" pitchFamily="34" charset="0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endParaRPr lang="da-DK" sz="1000" kern="0" dirty="0">
              <a:solidFill>
                <a:schemeClr val="tx1">
                  <a:lumMod val="85000"/>
                  <a:lumOff val="15000"/>
                </a:schemeClr>
              </a:solidFill>
              <a:latin typeface="Arial" pitchFamily="34" charset="0"/>
            </a:endParaRPr>
          </a:p>
        </p:txBody>
      </p:sp>
      <p:sp>
        <p:nvSpPr>
          <p:cNvPr id="245" name="Rektangel 189"/>
          <p:cNvSpPr/>
          <p:nvPr/>
        </p:nvSpPr>
        <p:spPr bwMode="auto">
          <a:xfrm>
            <a:off x="2674665" y="4695050"/>
            <a:ext cx="1226728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da-DK" sz="1000" kern="0" noProof="1" smtClean="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</a:rPr>
              <a:t>EXAMPLE TEXT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da-DK" sz="1000" kern="0" noProof="1" smtClean="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</a:rPr>
              <a:t>EXAMPLE TEXT</a:t>
            </a:r>
          </a:p>
          <a:p>
            <a:pPr>
              <a:buFont typeface="Arial" pitchFamily="34" charset="0"/>
              <a:buChar char="•"/>
              <a:defRPr/>
            </a:pPr>
            <a:r>
              <a:rPr lang="da-DK" sz="1000" kern="0" noProof="1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</a:rPr>
              <a:t>EXAMPLE TEXT</a:t>
            </a:r>
            <a:endParaRPr lang="da-DK" sz="1000" kern="0" dirty="0">
              <a:solidFill>
                <a:schemeClr val="tx1">
                  <a:lumMod val="85000"/>
                  <a:lumOff val="15000"/>
                </a:schemeClr>
              </a:solidFill>
              <a:latin typeface="Arial" pitchFamily="34" charset="0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endParaRPr lang="da-DK" sz="1000" kern="0" dirty="0">
              <a:solidFill>
                <a:schemeClr val="tx1">
                  <a:lumMod val="85000"/>
                  <a:lumOff val="15000"/>
                </a:schemeClr>
              </a:solidFill>
              <a:latin typeface="Arial" pitchFamily="34" charset="0"/>
            </a:endParaRPr>
          </a:p>
        </p:txBody>
      </p:sp>
      <p:sp>
        <p:nvSpPr>
          <p:cNvPr id="246" name="Rektangel 189"/>
          <p:cNvSpPr/>
          <p:nvPr/>
        </p:nvSpPr>
        <p:spPr bwMode="auto">
          <a:xfrm>
            <a:off x="4000976" y="3394712"/>
            <a:ext cx="1226728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da-DK" sz="1000" kern="0" noProof="1" smtClean="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</a:rPr>
              <a:t>EXAMPLE TEXT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endParaRPr lang="da-DK" sz="1000" kern="0" noProof="1" smtClean="0">
              <a:solidFill>
                <a:schemeClr val="tx1">
                  <a:lumMod val="85000"/>
                  <a:lumOff val="15000"/>
                </a:schemeClr>
              </a:solidFill>
              <a:latin typeface="Calibri" pitchFamily="34" charset="0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da-DK" sz="1000" kern="0" noProof="1" smtClean="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</a:rPr>
              <a:t>EXAMPLE TEXT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endParaRPr lang="da-DK" sz="1000" kern="0" dirty="0">
              <a:solidFill>
                <a:schemeClr val="tx1">
                  <a:lumMod val="85000"/>
                  <a:lumOff val="15000"/>
                </a:schemeClr>
              </a:solidFill>
              <a:latin typeface="Arial" pitchFamily="34" charset="0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da-DK" sz="1000" kern="0" noProof="1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</a:rPr>
              <a:t>EXAMPLE </a:t>
            </a:r>
            <a:r>
              <a:rPr lang="da-DK" sz="1000" kern="0" noProof="1" smtClean="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</a:rPr>
              <a:t>TEXT</a:t>
            </a:r>
            <a:endParaRPr lang="da-DK" sz="1000" kern="0" dirty="0">
              <a:solidFill>
                <a:schemeClr val="tx1">
                  <a:lumMod val="85000"/>
                  <a:lumOff val="15000"/>
                </a:schemeClr>
              </a:solidFill>
              <a:latin typeface="Arial" pitchFamily="34" charset="0"/>
            </a:endParaRPr>
          </a:p>
        </p:txBody>
      </p:sp>
      <p:sp>
        <p:nvSpPr>
          <p:cNvPr id="247" name="Rektangel 189"/>
          <p:cNvSpPr/>
          <p:nvPr/>
        </p:nvSpPr>
        <p:spPr bwMode="auto">
          <a:xfrm>
            <a:off x="5296541" y="2024238"/>
            <a:ext cx="1226728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da-DK" sz="1000" kern="0" noProof="1" smtClean="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</a:rPr>
              <a:t>EXAMPLE TEXT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da-DK" sz="1000" kern="0" noProof="1" smtClean="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</a:rPr>
              <a:t>EXAMPLE TEXT</a:t>
            </a:r>
          </a:p>
          <a:p>
            <a:pPr>
              <a:buFont typeface="Arial" pitchFamily="34" charset="0"/>
              <a:buChar char="•"/>
              <a:defRPr/>
            </a:pPr>
            <a:r>
              <a:rPr lang="da-DK" sz="1000" kern="0" noProof="1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</a:rPr>
              <a:t>EXAMPLE TEXT</a:t>
            </a:r>
            <a:endParaRPr lang="da-DK" sz="1000" kern="0" dirty="0">
              <a:solidFill>
                <a:schemeClr val="tx1">
                  <a:lumMod val="85000"/>
                  <a:lumOff val="15000"/>
                </a:schemeClr>
              </a:solidFill>
              <a:latin typeface="Arial" pitchFamily="34" charset="0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endParaRPr lang="da-DK" sz="1000" kern="0" dirty="0">
              <a:solidFill>
                <a:schemeClr val="tx1">
                  <a:lumMod val="85000"/>
                  <a:lumOff val="15000"/>
                </a:schemeClr>
              </a:solidFill>
              <a:latin typeface="Arial" pitchFamily="34" charset="0"/>
            </a:endParaRPr>
          </a:p>
        </p:txBody>
      </p:sp>
      <p:sp>
        <p:nvSpPr>
          <p:cNvPr id="248" name="Rektangel 189"/>
          <p:cNvSpPr/>
          <p:nvPr/>
        </p:nvSpPr>
        <p:spPr bwMode="auto">
          <a:xfrm>
            <a:off x="5296541" y="3428225"/>
            <a:ext cx="1226728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da-DK" sz="1000" kern="0" noProof="1" smtClean="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</a:rPr>
              <a:t>EXAMPLE TEXT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da-DK" sz="1000" kern="0" noProof="1" smtClean="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</a:rPr>
              <a:t>EXAMPLE TEXT</a:t>
            </a:r>
          </a:p>
          <a:p>
            <a:pPr>
              <a:buFont typeface="Arial" pitchFamily="34" charset="0"/>
              <a:buChar char="•"/>
              <a:defRPr/>
            </a:pPr>
            <a:r>
              <a:rPr lang="da-DK" sz="1000" kern="0" noProof="1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</a:rPr>
              <a:t>EXAMPLE TEXT</a:t>
            </a:r>
            <a:endParaRPr lang="da-DK" sz="1000" kern="0" dirty="0">
              <a:solidFill>
                <a:schemeClr val="tx1">
                  <a:lumMod val="85000"/>
                  <a:lumOff val="15000"/>
                </a:schemeClr>
              </a:solidFill>
              <a:latin typeface="Arial" pitchFamily="34" charset="0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endParaRPr lang="da-DK" sz="1000" kern="0" dirty="0">
              <a:solidFill>
                <a:schemeClr val="tx1">
                  <a:lumMod val="85000"/>
                  <a:lumOff val="15000"/>
                </a:schemeClr>
              </a:solidFill>
              <a:latin typeface="Arial" pitchFamily="34" charset="0"/>
            </a:endParaRPr>
          </a:p>
        </p:txBody>
      </p:sp>
      <p:sp>
        <p:nvSpPr>
          <p:cNvPr id="249" name="Rektangel 189"/>
          <p:cNvSpPr/>
          <p:nvPr/>
        </p:nvSpPr>
        <p:spPr bwMode="auto">
          <a:xfrm>
            <a:off x="5296541" y="4829924"/>
            <a:ext cx="1226728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da-DK" sz="1000" kern="0" noProof="1" smtClean="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</a:rPr>
              <a:t>EXAMPLE TEXT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da-DK" sz="1000" kern="0" noProof="1" smtClean="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</a:rPr>
              <a:t>EXAMPLE TEXT</a:t>
            </a:r>
          </a:p>
          <a:p>
            <a:pPr>
              <a:buFont typeface="Arial" pitchFamily="34" charset="0"/>
              <a:buChar char="•"/>
              <a:defRPr/>
            </a:pPr>
            <a:r>
              <a:rPr lang="da-DK" sz="1000" kern="0" noProof="1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</a:rPr>
              <a:t>EXAMPLE TEXT</a:t>
            </a:r>
            <a:endParaRPr lang="da-DK" sz="1000" kern="0" dirty="0">
              <a:solidFill>
                <a:schemeClr val="tx1">
                  <a:lumMod val="85000"/>
                  <a:lumOff val="15000"/>
                </a:schemeClr>
              </a:solidFill>
              <a:latin typeface="Arial" pitchFamily="34" charset="0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endParaRPr lang="da-DK" sz="1000" kern="0" dirty="0">
              <a:solidFill>
                <a:schemeClr val="tx1">
                  <a:lumMod val="85000"/>
                  <a:lumOff val="15000"/>
                </a:schemeClr>
              </a:solidFill>
              <a:latin typeface="Arial" pitchFamily="34" charset="0"/>
            </a:endParaRPr>
          </a:p>
        </p:txBody>
      </p:sp>
      <p:sp>
        <p:nvSpPr>
          <p:cNvPr id="250" name="Rektangel 189"/>
          <p:cNvSpPr/>
          <p:nvPr/>
        </p:nvSpPr>
        <p:spPr bwMode="auto">
          <a:xfrm>
            <a:off x="6615994" y="3394712"/>
            <a:ext cx="1226728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da-DK" sz="1000" kern="0" noProof="1" smtClean="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</a:rPr>
              <a:t>EXAMPLE TEXT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endParaRPr lang="da-DK" sz="1000" kern="0" noProof="1" smtClean="0">
              <a:solidFill>
                <a:schemeClr val="tx1">
                  <a:lumMod val="85000"/>
                  <a:lumOff val="15000"/>
                </a:schemeClr>
              </a:solidFill>
              <a:latin typeface="Calibri" pitchFamily="34" charset="0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da-DK" sz="1000" kern="0" noProof="1" smtClean="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</a:rPr>
              <a:t>EXAMPLE TEXT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endParaRPr lang="da-DK" sz="1000" kern="0" dirty="0">
              <a:solidFill>
                <a:schemeClr val="tx1">
                  <a:lumMod val="85000"/>
                  <a:lumOff val="15000"/>
                </a:schemeClr>
              </a:solidFill>
              <a:latin typeface="Arial" pitchFamily="34" charset="0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da-DK" sz="1000" kern="0" noProof="1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</a:rPr>
              <a:t>EXAMPLE </a:t>
            </a:r>
            <a:r>
              <a:rPr lang="da-DK" sz="1000" kern="0" noProof="1" smtClean="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</a:rPr>
              <a:t>TEXT</a:t>
            </a:r>
            <a:endParaRPr lang="da-DK" sz="1000" kern="0" dirty="0">
              <a:solidFill>
                <a:schemeClr val="tx1">
                  <a:lumMod val="85000"/>
                  <a:lumOff val="15000"/>
                </a:schemeClr>
              </a:solidFill>
              <a:latin typeface="Arial" pitchFamily="34" charset="0"/>
            </a:endParaRPr>
          </a:p>
        </p:txBody>
      </p:sp>
      <p:sp>
        <p:nvSpPr>
          <p:cNvPr id="6" name="Right Triangle 5"/>
          <p:cNvSpPr/>
          <p:nvPr/>
        </p:nvSpPr>
        <p:spPr>
          <a:xfrm rot="5400000">
            <a:off x="1354070" y="1591767"/>
            <a:ext cx="130480" cy="130480"/>
          </a:xfrm>
          <a:prstGeom prst="rtTriangle">
            <a:avLst/>
          </a:prstGeom>
          <a:solidFill>
            <a:srgbClr val="F0B71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1" name="Right Triangle 250"/>
          <p:cNvSpPr/>
          <p:nvPr/>
        </p:nvSpPr>
        <p:spPr>
          <a:xfrm rot="5400000">
            <a:off x="2675213" y="1579632"/>
            <a:ext cx="130480" cy="130480"/>
          </a:xfrm>
          <a:prstGeom prst="rtTriangle">
            <a:avLst/>
          </a:prstGeom>
          <a:solidFill>
            <a:srgbClr val="F0B71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2" name="Right Triangle 251"/>
          <p:cNvSpPr/>
          <p:nvPr/>
        </p:nvSpPr>
        <p:spPr>
          <a:xfrm rot="5400000">
            <a:off x="2668214" y="2963697"/>
            <a:ext cx="130480" cy="130480"/>
          </a:xfrm>
          <a:prstGeom prst="rtTriangle">
            <a:avLst/>
          </a:prstGeom>
          <a:solidFill>
            <a:srgbClr val="F0B71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3" name="Right Triangle 252"/>
          <p:cNvSpPr/>
          <p:nvPr/>
        </p:nvSpPr>
        <p:spPr>
          <a:xfrm rot="5400000">
            <a:off x="2686411" y="4382973"/>
            <a:ext cx="130480" cy="130480"/>
          </a:xfrm>
          <a:prstGeom prst="rtTriangle">
            <a:avLst/>
          </a:prstGeom>
          <a:solidFill>
            <a:srgbClr val="F0B71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4" name="Right Triangle 253"/>
          <p:cNvSpPr/>
          <p:nvPr/>
        </p:nvSpPr>
        <p:spPr>
          <a:xfrm rot="5400000">
            <a:off x="5277445" y="1583367"/>
            <a:ext cx="130480" cy="130480"/>
          </a:xfrm>
          <a:prstGeom prst="rtTriangle">
            <a:avLst/>
          </a:prstGeom>
          <a:solidFill>
            <a:srgbClr val="2A9B1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5" name="Right Triangle 254"/>
          <p:cNvSpPr/>
          <p:nvPr/>
        </p:nvSpPr>
        <p:spPr>
          <a:xfrm rot="5400000">
            <a:off x="5271847" y="2962174"/>
            <a:ext cx="130480" cy="130480"/>
          </a:xfrm>
          <a:prstGeom prst="rtTriangle">
            <a:avLst/>
          </a:prstGeom>
          <a:solidFill>
            <a:srgbClr val="2A9B1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6" name="Right Triangle 255"/>
          <p:cNvSpPr/>
          <p:nvPr/>
        </p:nvSpPr>
        <p:spPr>
          <a:xfrm rot="5400000">
            <a:off x="5290045" y="4382973"/>
            <a:ext cx="130480" cy="130480"/>
          </a:xfrm>
          <a:prstGeom prst="rtTriangle">
            <a:avLst/>
          </a:prstGeom>
          <a:solidFill>
            <a:srgbClr val="2A9B1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7" name="Right Triangle 256"/>
          <p:cNvSpPr/>
          <p:nvPr/>
        </p:nvSpPr>
        <p:spPr>
          <a:xfrm rot="5400000">
            <a:off x="6530269" y="1591766"/>
            <a:ext cx="130480" cy="130480"/>
          </a:xfrm>
          <a:prstGeom prst="rtTriangle">
            <a:avLst/>
          </a:prstGeom>
          <a:solidFill>
            <a:srgbClr val="2A9B1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8" name="Right Triangle 257"/>
          <p:cNvSpPr/>
          <p:nvPr/>
        </p:nvSpPr>
        <p:spPr>
          <a:xfrm rot="5400000">
            <a:off x="3926636" y="1591766"/>
            <a:ext cx="130480" cy="130480"/>
          </a:xfrm>
          <a:prstGeom prst="rtTriangle">
            <a:avLst/>
          </a:prstGeom>
          <a:solidFill>
            <a:srgbClr val="F0B71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Your footnote</a:t>
            </a:r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341170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5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ubtitle 4"/>
          <p:cNvSpPr>
            <a:spLocks noGrp="1"/>
          </p:cNvSpPr>
          <p:nvPr>
            <p:ph type="subTitle" idx="1"/>
          </p:nvPr>
        </p:nvSpPr>
        <p:spPr>
          <a:xfrm>
            <a:off x="628650" y="866381"/>
            <a:ext cx="7891272" cy="243785"/>
          </a:xfrm>
        </p:spPr>
        <p:txBody>
          <a:bodyPr/>
          <a:lstStyle/>
          <a:p>
            <a:pPr>
              <a:lnSpc>
                <a:spcPct val="80000"/>
              </a:lnSpc>
            </a:pPr>
            <a:r>
              <a:rPr lang="en-US"/>
              <a:t>Replace this text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28650" y="437962"/>
            <a:ext cx="7886700" cy="395173"/>
          </a:xfrm>
        </p:spPr>
        <p:txBody>
          <a:bodyPr/>
          <a:lstStyle/>
          <a:p>
            <a:pPr>
              <a:lnSpc>
                <a:spcPct val="80000"/>
              </a:lnSpc>
            </a:pPr>
            <a:r>
              <a:rPr lang="en-US"/>
              <a:t>BUSINESS EXCELLENCE MODEL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5C11E9-EA40-D54F-953A-82A4C72DAAAD}" type="slidenum">
              <a:rPr lang="en-US" smtClean="0"/>
              <a:t>8</a:t>
            </a:fld>
            <a:r>
              <a:rPr lang="en-US" smtClean="0"/>
              <a:t> I</a:t>
            </a:r>
            <a:endParaRPr lang="en-US" dirty="0"/>
          </a:p>
        </p:txBody>
      </p:sp>
      <p:sp>
        <p:nvSpPr>
          <p:cNvPr id="14" name="Ellipse 66"/>
          <p:cNvSpPr/>
          <p:nvPr/>
        </p:nvSpPr>
        <p:spPr>
          <a:xfrm>
            <a:off x="2922507" y="2411124"/>
            <a:ext cx="3255322" cy="3255321"/>
          </a:xfrm>
          <a:prstGeom prst="ellipse">
            <a:avLst/>
          </a:prstGeom>
          <a:gradFill flip="none" rotWithShape="1">
            <a:gsLst>
              <a:gs pos="0">
                <a:srgbClr val="95B3D7"/>
              </a:gs>
              <a:gs pos="100000">
                <a:schemeClr val="bg1">
                  <a:alpha val="0"/>
                </a:schemeClr>
              </a:gs>
            </a:gsLst>
            <a:path path="shape">
              <a:fillToRect l="50000" t="50000" r="50000" b="50000"/>
            </a:path>
            <a:tileRect/>
          </a:gradFill>
          <a:ln w="9525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a-DK" kern="0" dirty="0">
              <a:solidFill>
                <a:sysClr val="window" lastClr="FFFFFF"/>
              </a:solidFill>
              <a:latin typeface="Calibri"/>
              <a:cs typeface="+mn-cs"/>
            </a:endParaRPr>
          </a:p>
        </p:txBody>
      </p:sp>
      <p:sp>
        <p:nvSpPr>
          <p:cNvPr id="16" name="Nedadgående pil 39"/>
          <p:cNvSpPr/>
          <p:nvPr/>
        </p:nvSpPr>
        <p:spPr bwMode="auto">
          <a:xfrm rot="3186657" flipH="1">
            <a:off x="5788913" y="2095931"/>
            <a:ext cx="208435" cy="2108335"/>
          </a:xfrm>
          <a:prstGeom prst="downArrow">
            <a:avLst>
              <a:gd name="adj1" fmla="val 50000"/>
              <a:gd name="adj2" fmla="val 79412"/>
            </a:avLst>
          </a:prstGeom>
          <a:gradFill flip="none" rotWithShape="1">
            <a:gsLst>
              <a:gs pos="0">
                <a:srgbClr val="17375E"/>
              </a:gs>
              <a:gs pos="58000">
                <a:srgbClr val="95B3D7"/>
              </a:gs>
            </a:gsLst>
            <a:path path="circle">
              <a:fillToRect l="100000" t="100000"/>
            </a:path>
            <a:tileRect r="-100000" b="-100000"/>
          </a:gra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a-DK" kern="0" dirty="0" err="1">
              <a:solidFill>
                <a:sysClr val="window" lastClr="FFFFFF"/>
              </a:solidFill>
              <a:latin typeface="Calibri"/>
              <a:cs typeface="+mn-cs"/>
            </a:endParaRPr>
          </a:p>
        </p:txBody>
      </p:sp>
      <p:sp>
        <p:nvSpPr>
          <p:cNvPr id="17" name="Nedadgående pil 40"/>
          <p:cNvSpPr/>
          <p:nvPr/>
        </p:nvSpPr>
        <p:spPr bwMode="auto">
          <a:xfrm rot="7483001" flipH="1">
            <a:off x="5780818" y="3969366"/>
            <a:ext cx="196483" cy="2027449"/>
          </a:xfrm>
          <a:prstGeom prst="downArrow">
            <a:avLst>
              <a:gd name="adj1" fmla="val 50000"/>
              <a:gd name="adj2" fmla="val 79412"/>
            </a:avLst>
          </a:prstGeom>
          <a:gradFill flip="none" rotWithShape="1">
            <a:gsLst>
              <a:gs pos="0">
                <a:srgbClr val="17375E"/>
              </a:gs>
              <a:gs pos="58000">
                <a:srgbClr val="95B3D7"/>
              </a:gs>
            </a:gsLst>
            <a:path path="circle">
              <a:fillToRect l="100000" t="100000"/>
            </a:path>
            <a:tileRect r="-100000" b="-100000"/>
          </a:gra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a-DK" kern="0" dirty="0" err="1">
              <a:solidFill>
                <a:sysClr val="window" lastClr="FFFFFF"/>
              </a:solidFill>
              <a:latin typeface="Calibri"/>
              <a:cs typeface="+mn-cs"/>
            </a:endParaRPr>
          </a:p>
        </p:txBody>
      </p:sp>
      <p:sp>
        <p:nvSpPr>
          <p:cNvPr id="18" name="Nedadgående pil 41"/>
          <p:cNvSpPr/>
          <p:nvPr/>
        </p:nvSpPr>
        <p:spPr bwMode="auto">
          <a:xfrm rot="18413343">
            <a:off x="3145573" y="2065062"/>
            <a:ext cx="208077" cy="2092909"/>
          </a:xfrm>
          <a:prstGeom prst="downArrow">
            <a:avLst>
              <a:gd name="adj1" fmla="val 50000"/>
              <a:gd name="adj2" fmla="val 79412"/>
            </a:avLst>
          </a:prstGeom>
          <a:gradFill flip="none" rotWithShape="1">
            <a:gsLst>
              <a:gs pos="0">
                <a:srgbClr val="17375E"/>
              </a:gs>
              <a:gs pos="58000">
                <a:srgbClr val="95B3D7"/>
              </a:gs>
            </a:gsLst>
            <a:path path="circle">
              <a:fillToRect l="100000" t="100000"/>
            </a:path>
            <a:tileRect r="-100000" b="-100000"/>
          </a:gra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a-DK" kern="0" dirty="0" err="1">
              <a:solidFill>
                <a:sysClr val="window" lastClr="FFFFFF"/>
              </a:solidFill>
              <a:latin typeface="Calibri"/>
              <a:cs typeface="+mn-cs"/>
            </a:endParaRPr>
          </a:p>
        </p:txBody>
      </p:sp>
      <p:sp>
        <p:nvSpPr>
          <p:cNvPr id="19" name="Nedadgående pil 42"/>
          <p:cNvSpPr/>
          <p:nvPr/>
        </p:nvSpPr>
        <p:spPr bwMode="auto">
          <a:xfrm rot="14116999">
            <a:off x="3119814" y="3921850"/>
            <a:ext cx="170409" cy="2305246"/>
          </a:xfrm>
          <a:prstGeom prst="downArrow">
            <a:avLst>
              <a:gd name="adj1" fmla="val 50000"/>
              <a:gd name="adj2" fmla="val 79412"/>
            </a:avLst>
          </a:prstGeom>
          <a:gradFill flip="none" rotWithShape="1">
            <a:gsLst>
              <a:gs pos="0">
                <a:srgbClr val="17375E"/>
              </a:gs>
              <a:gs pos="58000">
                <a:srgbClr val="95B3D7"/>
              </a:gs>
            </a:gsLst>
            <a:path path="circle">
              <a:fillToRect l="100000" t="100000"/>
            </a:path>
            <a:tileRect r="-100000" b="-100000"/>
          </a:gra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a-DK" kern="0" dirty="0" err="1">
              <a:solidFill>
                <a:sysClr val="window" lastClr="FFFFFF"/>
              </a:solidFill>
              <a:latin typeface="Calibri"/>
              <a:cs typeface="+mn-cs"/>
            </a:endParaRPr>
          </a:p>
        </p:txBody>
      </p:sp>
      <p:sp>
        <p:nvSpPr>
          <p:cNvPr id="20" name="Ellipse 43"/>
          <p:cNvSpPr/>
          <p:nvPr/>
        </p:nvSpPr>
        <p:spPr bwMode="auto">
          <a:xfrm>
            <a:off x="3409226" y="5489805"/>
            <a:ext cx="2146661" cy="335770"/>
          </a:xfrm>
          <a:prstGeom prst="ellipse">
            <a:avLst/>
          </a:prstGeom>
          <a:gradFill flip="none" rotWithShape="1">
            <a:gsLst>
              <a:gs pos="24000">
                <a:sysClr val="windowText" lastClr="000000">
                  <a:alpha val="13000"/>
                </a:sysClr>
              </a:gs>
              <a:gs pos="100000">
                <a:sysClr val="window" lastClr="FFFFFF">
                  <a:alpha val="0"/>
                </a:sysClr>
              </a:gs>
            </a:gsLst>
            <a:path path="shape">
              <a:fillToRect l="50000" t="50000" r="50000" b="50000"/>
            </a:path>
            <a:tileRect/>
          </a:gradFill>
          <a:ln w="9525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a-DK" kern="0" dirty="0" err="1">
              <a:solidFill>
                <a:sysClr val="window" lastClr="FFFFFF"/>
              </a:solidFill>
              <a:latin typeface="Calibri"/>
              <a:ea typeface="ＭＳ Ｐゴシック" pitchFamily="-97" charset="-128"/>
              <a:cs typeface="+mn-cs"/>
            </a:endParaRPr>
          </a:p>
        </p:txBody>
      </p:sp>
      <p:sp>
        <p:nvSpPr>
          <p:cNvPr id="21" name="Ellipse 44"/>
          <p:cNvSpPr/>
          <p:nvPr/>
        </p:nvSpPr>
        <p:spPr bwMode="auto">
          <a:xfrm>
            <a:off x="744925" y="5886496"/>
            <a:ext cx="2321289" cy="317649"/>
          </a:xfrm>
          <a:prstGeom prst="ellipse">
            <a:avLst/>
          </a:prstGeom>
          <a:gradFill flip="none" rotWithShape="1">
            <a:gsLst>
              <a:gs pos="24000">
                <a:sysClr val="windowText" lastClr="000000">
                  <a:alpha val="22000"/>
                </a:sysClr>
              </a:gs>
              <a:gs pos="100000">
                <a:sysClr val="window" lastClr="FFFFFF">
                  <a:alpha val="0"/>
                </a:sysClr>
              </a:gs>
            </a:gsLst>
            <a:path path="shape">
              <a:fillToRect l="50000" t="50000" r="50000" b="50000"/>
            </a:path>
            <a:tileRect/>
          </a:gradFill>
          <a:ln w="9525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a-DK" kern="0" dirty="0" err="1">
              <a:solidFill>
                <a:sysClr val="window" lastClr="FFFFFF"/>
              </a:solidFill>
              <a:latin typeface="Calibri"/>
              <a:ea typeface="ＭＳ Ｐゴシック" pitchFamily="-97" charset="-128"/>
              <a:cs typeface="+mn-cs"/>
            </a:endParaRPr>
          </a:p>
        </p:txBody>
      </p:sp>
      <p:sp>
        <p:nvSpPr>
          <p:cNvPr id="22" name="Ellipse 45"/>
          <p:cNvSpPr/>
          <p:nvPr/>
        </p:nvSpPr>
        <p:spPr bwMode="auto">
          <a:xfrm>
            <a:off x="5637005" y="5936417"/>
            <a:ext cx="2808108" cy="317649"/>
          </a:xfrm>
          <a:prstGeom prst="ellipse">
            <a:avLst/>
          </a:prstGeom>
          <a:gradFill flip="none" rotWithShape="1">
            <a:gsLst>
              <a:gs pos="24000">
                <a:sysClr val="windowText" lastClr="000000">
                  <a:alpha val="22000"/>
                </a:sysClr>
              </a:gs>
              <a:gs pos="100000">
                <a:sysClr val="window" lastClr="FFFFFF">
                  <a:alpha val="0"/>
                </a:sysClr>
              </a:gs>
            </a:gsLst>
            <a:path path="shape">
              <a:fillToRect l="50000" t="50000" r="50000" b="50000"/>
            </a:path>
            <a:tileRect/>
          </a:gradFill>
          <a:ln w="9525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a-DK" kern="0" dirty="0" err="1">
              <a:solidFill>
                <a:sysClr val="window" lastClr="FFFFFF"/>
              </a:solidFill>
              <a:latin typeface="Calibri"/>
              <a:ea typeface="ＭＳ Ｐゴシック" pitchFamily="-97" charset="-128"/>
              <a:cs typeface="+mn-cs"/>
            </a:endParaRPr>
          </a:p>
        </p:txBody>
      </p:sp>
      <p:sp>
        <p:nvSpPr>
          <p:cNvPr id="23" name="Nedadgående pil 47"/>
          <p:cNvSpPr/>
          <p:nvPr/>
        </p:nvSpPr>
        <p:spPr bwMode="auto">
          <a:xfrm rot="5400000" flipH="1">
            <a:off x="6033326" y="3030167"/>
            <a:ext cx="184706" cy="2108335"/>
          </a:xfrm>
          <a:prstGeom prst="downArrow">
            <a:avLst>
              <a:gd name="adj1" fmla="val 50000"/>
              <a:gd name="adj2" fmla="val 79412"/>
            </a:avLst>
          </a:prstGeom>
          <a:gradFill flip="none" rotWithShape="1">
            <a:gsLst>
              <a:gs pos="0">
                <a:srgbClr val="17375E"/>
              </a:gs>
              <a:gs pos="58000">
                <a:srgbClr val="95B3D7"/>
              </a:gs>
            </a:gsLst>
            <a:path path="circle">
              <a:fillToRect l="100000" t="100000"/>
            </a:path>
            <a:tileRect r="-100000" b="-100000"/>
          </a:gra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a-DK" kern="0" dirty="0" err="1">
              <a:solidFill>
                <a:sysClr val="window" lastClr="FFFFFF"/>
              </a:solidFill>
              <a:latin typeface="Calibri"/>
              <a:cs typeface="+mn-cs"/>
            </a:endParaRPr>
          </a:p>
        </p:txBody>
      </p:sp>
      <p:sp>
        <p:nvSpPr>
          <p:cNvPr id="24" name="Nedadgående pil 48"/>
          <p:cNvSpPr/>
          <p:nvPr/>
        </p:nvSpPr>
        <p:spPr bwMode="auto">
          <a:xfrm rot="16200000">
            <a:off x="2896829" y="3036865"/>
            <a:ext cx="210015" cy="2092909"/>
          </a:xfrm>
          <a:prstGeom prst="downArrow">
            <a:avLst>
              <a:gd name="adj1" fmla="val 50000"/>
              <a:gd name="adj2" fmla="val 79412"/>
            </a:avLst>
          </a:prstGeom>
          <a:gradFill flip="none" rotWithShape="1">
            <a:gsLst>
              <a:gs pos="0">
                <a:srgbClr val="17375E"/>
              </a:gs>
              <a:gs pos="58000">
                <a:srgbClr val="95B3D7"/>
              </a:gs>
            </a:gsLst>
            <a:path path="circle">
              <a:fillToRect l="100000" t="100000"/>
            </a:path>
            <a:tileRect r="-100000" b="-100000"/>
          </a:gra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a-DK" kern="0" dirty="0" err="1">
              <a:solidFill>
                <a:sysClr val="window" lastClr="FFFFFF"/>
              </a:solidFill>
              <a:latin typeface="Calibri"/>
              <a:cs typeface="+mn-cs"/>
            </a:endParaRPr>
          </a:p>
        </p:txBody>
      </p:sp>
      <p:sp>
        <p:nvSpPr>
          <p:cNvPr id="25" name="Rektangel 49"/>
          <p:cNvSpPr>
            <a:spLocks noChangeArrowheads="1"/>
          </p:cNvSpPr>
          <p:nvPr/>
        </p:nvSpPr>
        <p:spPr bwMode="auto">
          <a:xfrm>
            <a:off x="1081638" y="2316220"/>
            <a:ext cx="1709564" cy="755328"/>
          </a:xfrm>
          <a:prstGeom prst="rect">
            <a:avLst/>
          </a:prstGeom>
          <a:gradFill flip="none" rotWithShape="1">
            <a:gsLst>
              <a:gs pos="100000">
                <a:srgbClr val="E6E6E6"/>
              </a:gs>
              <a:gs pos="0">
                <a:srgbClr val="FFFFFF"/>
              </a:gs>
            </a:gsLst>
            <a:lin ang="2700000" scaled="1"/>
            <a:tileRect/>
          </a:gradFill>
          <a:ln w="9525" cap="flat" cmpd="sng" algn="ctr">
            <a:solidFill>
              <a:srgbClr val="D7D8D9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marL="342900" indent="-342900" algn="ctr" fontAlgn="auto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/>
            </a:pPr>
            <a:endParaRPr lang="da-DK" kern="0" dirty="0">
              <a:solidFill>
                <a:sysClr val="window" lastClr="FFFFFF"/>
              </a:solidFill>
              <a:latin typeface="Calibri"/>
              <a:cs typeface="+mn-cs"/>
            </a:endParaRPr>
          </a:p>
        </p:txBody>
      </p:sp>
      <p:sp>
        <p:nvSpPr>
          <p:cNvPr id="26" name="Rektangel 50"/>
          <p:cNvSpPr>
            <a:spLocks noChangeArrowheads="1"/>
          </p:cNvSpPr>
          <p:nvPr/>
        </p:nvSpPr>
        <p:spPr bwMode="auto">
          <a:xfrm>
            <a:off x="1106339" y="3651370"/>
            <a:ext cx="1710864" cy="756628"/>
          </a:xfrm>
          <a:prstGeom prst="rect">
            <a:avLst/>
          </a:prstGeom>
          <a:gradFill flip="none" rotWithShape="1">
            <a:gsLst>
              <a:gs pos="25000">
                <a:srgbClr val="376092"/>
              </a:gs>
              <a:gs pos="100000">
                <a:srgbClr val="17375E"/>
              </a:gs>
            </a:gsLst>
            <a:lin ang="13500000" scaled="1"/>
            <a:tileRect/>
          </a:gradFill>
          <a:ln w="25400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indent="-342900" algn="ctr" fontAlgn="auto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/>
            </a:pPr>
            <a:endParaRPr lang="da-DK" kern="0" dirty="0">
              <a:solidFill>
                <a:sysClr val="window" lastClr="FFFFFF"/>
              </a:solidFill>
              <a:latin typeface="Calibri"/>
              <a:cs typeface="+mn-cs"/>
            </a:endParaRPr>
          </a:p>
        </p:txBody>
      </p:sp>
      <p:sp>
        <p:nvSpPr>
          <p:cNvPr id="27" name="Rektangel 51"/>
          <p:cNvSpPr>
            <a:spLocks noChangeArrowheads="1"/>
          </p:cNvSpPr>
          <p:nvPr/>
        </p:nvSpPr>
        <p:spPr bwMode="auto">
          <a:xfrm>
            <a:off x="1069938" y="4974819"/>
            <a:ext cx="1709563" cy="756628"/>
          </a:xfrm>
          <a:prstGeom prst="rect">
            <a:avLst/>
          </a:prstGeom>
          <a:gradFill flip="none" rotWithShape="1">
            <a:gsLst>
              <a:gs pos="100000">
                <a:srgbClr val="E6E6E6"/>
              </a:gs>
              <a:gs pos="0">
                <a:srgbClr val="FFFFFF"/>
              </a:gs>
            </a:gsLst>
            <a:lin ang="2700000" scaled="1"/>
            <a:tileRect/>
          </a:gradFill>
          <a:ln w="9525" cap="flat" cmpd="sng" algn="ctr">
            <a:solidFill>
              <a:srgbClr val="D7D8D9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marL="342900" indent="-342900" algn="ctr" fontAlgn="auto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/>
            </a:pPr>
            <a:endParaRPr lang="da-DK" kern="0" dirty="0">
              <a:solidFill>
                <a:sysClr val="window" lastClr="FFFFFF"/>
              </a:solidFill>
              <a:latin typeface="Calibri"/>
              <a:cs typeface="+mn-cs"/>
            </a:endParaRPr>
          </a:p>
        </p:txBody>
      </p:sp>
      <p:sp>
        <p:nvSpPr>
          <p:cNvPr id="28" name="Rektangel 52"/>
          <p:cNvSpPr>
            <a:spLocks noChangeArrowheads="1"/>
          </p:cNvSpPr>
          <p:nvPr/>
        </p:nvSpPr>
        <p:spPr bwMode="auto">
          <a:xfrm>
            <a:off x="6285733" y="2303220"/>
            <a:ext cx="1709563" cy="756628"/>
          </a:xfrm>
          <a:prstGeom prst="rect">
            <a:avLst/>
          </a:prstGeom>
          <a:gradFill flip="none" rotWithShape="1">
            <a:gsLst>
              <a:gs pos="100000">
                <a:srgbClr val="E6E6E6"/>
              </a:gs>
              <a:gs pos="0">
                <a:srgbClr val="FFFFFF"/>
              </a:gs>
            </a:gsLst>
            <a:lin ang="2700000" scaled="1"/>
            <a:tileRect/>
          </a:gradFill>
          <a:ln w="9525" cap="flat" cmpd="sng" algn="ctr">
            <a:solidFill>
              <a:srgbClr val="D7D8D9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marL="342900" indent="-342900" algn="ctr" fontAlgn="auto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/>
            </a:pPr>
            <a:endParaRPr lang="da-DK" kern="0" dirty="0">
              <a:solidFill>
                <a:sysClr val="window" lastClr="FFFFFF"/>
              </a:solidFill>
              <a:latin typeface="Calibri"/>
              <a:cs typeface="+mn-cs"/>
            </a:endParaRPr>
          </a:p>
        </p:txBody>
      </p:sp>
      <p:sp>
        <p:nvSpPr>
          <p:cNvPr id="29" name="Rektangel 53"/>
          <p:cNvSpPr>
            <a:spLocks noChangeArrowheads="1"/>
          </p:cNvSpPr>
          <p:nvPr/>
        </p:nvSpPr>
        <p:spPr bwMode="auto">
          <a:xfrm>
            <a:off x="6310433" y="3638369"/>
            <a:ext cx="1710864" cy="756628"/>
          </a:xfrm>
          <a:prstGeom prst="rect">
            <a:avLst/>
          </a:prstGeom>
          <a:gradFill flip="none" rotWithShape="1">
            <a:gsLst>
              <a:gs pos="25000">
                <a:srgbClr val="376092"/>
              </a:gs>
              <a:gs pos="100000">
                <a:srgbClr val="17375E"/>
              </a:gs>
            </a:gsLst>
            <a:lin ang="13500000" scaled="1"/>
            <a:tileRect/>
          </a:gradFill>
          <a:ln w="25400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indent="-342900" algn="ctr" fontAlgn="auto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/>
            </a:pPr>
            <a:endParaRPr lang="da-DK" kern="0" dirty="0">
              <a:solidFill>
                <a:sysClr val="window" lastClr="FFFFFF"/>
              </a:solidFill>
              <a:latin typeface="Calibri"/>
              <a:cs typeface="+mn-cs"/>
            </a:endParaRPr>
          </a:p>
        </p:txBody>
      </p:sp>
      <p:sp>
        <p:nvSpPr>
          <p:cNvPr id="30" name="Rektangel 54"/>
          <p:cNvSpPr>
            <a:spLocks noChangeArrowheads="1"/>
          </p:cNvSpPr>
          <p:nvPr/>
        </p:nvSpPr>
        <p:spPr bwMode="auto">
          <a:xfrm>
            <a:off x="6274032" y="4961818"/>
            <a:ext cx="1709564" cy="756628"/>
          </a:xfrm>
          <a:prstGeom prst="rect">
            <a:avLst/>
          </a:prstGeom>
          <a:gradFill flip="none" rotWithShape="1">
            <a:gsLst>
              <a:gs pos="100000">
                <a:srgbClr val="E6E6E6"/>
              </a:gs>
              <a:gs pos="0">
                <a:srgbClr val="FFFFFF"/>
              </a:gs>
            </a:gsLst>
            <a:lin ang="2700000" scaled="1"/>
            <a:tileRect/>
          </a:gradFill>
          <a:ln w="9525" cap="flat" cmpd="sng" algn="ctr">
            <a:solidFill>
              <a:srgbClr val="D7D8D9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marL="342900" indent="-342900" algn="ctr" fontAlgn="auto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/>
            </a:pPr>
            <a:endParaRPr lang="da-DK" kern="0" dirty="0">
              <a:solidFill>
                <a:sysClr val="window" lastClr="FFFFFF"/>
              </a:solidFill>
              <a:latin typeface="Calibri"/>
              <a:cs typeface="+mn-cs"/>
            </a:endParaRPr>
          </a:p>
        </p:txBody>
      </p:sp>
      <p:sp>
        <p:nvSpPr>
          <p:cNvPr id="31" name="Tekstboks 36"/>
          <p:cNvSpPr txBox="1"/>
          <p:nvPr/>
        </p:nvSpPr>
        <p:spPr bwMode="auto">
          <a:xfrm>
            <a:off x="3887143" y="3769674"/>
            <a:ext cx="1354651" cy="47841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a-DK" sz="16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ＭＳ Ｐゴシック" pitchFamily="-97" charset="-128"/>
                <a:cs typeface="+mn-cs"/>
              </a:rPr>
              <a:t>BUSINESS EXCELLENCE</a:t>
            </a:r>
          </a:p>
        </p:txBody>
      </p:sp>
      <p:sp>
        <p:nvSpPr>
          <p:cNvPr id="32" name="Tekstboks 37"/>
          <p:cNvSpPr txBox="1">
            <a:spLocks noChangeArrowheads="1"/>
          </p:cNvSpPr>
          <p:nvPr/>
        </p:nvSpPr>
        <p:spPr bwMode="auto">
          <a:xfrm>
            <a:off x="1383249" y="3897079"/>
            <a:ext cx="1050439" cy="2275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-112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-112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-112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-112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-112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12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12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12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12" charset="0"/>
              </a:defRPr>
            </a:lvl9pPr>
          </a:lstStyle>
          <a:p>
            <a:pPr algn="ctr"/>
            <a:r>
              <a:rPr lang="da-DK" sz="1200" dirty="0">
                <a:solidFill>
                  <a:schemeClr val="bg1"/>
                </a:solidFill>
              </a:rPr>
              <a:t>LEADERSHIP</a:t>
            </a:r>
          </a:p>
        </p:txBody>
      </p:sp>
      <p:sp>
        <p:nvSpPr>
          <p:cNvPr id="33" name="Tekstboks 46"/>
          <p:cNvSpPr txBox="1">
            <a:spLocks noChangeArrowheads="1"/>
          </p:cNvSpPr>
          <p:nvPr/>
        </p:nvSpPr>
        <p:spPr bwMode="auto">
          <a:xfrm>
            <a:off x="1112839" y="2586631"/>
            <a:ext cx="1674463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-112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-112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-112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-112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-112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12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12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12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12" charset="0"/>
              </a:defRPr>
            </a:lvl9pPr>
          </a:lstStyle>
          <a:p>
            <a:pPr algn="ctr"/>
            <a:r>
              <a:rPr lang="da-DK" sz="1000" dirty="0"/>
              <a:t>VISION –MISION-VALUES</a:t>
            </a:r>
          </a:p>
        </p:txBody>
      </p:sp>
      <p:sp>
        <p:nvSpPr>
          <p:cNvPr id="34" name="Tekstboks 58"/>
          <p:cNvSpPr txBox="1">
            <a:spLocks noChangeArrowheads="1"/>
          </p:cNvSpPr>
          <p:nvPr/>
        </p:nvSpPr>
        <p:spPr bwMode="auto">
          <a:xfrm>
            <a:off x="6281832" y="5175473"/>
            <a:ext cx="1705664" cy="2262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-112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-112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-112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-112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-112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12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12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12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12" charset="0"/>
              </a:defRPr>
            </a:lvl9pPr>
          </a:lstStyle>
          <a:p>
            <a:pPr algn="ctr"/>
            <a:r>
              <a:rPr lang="da-DK" sz="1200"/>
              <a:t>SUPPLY CHAIN MANAGEMENT</a:t>
            </a:r>
          </a:p>
        </p:txBody>
      </p:sp>
      <p:sp>
        <p:nvSpPr>
          <p:cNvPr id="35" name="Tekstboks 59"/>
          <p:cNvSpPr txBox="1">
            <a:spLocks noChangeArrowheads="1"/>
          </p:cNvSpPr>
          <p:nvPr/>
        </p:nvSpPr>
        <p:spPr bwMode="auto">
          <a:xfrm>
            <a:off x="1092038" y="1654502"/>
            <a:ext cx="1684863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-112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-112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-112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-112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-112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12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12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12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12" charset="0"/>
              </a:defRPr>
            </a:lvl9pPr>
          </a:lstStyle>
          <a:p>
            <a:pPr algn="ctr"/>
            <a:r>
              <a:rPr lang="da-DK" sz="1400" b="1" dirty="0"/>
              <a:t>ORGANIZATIONAL EXCELLENCE</a:t>
            </a:r>
          </a:p>
        </p:txBody>
      </p:sp>
      <p:sp>
        <p:nvSpPr>
          <p:cNvPr id="36" name="Tekstboks 60"/>
          <p:cNvSpPr txBox="1">
            <a:spLocks noChangeArrowheads="1"/>
          </p:cNvSpPr>
          <p:nvPr/>
        </p:nvSpPr>
        <p:spPr bwMode="auto">
          <a:xfrm>
            <a:off x="6344235" y="3923080"/>
            <a:ext cx="1612060" cy="2262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-112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-112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-112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-112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-112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12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12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12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12" charset="0"/>
              </a:defRPr>
            </a:lvl9pPr>
          </a:lstStyle>
          <a:p>
            <a:pPr algn="ctr"/>
            <a:r>
              <a:rPr lang="da-DK" sz="1200">
                <a:solidFill>
                  <a:schemeClr val="bg1"/>
                </a:solidFill>
              </a:rPr>
              <a:t>SIX SIGMA</a:t>
            </a:r>
          </a:p>
        </p:txBody>
      </p:sp>
      <p:sp>
        <p:nvSpPr>
          <p:cNvPr id="37" name="Tekstboks 61"/>
          <p:cNvSpPr txBox="1">
            <a:spLocks noChangeArrowheads="1"/>
          </p:cNvSpPr>
          <p:nvPr/>
        </p:nvSpPr>
        <p:spPr bwMode="auto">
          <a:xfrm>
            <a:off x="6120626" y="2435825"/>
            <a:ext cx="2090478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-112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-112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-112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-112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-112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12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12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12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12" charset="0"/>
              </a:defRPr>
            </a:lvl9pPr>
          </a:lstStyle>
          <a:p>
            <a:pPr algn="ctr"/>
            <a:r>
              <a:rPr lang="da-DK" sz="1000" dirty="0"/>
              <a:t>ISO</a:t>
            </a:r>
          </a:p>
          <a:p>
            <a:pPr algn="ctr"/>
            <a:r>
              <a:rPr lang="da-DK" sz="1000" dirty="0"/>
              <a:t>INTERNATIONAL STANDARDS ORGANIZATION</a:t>
            </a:r>
          </a:p>
        </p:txBody>
      </p:sp>
      <p:sp>
        <p:nvSpPr>
          <p:cNvPr id="38" name="Tekstboks 64"/>
          <p:cNvSpPr txBox="1">
            <a:spLocks noChangeArrowheads="1"/>
          </p:cNvSpPr>
          <p:nvPr/>
        </p:nvSpPr>
        <p:spPr bwMode="auto">
          <a:xfrm>
            <a:off x="1112839" y="5144271"/>
            <a:ext cx="1612060" cy="3783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-112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-112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-112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-112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-112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12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12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12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12" charset="0"/>
              </a:defRPr>
            </a:lvl9pPr>
          </a:lstStyle>
          <a:p>
            <a:pPr algn="ctr"/>
            <a:r>
              <a:rPr lang="da-DK" sz="1200" dirty="0"/>
              <a:t>VALUE ADDED</a:t>
            </a:r>
          </a:p>
          <a:p>
            <a:pPr algn="ctr"/>
            <a:r>
              <a:rPr lang="da-DK" sz="1200" i="1" dirty="0"/>
              <a:t>THINKING LEAN</a:t>
            </a:r>
          </a:p>
        </p:txBody>
      </p:sp>
      <p:sp>
        <p:nvSpPr>
          <p:cNvPr id="39" name="Tekstboks 65"/>
          <p:cNvSpPr txBox="1">
            <a:spLocks noChangeArrowheads="1"/>
          </p:cNvSpPr>
          <p:nvPr/>
        </p:nvSpPr>
        <p:spPr bwMode="auto">
          <a:xfrm>
            <a:off x="6240231" y="1633701"/>
            <a:ext cx="1840869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-112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-112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-112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-112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-112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12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12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12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12" charset="0"/>
              </a:defRPr>
            </a:lvl9pPr>
          </a:lstStyle>
          <a:p>
            <a:pPr algn="ctr"/>
            <a:r>
              <a:rPr lang="da-DK" sz="1400" b="1" dirty="0"/>
              <a:t>OPERATIONAL EXCELLENCE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Your footnote</a:t>
            </a:r>
            <a:endParaRPr lang="en-US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37251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jXgU54M3kumbCyD2uI_yQ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NEy4pnGOEqXP52ssObOB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TQpwHfhlkev97qDDpCTy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mrGOHOxF022ZIg2oT2dD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mrGOHOxF022ZIg2oT2dD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785</TotalTime>
  <Words>318</Words>
  <Application>Microsoft Office PowerPoint</Application>
  <PresentationFormat>On-screen Show (4:3)</PresentationFormat>
  <Paragraphs>156</Paragraphs>
  <Slides>8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4" baseType="lpstr">
      <vt:lpstr>ＭＳ Ｐゴシック</vt:lpstr>
      <vt:lpstr>Arial</vt:lpstr>
      <vt:lpstr>Calibri</vt:lpstr>
      <vt:lpstr>Calibri Light</vt:lpstr>
      <vt:lpstr>Office Theme</vt:lpstr>
      <vt:lpstr>think-cell Slide</vt:lpstr>
      <vt:lpstr>BUSINESS EXCELLENCE MODEL</vt:lpstr>
      <vt:lpstr>BUSINESS EXCELLENCE MODEL</vt:lpstr>
      <vt:lpstr>BUSINESS EXCELLENCE MODEL</vt:lpstr>
      <vt:lpstr>BUSINESS EXCELLENCE MODEL</vt:lpstr>
      <vt:lpstr>BUSINESS EXCELLENCE MODEL</vt:lpstr>
      <vt:lpstr>BUSINESS EXCELLENCE MODEL</vt:lpstr>
      <vt:lpstr>BUSINESS EXCELLENCE MODEL</vt:lpstr>
      <vt:lpstr>BUSINESS EXCELLENCE MODEL</vt:lpstr>
    </vt:vector>
  </TitlesOfParts>
  <Company>Pahlawan Design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gus Purwanto</dc:creator>
  <cp:lastModifiedBy>ADMIN-14</cp:lastModifiedBy>
  <cp:revision>132</cp:revision>
  <dcterms:created xsi:type="dcterms:W3CDTF">2013-10-31T11:03:13Z</dcterms:created>
  <dcterms:modified xsi:type="dcterms:W3CDTF">2013-12-10T04:24:01Z</dcterms:modified>
</cp:coreProperties>
</file>